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9.xml" ContentType="application/vnd.openxmlformats-officedocument.presentationml.tags+xml"/>
  <Override PartName="/ppt/notesSlides/notesSlide1.xml" ContentType="application/vnd.openxmlformats-officedocument.presentationml.notesSlide+xml"/>
  <Override PartName="/ppt/media/image26.bin" ContentType="image/png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2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3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4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5.xml" ContentType="application/vnd.openxmlformats-officedocument.presentationml.notesSlide+xml"/>
  <Override PartName="/ppt/media/image92.bin" ContentType="image/png"/>
  <Override PartName="/ppt/media/image93.bin" ContentType="image/png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6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7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87" r:id="rId5"/>
  </p:sldMasterIdLst>
  <p:notesMasterIdLst>
    <p:notesMasterId r:id="rId25"/>
  </p:notesMasterIdLst>
  <p:handoutMasterIdLst>
    <p:handoutMasterId r:id="rId26"/>
  </p:handoutMasterIdLst>
  <p:sldIdLst>
    <p:sldId id="2147377679" r:id="rId6"/>
    <p:sldId id="2147480977" r:id="rId7"/>
    <p:sldId id="2147482018" r:id="rId8"/>
    <p:sldId id="2147482132" r:id="rId9"/>
    <p:sldId id="2147482145" r:id="rId10"/>
    <p:sldId id="2147482544" r:id="rId11"/>
    <p:sldId id="2147482163" r:id="rId12"/>
    <p:sldId id="2147482192" r:id="rId13"/>
    <p:sldId id="2147482547" r:id="rId14"/>
    <p:sldId id="2147482226" r:id="rId15"/>
    <p:sldId id="2147482286" r:id="rId16"/>
    <p:sldId id="2147482552" r:id="rId17"/>
    <p:sldId id="2147482541" r:id="rId18"/>
    <p:sldId id="2147482258" r:id="rId19"/>
    <p:sldId id="2147482512" r:id="rId20"/>
    <p:sldId id="2147483538" r:id="rId21"/>
    <p:sldId id="2147483539" r:id="rId22"/>
    <p:sldId id="2147483540" r:id="rId23"/>
    <p:sldId id="266" r:id="rId24"/>
  </p:sldIdLst>
  <p:sldSz cx="12192000" cy="6858000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7287"/>
    <a:srgbClr val="29BBCE"/>
    <a:srgbClr val="0087A0"/>
    <a:srgbClr val="004754"/>
    <a:srgbClr val="DBDBDB"/>
    <a:srgbClr val="C5C5C5"/>
    <a:srgbClr val="A4A4A4"/>
    <a:srgbClr val="6D6D6D"/>
    <a:srgbClr val="373737"/>
    <a:srgbClr val="1616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B6109A-892E-423C-B013-D237032098CF}" v="90" dt="2025-06-03T17:18:36.5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765" autoAdjust="0"/>
  </p:normalViewPr>
  <p:slideViewPr>
    <p:cSldViewPr snapToGrid="0">
      <p:cViewPr>
        <p:scale>
          <a:sx n="66" d="100"/>
          <a:sy n="66" d="100"/>
        </p:scale>
        <p:origin x="2310" y="8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baret, Tanguy" userId="3daa8bbd-ea5f-4efa-9837-c603b83fb6b1" providerId="ADAL" clId="{21B6109A-892E-423C-B013-D237032098CF}"/>
    <pc:docChg chg="undo custSel addSld delSld modSld sldOrd">
      <pc:chgData name="Cabaret, Tanguy" userId="3daa8bbd-ea5f-4efa-9837-c603b83fb6b1" providerId="ADAL" clId="{21B6109A-892E-423C-B013-D237032098CF}" dt="2025-06-03T18:41:54.480" v="150" actId="47"/>
      <pc:docMkLst>
        <pc:docMk/>
      </pc:docMkLst>
      <pc:sldChg chg="addSp delSp modSp add mod ord">
        <pc:chgData name="Cabaret, Tanguy" userId="3daa8bbd-ea5f-4efa-9837-c603b83fb6b1" providerId="ADAL" clId="{21B6109A-892E-423C-B013-D237032098CF}" dt="2025-06-03T17:13:21.190" v="112"/>
        <pc:sldMkLst>
          <pc:docMk/>
          <pc:sldMk cId="3934604743" sldId="266"/>
        </pc:sldMkLst>
        <pc:spChg chg="mod">
          <ac:chgData name="Cabaret, Tanguy" userId="3daa8bbd-ea5f-4efa-9837-c603b83fb6b1" providerId="ADAL" clId="{21B6109A-892E-423C-B013-D237032098CF}" dt="2025-06-03T17:11:03.113" v="52" actId="20577"/>
          <ac:spMkLst>
            <pc:docMk/>
            <pc:sldMk cId="3934604743" sldId="266"/>
            <ac:spMk id="40" creationId="{A8A88319-F38D-EC1F-6F83-449E937D81DF}"/>
          </ac:spMkLst>
        </pc:spChg>
        <pc:spChg chg="mod">
          <ac:chgData name="Cabaret, Tanguy" userId="3daa8bbd-ea5f-4efa-9837-c603b83fb6b1" providerId="ADAL" clId="{21B6109A-892E-423C-B013-D237032098CF}" dt="2025-06-03T17:13:13.964" v="110" actId="20577"/>
          <ac:spMkLst>
            <pc:docMk/>
            <pc:sldMk cId="3934604743" sldId="266"/>
            <ac:spMk id="41" creationId="{0FEB2E86-0CEF-F843-628F-5079D8E85C84}"/>
          </ac:spMkLst>
        </pc:spChg>
        <pc:picChg chg="del">
          <ac:chgData name="Cabaret, Tanguy" userId="3daa8bbd-ea5f-4efa-9837-c603b83fb6b1" providerId="ADAL" clId="{21B6109A-892E-423C-B013-D237032098CF}" dt="2025-06-03T17:11:10.341" v="63" actId="478"/>
          <ac:picMkLst>
            <pc:docMk/>
            <pc:sldMk cId="3934604743" sldId="266"/>
            <ac:picMk id="8" creationId="{CB05CF09-5857-EB91-E16F-761DF3F75253}"/>
          </ac:picMkLst>
        </pc:picChg>
        <pc:picChg chg="add del mod">
          <ac:chgData name="Cabaret, Tanguy" userId="3daa8bbd-ea5f-4efa-9837-c603b83fb6b1" providerId="ADAL" clId="{21B6109A-892E-423C-B013-D237032098CF}" dt="2025-06-03T17:10:39.160" v="30" actId="21"/>
          <ac:picMkLst>
            <pc:docMk/>
            <pc:sldMk cId="3934604743" sldId="266"/>
            <ac:picMk id="9" creationId="{C8AAF740-E9C1-E619-0A3C-BBD4610BDAE2}"/>
          </ac:picMkLst>
        </pc:picChg>
        <pc:picChg chg="del mod">
          <ac:chgData name="Cabaret, Tanguy" userId="3daa8bbd-ea5f-4efa-9837-c603b83fb6b1" providerId="ADAL" clId="{21B6109A-892E-423C-B013-D237032098CF}" dt="2025-06-03T17:13:01.798" v="103" actId="478"/>
          <ac:picMkLst>
            <pc:docMk/>
            <pc:sldMk cId="3934604743" sldId="266"/>
            <ac:picMk id="10" creationId="{BC44AED2-96F1-6974-12EB-415C008E5850}"/>
          </ac:picMkLst>
        </pc:picChg>
        <pc:picChg chg="add mod modCrop">
          <ac:chgData name="Cabaret, Tanguy" userId="3daa8bbd-ea5f-4efa-9837-c603b83fb6b1" providerId="ADAL" clId="{21B6109A-892E-423C-B013-D237032098CF}" dt="2025-06-03T17:13:00.179" v="98"/>
          <ac:picMkLst>
            <pc:docMk/>
            <pc:sldMk cId="3934604743" sldId="266"/>
            <ac:picMk id="12" creationId="{5E789FDC-0186-4BBC-EA25-967946B669D7}"/>
          </ac:picMkLst>
        </pc:picChg>
      </pc:sldChg>
      <pc:sldChg chg="addSp delSp modSp mod">
        <pc:chgData name="Cabaret, Tanguy" userId="3daa8bbd-ea5f-4efa-9837-c603b83fb6b1" providerId="ADAL" clId="{21B6109A-892E-423C-B013-D237032098CF}" dt="2025-06-03T17:10:52.117" v="38" actId="1076"/>
        <pc:sldMkLst>
          <pc:docMk/>
          <pc:sldMk cId="329109854" sldId="2147377679"/>
        </pc:sldMkLst>
        <pc:spChg chg="del">
          <ac:chgData name="Cabaret, Tanguy" userId="3daa8bbd-ea5f-4efa-9837-c603b83fb6b1" providerId="ADAL" clId="{21B6109A-892E-423C-B013-D237032098CF}" dt="2025-06-03T17:10:47.798" v="35" actId="478"/>
          <ac:spMkLst>
            <pc:docMk/>
            <pc:sldMk cId="329109854" sldId="2147377679"/>
            <ac:spMk id="8" creationId="{D973EAD1-6007-FF2F-578D-3EA7C1F1CDBA}"/>
          </ac:spMkLst>
        </pc:spChg>
        <pc:spChg chg="del">
          <ac:chgData name="Cabaret, Tanguy" userId="3daa8bbd-ea5f-4efa-9837-c603b83fb6b1" providerId="ADAL" clId="{21B6109A-892E-423C-B013-D237032098CF}" dt="2025-06-03T17:10:22.623" v="3"/>
          <ac:spMkLst>
            <pc:docMk/>
            <pc:sldMk cId="329109854" sldId="2147377679"/>
            <ac:spMk id="9" creationId="{239C6D69-25BF-D611-4FA0-660EA32AF512}"/>
          </ac:spMkLst>
        </pc:spChg>
        <pc:spChg chg="add del mod">
          <ac:chgData name="Cabaret, Tanguy" userId="3daa8bbd-ea5f-4efa-9837-c603b83fb6b1" providerId="ADAL" clId="{21B6109A-892E-423C-B013-D237032098CF}" dt="2025-06-03T17:10:45.229" v="34" actId="478"/>
          <ac:spMkLst>
            <pc:docMk/>
            <pc:sldMk cId="329109854" sldId="2147377679"/>
            <ac:spMk id="13" creationId="{45B3F6D7-49DA-F873-B222-2D5259AD7D99}"/>
          </ac:spMkLst>
        </pc:spChg>
        <pc:picChg chg="add del mod">
          <ac:chgData name="Cabaret, Tanguy" userId="3daa8bbd-ea5f-4efa-9837-c603b83fb6b1" providerId="ADAL" clId="{21B6109A-892E-423C-B013-D237032098CF}" dt="2025-06-03T17:10:27.066" v="12" actId="478"/>
          <ac:picMkLst>
            <pc:docMk/>
            <pc:sldMk cId="329109854" sldId="2147377679"/>
            <ac:picMk id="7" creationId="{7727DE5C-F30B-2516-C0A6-4B6A4F276E1B}"/>
          </ac:picMkLst>
        </pc:picChg>
        <pc:picChg chg="add mod">
          <ac:chgData name="Cabaret, Tanguy" userId="3daa8bbd-ea5f-4efa-9837-c603b83fb6b1" providerId="ADAL" clId="{21B6109A-892E-423C-B013-D237032098CF}" dt="2025-06-03T17:10:32.160" v="22"/>
          <ac:picMkLst>
            <pc:docMk/>
            <pc:sldMk cId="329109854" sldId="2147377679"/>
            <ac:picMk id="16" creationId="{585C3EF3-6D17-ED06-1321-DDB8474F1FE6}"/>
          </ac:picMkLst>
        </pc:picChg>
        <pc:picChg chg="add mod">
          <ac:chgData name="Cabaret, Tanguy" userId="3daa8bbd-ea5f-4efa-9837-c603b83fb6b1" providerId="ADAL" clId="{21B6109A-892E-423C-B013-D237032098CF}" dt="2025-06-03T17:10:52.117" v="38" actId="1076"/>
          <ac:picMkLst>
            <pc:docMk/>
            <pc:sldMk cId="329109854" sldId="2147377679"/>
            <ac:picMk id="17" creationId="{C8AAF740-E9C1-E619-0A3C-BBD4610BDAE2}"/>
          </ac:picMkLst>
        </pc:picChg>
        <pc:picChg chg="del">
          <ac:chgData name="Cabaret, Tanguy" userId="3daa8bbd-ea5f-4efa-9837-c603b83fb6b1" providerId="ADAL" clId="{21B6109A-892E-423C-B013-D237032098CF}" dt="2025-06-03T17:10:16.945" v="2" actId="478"/>
          <ac:picMkLst>
            <pc:docMk/>
            <pc:sldMk cId="329109854" sldId="2147377679"/>
            <ac:picMk id="1026" creationId="{A29F50DB-8645-0420-54D7-50EDC7DE9475}"/>
          </ac:picMkLst>
        </pc:picChg>
      </pc:sldChg>
      <pc:sldChg chg="del">
        <pc:chgData name="Cabaret, Tanguy" userId="3daa8bbd-ea5f-4efa-9837-c603b83fb6b1" providerId="ADAL" clId="{21B6109A-892E-423C-B013-D237032098CF}" dt="2025-06-03T17:13:22.542" v="113" actId="47"/>
        <pc:sldMkLst>
          <pc:docMk/>
          <pc:sldMk cId="843494616" sldId="2147377680"/>
        </pc:sldMkLst>
      </pc:sldChg>
      <pc:sldChg chg="del">
        <pc:chgData name="Cabaret, Tanguy" userId="3daa8bbd-ea5f-4efa-9837-c603b83fb6b1" providerId="ADAL" clId="{21B6109A-892E-423C-B013-D237032098CF}" dt="2025-06-03T16:30:59.358" v="0" actId="47"/>
        <pc:sldMkLst>
          <pc:docMk/>
          <pc:sldMk cId="1910989415" sldId="2147377685"/>
        </pc:sldMkLst>
      </pc:sldChg>
      <pc:sldChg chg="del">
        <pc:chgData name="Cabaret, Tanguy" userId="3daa8bbd-ea5f-4efa-9837-c603b83fb6b1" providerId="ADAL" clId="{21B6109A-892E-423C-B013-D237032098CF}" dt="2025-06-03T16:30:59.358" v="0" actId="47"/>
        <pc:sldMkLst>
          <pc:docMk/>
          <pc:sldMk cId="1336922742" sldId="2147482509"/>
        </pc:sldMkLst>
      </pc:sldChg>
      <pc:sldChg chg="del">
        <pc:chgData name="Cabaret, Tanguy" userId="3daa8bbd-ea5f-4efa-9837-c603b83fb6b1" providerId="ADAL" clId="{21B6109A-892E-423C-B013-D237032098CF}" dt="2025-06-03T16:30:59.358" v="0" actId="47"/>
        <pc:sldMkLst>
          <pc:docMk/>
          <pc:sldMk cId="2734453696" sldId="2147482548"/>
        </pc:sldMkLst>
      </pc:sldChg>
      <pc:sldChg chg="del">
        <pc:chgData name="Cabaret, Tanguy" userId="3daa8bbd-ea5f-4efa-9837-c603b83fb6b1" providerId="ADAL" clId="{21B6109A-892E-423C-B013-D237032098CF}" dt="2025-06-03T16:30:59.358" v="0" actId="47"/>
        <pc:sldMkLst>
          <pc:docMk/>
          <pc:sldMk cId="1167128708" sldId="2147483541"/>
        </pc:sldMkLst>
      </pc:sldChg>
      <pc:sldChg chg="addSp delSp modSp new del mod">
        <pc:chgData name="Cabaret, Tanguy" userId="3daa8bbd-ea5f-4efa-9837-c603b83fb6b1" providerId="ADAL" clId="{21B6109A-892E-423C-B013-D237032098CF}" dt="2025-06-03T18:41:54.480" v="150" actId="47"/>
        <pc:sldMkLst>
          <pc:docMk/>
          <pc:sldMk cId="1752417820" sldId="2147483541"/>
        </pc:sldMkLst>
        <pc:picChg chg="add del mod">
          <ac:chgData name="Cabaret, Tanguy" userId="3daa8bbd-ea5f-4efa-9837-c603b83fb6b1" providerId="ADAL" clId="{21B6109A-892E-423C-B013-D237032098CF}" dt="2025-06-03T17:18:26.993" v="117" actId="478"/>
          <ac:picMkLst>
            <pc:docMk/>
            <pc:sldMk cId="1752417820" sldId="2147483541"/>
            <ac:picMk id="6" creationId="{A366DF3A-74AB-3D34-80CB-8A762EE43941}"/>
          </ac:picMkLst>
        </pc:picChg>
        <pc:picChg chg="add mod modCrop">
          <ac:chgData name="Cabaret, Tanguy" userId="3daa8bbd-ea5f-4efa-9837-c603b83fb6b1" providerId="ADAL" clId="{21B6109A-892E-423C-B013-D237032098CF}" dt="2025-06-03T17:23:29.122" v="147" actId="1076"/>
          <ac:picMkLst>
            <pc:docMk/>
            <pc:sldMk cId="1752417820" sldId="2147483541"/>
            <ac:picMk id="7" creationId="{DAB9DDCE-4A22-05C4-99BD-DC6D534816BD}"/>
          </ac:picMkLst>
        </pc:picChg>
        <pc:picChg chg="add mod">
          <ac:chgData name="Cabaret, Tanguy" userId="3daa8bbd-ea5f-4efa-9837-c603b83fb6b1" providerId="ADAL" clId="{21B6109A-892E-423C-B013-D237032098CF}" dt="2025-06-03T18:41:18.060" v="149" actId="1076"/>
          <ac:picMkLst>
            <pc:docMk/>
            <pc:sldMk cId="1752417820" sldId="2147483541"/>
            <ac:picMk id="9" creationId="{CE445BE3-4FC2-D785-B614-B8B5F98753B5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Poppins" panose="00000500000000000000" pitchFamily="2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22696D-41CD-4800-A9F9-87F32510AB68}" type="datetimeFigureOut">
              <a:rPr lang="de-DE">
                <a:latin typeface="Poppins" panose="00000500000000000000" pitchFamily="2" charset="0"/>
              </a:rPr>
              <a:t>03.06.2025</a:t>
            </a:fld>
            <a:endParaRPr lang="de-DE" dirty="0">
              <a:latin typeface="Poppins" panose="00000500000000000000" pitchFamily="2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Poppins" panose="00000500000000000000" pitchFamily="2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12705B-BCB8-4681-BC4B-4397AC355891}" type="slidenum">
              <a:rPr lang="de-DE">
                <a:latin typeface="Poppins" panose="00000500000000000000" pitchFamily="2" charset="0"/>
              </a:rPr>
              <a:t>‹#›</a:t>
            </a:fld>
            <a:endParaRPr lang="de-DE" dirty="0">
              <a:latin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53920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428625" y="0"/>
            <a:ext cx="7904163" cy="4446588"/>
          </a:xfrm>
          <a:prstGeom prst="rect">
            <a:avLst/>
          </a:prstGeom>
          <a:noFill/>
          <a:ln w="12700">
            <a:noFill/>
          </a:ln>
        </p:spPr>
        <p:txBody>
          <a:bodyPr vert="horz" lIns="91440" tIns="45720" rIns="91440" bIns="45720" rtlCol="0" anchor="ctr"/>
          <a:lstStyle/>
          <a:p>
            <a:endParaRPr lang="de-DE" dirty="0">
              <a:latin typeface="Poppins" panose="00000500000000000000" pitchFamily="2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04664" y="4788024"/>
            <a:ext cx="6192688" cy="38862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586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200" kern="1200">
        <a:solidFill>
          <a:schemeClr val="tx1"/>
        </a:solidFill>
        <a:latin typeface="Poppins" panose="00000500000000000000" pitchFamily="2" charset="0"/>
        <a:ea typeface="+mn-ea"/>
        <a:cs typeface="Poppins" panose="00000500000000000000" pitchFamily="2" charset="0"/>
        <a:sym typeface="Segoe UI" panose="020B0502040204020203" pitchFamily="34" charset="0"/>
      </a:defRPr>
    </a:lvl1pPr>
    <a:lvl2pPr marL="185738" indent="-185738" algn="l" defTabSz="914400" rtl="0" eaLnBrk="1" latinLnBrk="0" hangingPunct="1">
      <a:spcBef>
        <a:spcPts val="600"/>
      </a:spcBef>
      <a:buClr>
        <a:schemeClr val="accent2"/>
      </a:buClr>
      <a:buSzPct val="90000"/>
      <a:buFont typeface="Wingdings" panose="05000000000000000000" pitchFamily="2" charset="2"/>
      <a:buChar char="n"/>
      <a:defRPr sz="1200" kern="1200">
        <a:solidFill>
          <a:schemeClr val="tx1"/>
        </a:solidFill>
        <a:latin typeface="Poppins" panose="00000500000000000000" pitchFamily="2" charset="0"/>
        <a:ea typeface="+mn-ea"/>
        <a:cs typeface="Poppins" panose="00000500000000000000" pitchFamily="2" charset="0"/>
        <a:sym typeface="Segoe UI" panose="020B0502040204020203" pitchFamily="34" charset="0"/>
      </a:defRPr>
    </a:lvl2pPr>
    <a:lvl3pPr marL="360363" indent="-180975" algn="l" defTabSz="914400" rtl="0" eaLnBrk="1" latinLnBrk="0" hangingPunct="1">
      <a:spcBef>
        <a:spcPts val="300"/>
      </a:spcBef>
      <a:buClr>
        <a:schemeClr val="accent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Poppins" panose="00000500000000000000" pitchFamily="2" charset="0"/>
        <a:ea typeface="+mn-ea"/>
        <a:cs typeface="Poppins" panose="00000500000000000000" pitchFamily="2" charset="0"/>
        <a:sym typeface="Segoe UI" panose="020B0502040204020203" pitchFamily="34" charset="0"/>
      </a:defRPr>
    </a:lvl3pPr>
    <a:lvl4pPr marL="538163" indent="-171450" algn="l" defTabSz="914400" rtl="0" eaLnBrk="1" latinLnBrk="0" hangingPunct="1">
      <a:spcBef>
        <a:spcPts val="300"/>
      </a:spcBef>
      <a:buClr>
        <a:schemeClr val="accent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Poppins" panose="00000500000000000000" pitchFamily="2" charset="0"/>
        <a:ea typeface="+mn-ea"/>
        <a:cs typeface="Poppins" panose="00000500000000000000" pitchFamily="2" charset="0"/>
        <a:sym typeface="Segoe UI" panose="020B0502040204020203" pitchFamily="34" charset="0"/>
      </a:defRPr>
    </a:lvl4pPr>
    <a:lvl5pPr marL="719138" indent="-179388" algn="l" defTabSz="914400" rtl="0" eaLnBrk="1" latinLnBrk="0" hangingPunct="1">
      <a:spcBef>
        <a:spcPts val="300"/>
      </a:spcBef>
      <a:buClr>
        <a:schemeClr val="accent2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Poppins" panose="00000500000000000000" pitchFamily="2" charset="0"/>
        <a:ea typeface="+mn-ea"/>
        <a:cs typeface="Poppins" panose="00000500000000000000" pitchFamily="2" charset="0"/>
        <a:sym typeface="Segoe UI" panose="020B0502040204020203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379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7423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396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7456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DB48FB-732F-8110-FC13-8541C5DECE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34DB50-7B91-AE2B-388D-EAFF206ECD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0A67EB-6A8C-3752-3E22-84E2158722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70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6814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8974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8477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13" Type="http://schemas.openxmlformats.org/officeDocument/2006/relationships/image" Target="../media/image17.png"/><Relationship Id="rId3" Type="http://schemas.openxmlformats.org/officeDocument/2006/relationships/tags" Target="../tags/tag29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tags" Target="../tags/tag28.xml"/><Relationship Id="rId16" Type="http://schemas.openxmlformats.org/officeDocument/2006/relationships/image" Target="../media/image20.svg"/><Relationship Id="rId1" Type="http://schemas.openxmlformats.org/officeDocument/2006/relationships/tags" Target="../tags/tag27.xml"/><Relationship Id="rId6" Type="http://schemas.openxmlformats.org/officeDocument/2006/relationships/image" Target="../media/image10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3.png"/><Relationship Id="rId14" Type="http://schemas.openxmlformats.org/officeDocument/2006/relationships/image" Target="../media/image18.sv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13" Type="http://schemas.openxmlformats.org/officeDocument/2006/relationships/image" Target="../media/image17.png"/><Relationship Id="rId3" Type="http://schemas.openxmlformats.org/officeDocument/2006/relationships/tags" Target="../tags/tag32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tags" Target="../tags/tag31.xml"/><Relationship Id="rId16" Type="http://schemas.openxmlformats.org/officeDocument/2006/relationships/image" Target="../media/image20.svg"/><Relationship Id="rId1" Type="http://schemas.openxmlformats.org/officeDocument/2006/relationships/tags" Target="../tags/tag30.xml"/><Relationship Id="rId6" Type="http://schemas.openxmlformats.org/officeDocument/2006/relationships/image" Target="../media/image10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4.bin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3.png"/><Relationship Id="rId14" Type="http://schemas.openxmlformats.org/officeDocument/2006/relationships/image" Target="../media/image18.sv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13" Type="http://schemas.openxmlformats.org/officeDocument/2006/relationships/image" Target="../media/image17.png"/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tags" Target="../tags/tag34.xml"/><Relationship Id="rId16" Type="http://schemas.openxmlformats.org/officeDocument/2006/relationships/image" Target="../media/image20.svg"/><Relationship Id="rId1" Type="http://schemas.openxmlformats.org/officeDocument/2006/relationships/tags" Target="../tags/tag33.xml"/><Relationship Id="rId6" Type="http://schemas.openxmlformats.org/officeDocument/2006/relationships/image" Target="../media/image10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5.bin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3.png"/><Relationship Id="rId14" Type="http://schemas.openxmlformats.org/officeDocument/2006/relationships/image" Target="../media/image18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0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0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0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0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0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10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21.emf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oleObject" Target="../embeddings/oleObject2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0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8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C8F533B-3238-9408-9ED0-4F34FC1801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4057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C8F533B-3238-9408-9ED0-4F34FC1801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1761492B-8A0A-F0C3-0560-3D771A52D8AF}"/>
              </a:ext>
            </a:extLst>
          </p:cNvPr>
          <p:cNvSpPr/>
          <p:nvPr userDrawn="1"/>
        </p:nvSpPr>
        <p:spPr>
          <a:xfrm>
            <a:off x="9296400" y="0"/>
            <a:ext cx="2895600" cy="1778854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667477F9-2843-0119-B4E7-828BE21B140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3285298 h 6858000"/>
              <a:gd name="connsiteX1" fmla="*/ 454268 w 12192000"/>
              <a:gd name="connsiteY1" fmla="*/ 3739561 h 6858000"/>
              <a:gd name="connsiteX2" fmla="*/ 454268 w 12192000"/>
              <a:gd name="connsiteY2" fmla="*/ 4226559 h 6858000"/>
              <a:gd name="connsiteX3" fmla="*/ 0 w 12192000"/>
              <a:gd name="connsiteY3" fmla="*/ 4680821 h 6858000"/>
              <a:gd name="connsiteX4" fmla="*/ 2060668 w 12192000"/>
              <a:gd name="connsiteY4" fmla="*/ 0 h 6858000"/>
              <a:gd name="connsiteX5" fmla="*/ 10316047 w 12192000"/>
              <a:gd name="connsiteY5" fmla="*/ 0 h 6858000"/>
              <a:gd name="connsiteX6" fmla="*/ 9997466 w 12192000"/>
              <a:gd name="connsiteY6" fmla="*/ 318578 h 6858000"/>
              <a:gd name="connsiteX7" fmla="*/ 9997466 w 12192000"/>
              <a:gd name="connsiteY7" fmla="*/ 800891 h 6858000"/>
              <a:gd name="connsiteX8" fmla="*/ 10622220 w 12192000"/>
              <a:gd name="connsiteY8" fmla="*/ 1425645 h 6858000"/>
              <a:gd name="connsiteX9" fmla="*/ 11104541 w 12192000"/>
              <a:gd name="connsiteY9" fmla="*/ 1425645 h 6858000"/>
              <a:gd name="connsiteX10" fmla="*/ 11970667 w 12192000"/>
              <a:gd name="connsiteY10" fmla="*/ 559519 h 6858000"/>
              <a:gd name="connsiteX11" fmla="*/ 12192000 w 12192000"/>
              <a:gd name="connsiteY11" fmla="*/ 338404 h 6858000"/>
              <a:gd name="connsiteX12" fmla="*/ 12192000 w 12192000"/>
              <a:gd name="connsiteY12" fmla="*/ 6858000 h 6858000"/>
              <a:gd name="connsiteX13" fmla="*/ 3168384 w 12192000"/>
              <a:gd name="connsiteY13" fmla="*/ 6858000 h 6858000"/>
              <a:gd name="connsiteX14" fmla="*/ 3370034 w 12192000"/>
              <a:gd name="connsiteY14" fmla="*/ 6656350 h 6858000"/>
              <a:gd name="connsiteX15" fmla="*/ 5462137 w 12192000"/>
              <a:gd name="connsiteY15" fmla="*/ 4566315 h 6858000"/>
              <a:gd name="connsiteX16" fmla="*/ 5462137 w 12192000"/>
              <a:gd name="connsiteY16" fmla="*/ 3401852 h 6858000"/>
              <a:gd name="connsiteX17" fmla="*/ 3371058 w 12192000"/>
              <a:gd name="connsiteY17" fmla="*/ 130974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2192000" h="6858000">
                <a:moveTo>
                  <a:pt x="0" y="3285298"/>
                </a:moveTo>
                <a:lnTo>
                  <a:pt x="454268" y="3739561"/>
                </a:lnTo>
                <a:cubicBezTo>
                  <a:pt x="589143" y="3874435"/>
                  <a:pt x="589143" y="4092708"/>
                  <a:pt x="454268" y="4226559"/>
                </a:cubicBezTo>
                <a:lnTo>
                  <a:pt x="0" y="4680821"/>
                </a:lnTo>
                <a:close/>
                <a:moveTo>
                  <a:pt x="2060668" y="0"/>
                </a:moveTo>
                <a:lnTo>
                  <a:pt x="10316047" y="0"/>
                </a:lnTo>
                <a:lnTo>
                  <a:pt x="9997466" y="318578"/>
                </a:lnTo>
                <a:cubicBezTo>
                  <a:pt x="9864414" y="451630"/>
                  <a:pt x="9864414" y="667839"/>
                  <a:pt x="9997466" y="800891"/>
                </a:cubicBezTo>
                <a:lnTo>
                  <a:pt x="10622220" y="1425645"/>
                </a:lnTo>
                <a:cubicBezTo>
                  <a:pt x="10755280" y="1558705"/>
                  <a:pt x="10971489" y="1558705"/>
                  <a:pt x="11104541" y="1425645"/>
                </a:cubicBezTo>
                <a:lnTo>
                  <a:pt x="11970667" y="559519"/>
                </a:lnTo>
                <a:lnTo>
                  <a:pt x="12192000" y="338404"/>
                </a:lnTo>
                <a:lnTo>
                  <a:pt x="12192000" y="6858000"/>
                </a:lnTo>
                <a:lnTo>
                  <a:pt x="3168384" y="6858000"/>
                </a:lnTo>
                <a:lnTo>
                  <a:pt x="3370034" y="6656350"/>
                </a:lnTo>
                <a:lnTo>
                  <a:pt x="5462137" y="4566315"/>
                </a:lnTo>
                <a:cubicBezTo>
                  <a:pt x="5783363" y="4245089"/>
                  <a:pt x="5783363" y="3723078"/>
                  <a:pt x="5462137" y="3401852"/>
                </a:cubicBezTo>
                <a:lnTo>
                  <a:pt x="3371058" y="130974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3B0A826D-8656-4B9C-411E-2CD4A0D93177}"/>
              </a:ext>
            </a:extLst>
          </p:cNvPr>
          <p:cNvSpPr/>
          <p:nvPr userDrawn="1"/>
        </p:nvSpPr>
        <p:spPr>
          <a:xfrm rot="5400000">
            <a:off x="10282118" y="-384441"/>
            <a:ext cx="1525439" cy="2294323"/>
          </a:xfrm>
          <a:custGeom>
            <a:avLst/>
            <a:gdLst>
              <a:gd name="connsiteX0" fmla="*/ 0 w 1525439"/>
              <a:gd name="connsiteY0" fmla="*/ 1875952 h 2294323"/>
              <a:gd name="connsiteX1" fmla="*/ 0 w 1525439"/>
              <a:gd name="connsiteY1" fmla="*/ 0 h 2294323"/>
              <a:gd name="connsiteX2" fmla="*/ 338404 w 1525439"/>
              <a:gd name="connsiteY2" fmla="*/ 0 h 2294323"/>
              <a:gd name="connsiteX3" fmla="*/ 559518 w 1525439"/>
              <a:gd name="connsiteY3" fmla="*/ 221333 h 2294323"/>
              <a:gd name="connsiteX4" fmla="*/ 1425644 w 1525439"/>
              <a:gd name="connsiteY4" fmla="*/ 1087459 h 2294323"/>
              <a:gd name="connsiteX5" fmla="*/ 1425644 w 1525439"/>
              <a:gd name="connsiteY5" fmla="*/ 1569780 h 2294323"/>
              <a:gd name="connsiteX6" fmla="*/ 800891 w 1525439"/>
              <a:gd name="connsiteY6" fmla="*/ 2194534 h 2294323"/>
              <a:gd name="connsiteX7" fmla="*/ 318578 w 1525439"/>
              <a:gd name="connsiteY7" fmla="*/ 2194534 h 2294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5439" h="2294323">
                <a:moveTo>
                  <a:pt x="0" y="1875952"/>
                </a:moveTo>
                <a:lnTo>
                  <a:pt x="0" y="0"/>
                </a:lnTo>
                <a:lnTo>
                  <a:pt x="338404" y="0"/>
                </a:lnTo>
                <a:lnTo>
                  <a:pt x="559518" y="221333"/>
                </a:lnTo>
                <a:lnTo>
                  <a:pt x="1425644" y="1087459"/>
                </a:lnTo>
                <a:cubicBezTo>
                  <a:pt x="1558705" y="1220511"/>
                  <a:pt x="1558705" y="1436720"/>
                  <a:pt x="1425644" y="1569780"/>
                </a:cubicBezTo>
                <a:lnTo>
                  <a:pt x="800891" y="2194534"/>
                </a:lnTo>
                <a:cubicBezTo>
                  <a:pt x="667839" y="2327586"/>
                  <a:pt x="451630" y="2327586"/>
                  <a:pt x="318578" y="2194534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</a:ln>
          <a:effectLst>
            <a:outerShdw blurRad="127000" dist="38100" dir="5400000" algn="ctr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txBody>
          <a:bodyPr vert="horz" wrap="square" lIns="108000" tIns="108000" rIns="108000" bIns="108000" rtlCol="0" anchor="t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400" b="1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1CCD891-85B6-3BFC-D79B-0B066F48E1D7}"/>
              </a:ext>
            </a:extLst>
          </p:cNvPr>
          <p:cNvSpPr>
            <a:spLocks/>
          </p:cNvSpPr>
          <p:nvPr userDrawn="1"/>
        </p:nvSpPr>
        <p:spPr>
          <a:xfrm rot="5400000">
            <a:off x="-577472" y="577473"/>
            <a:ext cx="6858000" cy="5703055"/>
          </a:xfrm>
          <a:custGeom>
            <a:avLst/>
            <a:gdLst>
              <a:gd name="connsiteX0" fmla="*/ 0 w 6858000"/>
              <a:gd name="connsiteY0" fmla="*/ 5703055 h 5703055"/>
              <a:gd name="connsiteX1" fmla="*/ 0 w 6858000"/>
              <a:gd name="connsiteY1" fmla="*/ 3642388 h 5703055"/>
              <a:gd name="connsiteX2" fmla="*/ 1309748 w 6858000"/>
              <a:gd name="connsiteY2" fmla="*/ 2331998 h 5703055"/>
              <a:gd name="connsiteX3" fmla="*/ 3401852 w 6858000"/>
              <a:gd name="connsiteY3" fmla="*/ 240920 h 5703055"/>
              <a:gd name="connsiteX4" fmla="*/ 4566315 w 6858000"/>
              <a:gd name="connsiteY4" fmla="*/ 240920 h 5703055"/>
              <a:gd name="connsiteX5" fmla="*/ 6656350 w 6858000"/>
              <a:gd name="connsiteY5" fmla="*/ 2333022 h 5703055"/>
              <a:gd name="connsiteX6" fmla="*/ 6858000 w 6858000"/>
              <a:gd name="connsiteY6" fmla="*/ 2534672 h 5703055"/>
              <a:gd name="connsiteX7" fmla="*/ 6858000 w 6858000"/>
              <a:gd name="connsiteY7" fmla="*/ 5703055 h 5703055"/>
              <a:gd name="connsiteX8" fmla="*/ 4680821 w 6858000"/>
              <a:gd name="connsiteY8" fmla="*/ 5703055 h 5703055"/>
              <a:gd name="connsiteX9" fmla="*/ 4226558 w 6858000"/>
              <a:gd name="connsiteY9" fmla="*/ 5248788 h 5703055"/>
              <a:gd name="connsiteX10" fmla="*/ 3739560 w 6858000"/>
              <a:gd name="connsiteY10" fmla="*/ 5248788 h 5703055"/>
              <a:gd name="connsiteX11" fmla="*/ 3285298 w 6858000"/>
              <a:gd name="connsiteY11" fmla="*/ 5703055 h 5703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858000" h="5703055">
                <a:moveTo>
                  <a:pt x="0" y="5703055"/>
                </a:moveTo>
                <a:lnTo>
                  <a:pt x="0" y="3642388"/>
                </a:lnTo>
                <a:lnTo>
                  <a:pt x="1309748" y="2331998"/>
                </a:lnTo>
                <a:lnTo>
                  <a:pt x="3401852" y="240920"/>
                </a:lnTo>
                <a:cubicBezTo>
                  <a:pt x="3723077" y="-80307"/>
                  <a:pt x="4245089" y="-80307"/>
                  <a:pt x="4566315" y="240920"/>
                </a:cubicBezTo>
                <a:lnTo>
                  <a:pt x="6656350" y="2333022"/>
                </a:lnTo>
                <a:lnTo>
                  <a:pt x="6858000" y="2534672"/>
                </a:lnTo>
                <a:lnTo>
                  <a:pt x="6858000" y="5703055"/>
                </a:lnTo>
                <a:lnTo>
                  <a:pt x="4680821" y="5703055"/>
                </a:lnTo>
                <a:lnTo>
                  <a:pt x="4226558" y="5248788"/>
                </a:lnTo>
                <a:cubicBezTo>
                  <a:pt x="4092708" y="5113913"/>
                  <a:pt x="3874435" y="5113913"/>
                  <a:pt x="3739560" y="5248788"/>
                </a:cubicBezTo>
                <a:lnTo>
                  <a:pt x="3285298" y="5703055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  <a:effectLst>
            <a:outerShdw blurRad="127000" dist="38100" dir="5400000" algn="ctr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txBody>
          <a:bodyPr vert="horz" wrap="square" lIns="108000" tIns="108000" rIns="108000" bIns="108000" rtlCol="0" anchor="t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400" b="1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0" name="Textplatzhalter 15">
            <a:extLst>
              <a:ext uri="{FF2B5EF4-FFF2-40B4-BE49-F238E27FC236}">
                <a16:creationId xmlns:a16="http://schemas.microsoft.com/office/drawing/2014/main" id="{84C57A9B-00BF-0271-3BBE-286C02C6DB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53834" y="2442665"/>
            <a:ext cx="2917795" cy="184666"/>
          </a:xfrm>
          <a:prstGeom prst="rect">
            <a:avLst/>
          </a:prstGeom>
        </p:spPr>
        <p:txBody>
          <a:bodyPr wrap="square" lIns="0" tIns="0" rIns="108000" bIns="0" anchor="t">
            <a:spAutoFit/>
          </a:bodyPr>
          <a:lstStyle>
            <a:lvl1pPr marL="0" indent="0" algn="l">
              <a:spcBef>
                <a:spcPts val="0"/>
              </a:spcBef>
              <a:buNone/>
              <a:defRPr sz="1200" b="0" cap="none" baseline="0">
                <a:latin typeface="+mn-lt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noProof="0" dirty="0"/>
              <a:t>Place holder “prepared for”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08392D13-39B9-7C5E-7EE5-44C7C852A3C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253834" y="2688131"/>
            <a:ext cx="2919303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000" b="0" cap="none" baseline="0">
                <a:latin typeface="+mj-lt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ompany</a:t>
            </a:r>
          </a:p>
        </p:txBody>
      </p:sp>
      <p:sp>
        <p:nvSpPr>
          <p:cNvPr id="12" name="Author, business unit">
            <a:extLst>
              <a:ext uri="{FF2B5EF4-FFF2-40B4-BE49-F238E27FC236}">
                <a16:creationId xmlns:a16="http://schemas.microsoft.com/office/drawing/2014/main" id="{0C638E43-DA3D-71E1-59EC-53E1918003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51385" y="1594188"/>
            <a:ext cx="2779212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200" b="0" cap="none" baseline="0" noProof="0" dirty="0">
                <a:latin typeface="+mn-lt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pPr lvl="0">
              <a:spcBef>
                <a:spcPts val="237"/>
              </a:spcBef>
            </a:pPr>
            <a:r>
              <a:rPr lang="en-US" noProof="0" dirty="0"/>
              <a:t>Author, business unit/</a:t>
            </a:r>
            <a:r>
              <a:rPr lang="en-US" noProof="0" dirty="0" err="1"/>
              <a:t>deptmt</a:t>
            </a:r>
            <a:endParaRPr lang="en-US" dirty="0"/>
          </a:p>
        </p:txBody>
      </p:sp>
      <p:sp>
        <p:nvSpPr>
          <p:cNvPr id="13" name="Place, date">
            <a:extLst>
              <a:ext uri="{FF2B5EF4-FFF2-40B4-BE49-F238E27FC236}">
                <a16:creationId xmlns:a16="http://schemas.microsoft.com/office/drawing/2014/main" id="{F0D0FB53-1844-34A4-43C7-F10C21C993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51383" y="1340768"/>
            <a:ext cx="2779213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200" b="0" cap="none" baseline="0" noProof="0" dirty="0">
                <a:latin typeface="+mn-lt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pPr lvl="0">
              <a:spcBef>
                <a:spcPts val="237"/>
              </a:spcBef>
            </a:pPr>
            <a:r>
              <a:rPr lang="en-US" noProof="0" dirty="0"/>
              <a:t>Place holder place, date</a:t>
            </a:r>
            <a:endParaRPr lang="en-US" dirty="0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19951464-025D-9350-9608-BE1C7E336E6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53834" y="3056708"/>
            <a:ext cx="2919515" cy="360363"/>
          </a:xfrm>
          <a:prstGeom prst="rect">
            <a:avLst/>
          </a:prstGeom>
        </p:spPr>
        <p:txBody>
          <a:bodyPr/>
          <a:lstStyle>
            <a:lvl1pPr>
              <a:defRPr cap="none" baseline="0">
                <a:latin typeface="+mn-lt"/>
                <a:cs typeface="Poppins" panose="00000500000000000000" pitchFamily="2" charset="0"/>
              </a:defRPr>
            </a:lvl1pPr>
          </a:lstStyle>
          <a:p>
            <a:pPr lvl="0"/>
            <a:r>
              <a:rPr lang="en-US" dirty="0"/>
              <a:t>Names</a:t>
            </a:r>
          </a:p>
        </p:txBody>
      </p:sp>
      <p:sp>
        <p:nvSpPr>
          <p:cNvPr id="15" name="Author, business unit">
            <a:extLst>
              <a:ext uri="{FF2B5EF4-FFF2-40B4-BE49-F238E27FC236}">
                <a16:creationId xmlns:a16="http://schemas.microsoft.com/office/drawing/2014/main" id="{96BD4E2E-365E-4FCD-3E23-0A8B2898996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6124654"/>
            <a:ext cx="3363088" cy="184666"/>
          </a:xfrm>
          <a:prstGeom prst="rect">
            <a:avLst/>
          </a:prstGeom>
          <a:noFill/>
        </p:spPr>
        <p:txBody>
          <a:bodyPr vert="horz" wrap="none" lIns="550800" tIns="0" rIns="108000" bIns="0" rtlCol="0" anchor="ctr">
            <a:spAutoFit/>
          </a:bodyPr>
          <a:lstStyle>
            <a:lvl1pPr>
              <a:defRPr lang="en-US" sz="1200" cap="none" baseline="0" noProof="0" dirty="0">
                <a:solidFill>
                  <a:schemeClr val="tx1"/>
                </a:solidFill>
                <a:latin typeface="+mn-lt"/>
                <a:cs typeface="Poppins" panose="000005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noProof="0" dirty="0"/>
              <a:t>P-# or doc.-Type (</a:t>
            </a:r>
            <a:r>
              <a:rPr lang="en-US" noProof="0" dirty="0" err="1"/>
              <a:t>e.G.</a:t>
            </a:r>
            <a:r>
              <a:rPr lang="en-US" noProof="0" dirty="0"/>
              <a:t> Final report)</a:t>
            </a:r>
          </a:p>
        </p:txBody>
      </p:sp>
      <p:sp>
        <p:nvSpPr>
          <p:cNvPr id="16" name="Bildplatzhalter 5">
            <a:extLst>
              <a:ext uri="{FF2B5EF4-FFF2-40B4-BE49-F238E27FC236}">
                <a16:creationId xmlns:a16="http://schemas.microsoft.com/office/drawing/2014/main" id="{8036C979-7C8B-3121-5F1A-EEF2C0DE6B39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253622" y="4230670"/>
            <a:ext cx="2919515" cy="15494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Poppins" panose="00000500000000000000" pitchFamily="2" charset="0"/>
              </a:defRPr>
            </a:lvl1pPr>
          </a:lstStyle>
          <a:p>
            <a:r>
              <a:rPr lang="en-US" dirty="0">
                <a:latin typeface="Poppins" panose="00000500000000000000" pitchFamily="2" charset="0"/>
              </a:rPr>
              <a:t>Customer logo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0B7517B4-9378-5663-BF73-E868587BFB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489857" y="2050841"/>
            <a:ext cx="6702143" cy="430887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txBody>
          <a:bodyPr wrap="none" lIns="108000" tIns="0" rIns="550800" bIns="0" anchor="ctr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800" cap="none" baseline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pPr lvl="0" algn="r">
              <a:lnSpc>
                <a:spcPct val="100000"/>
              </a:lnSpc>
            </a:pPr>
            <a:r>
              <a:rPr lang="en-US" dirty="0"/>
              <a:t>Title of presentation (</a:t>
            </a:r>
            <a:r>
              <a:rPr lang="en-US" dirty="0" err="1"/>
              <a:t>autom</a:t>
            </a:r>
            <a:r>
              <a:rPr lang="en-US" dirty="0"/>
              <a:t>. size)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87233DE6-4177-F81C-C2A5-7574F354288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991871" y="2565021"/>
            <a:ext cx="5200129" cy="430887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txBody>
          <a:bodyPr wrap="none" lIns="108000" tIns="0" rIns="550800" bIns="0" anchor="ctr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800" cap="none" baseline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pPr lvl="0" algn="r">
              <a:lnSpc>
                <a:spcPct val="100000"/>
              </a:lnSpc>
            </a:pPr>
            <a:r>
              <a:rPr lang="en-US" noProof="0" dirty="0"/>
              <a:t>Second</a:t>
            </a:r>
            <a:r>
              <a:rPr lang="en-US" dirty="0"/>
              <a:t> line (</a:t>
            </a:r>
            <a:r>
              <a:rPr lang="en-US" dirty="0" err="1"/>
              <a:t>autom</a:t>
            </a:r>
            <a:r>
              <a:rPr lang="en-US" dirty="0"/>
              <a:t>. size)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B56BD4F-AED7-1AFE-2BBD-AF7BD249FCC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87425" y="443910"/>
            <a:ext cx="795600" cy="302612"/>
            <a:chOff x="5975501" y="3608175"/>
            <a:chExt cx="3050378" cy="1160231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B9E70580-9BA8-91A7-8633-5A3345F3C698}"/>
                </a:ext>
              </a:extLst>
            </p:cNvPr>
            <p:cNvSpPr/>
            <p:nvPr/>
          </p:nvSpPr>
          <p:spPr>
            <a:xfrm>
              <a:off x="7098250" y="3614987"/>
              <a:ext cx="608847" cy="620768"/>
            </a:xfrm>
            <a:custGeom>
              <a:avLst/>
              <a:gdLst>
                <a:gd name="connsiteX0" fmla="*/ 369141 w 608847"/>
                <a:gd name="connsiteY0" fmla="*/ 620769 h 620768"/>
                <a:gd name="connsiteX1" fmla="*/ 608848 w 608847"/>
                <a:gd name="connsiteY1" fmla="*/ 0 h 620768"/>
                <a:gd name="connsiteX2" fmla="*/ 485375 w 608847"/>
                <a:gd name="connsiteY2" fmla="*/ 0 h 620768"/>
                <a:gd name="connsiteX3" fmla="*/ 304424 w 608847"/>
                <a:gd name="connsiteY3" fmla="*/ 467493 h 620768"/>
                <a:gd name="connsiteX4" fmla="*/ 123473 w 608847"/>
                <a:gd name="connsiteY4" fmla="*/ 0 h 620768"/>
                <a:gd name="connsiteX5" fmla="*/ 0 w 608847"/>
                <a:gd name="connsiteY5" fmla="*/ 0 h 620768"/>
                <a:gd name="connsiteX6" fmla="*/ 240133 w 608847"/>
                <a:gd name="connsiteY6" fmla="*/ 620769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8847" h="620768">
                  <a:moveTo>
                    <a:pt x="369141" y="620769"/>
                  </a:moveTo>
                  <a:lnTo>
                    <a:pt x="608848" y="0"/>
                  </a:lnTo>
                  <a:lnTo>
                    <a:pt x="485375" y="0"/>
                  </a:lnTo>
                  <a:lnTo>
                    <a:pt x="304424" y="467493"/>
                  </a:lnTo>
                  <a:lnTo>
                    <a:pt x="123473" y="0"/>
                  </a:lnTo>
                  <a:lnTo>
                    <a:pt x="0" y="0"/>
                  </a:lnTo>
                  <a:lnTo>
                    <a:pt x="240133" y="620769"/>
                  </a:lnTo>
                  <a:close/>
                </a:path>
              </a:pathLst>
            </a:custGeom>
            <a:solidFill>
              <a:srgbClr val="B9052D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04A07CA-1519-6AF3-FF5F-1206DD54C79C}"/>
                </a:ext>
              </a:extLst>
            </p:cNvPr>
            <p:cNvSpPr/>
            <p:nvPr/>
          </p:nvSpPr>
          <p:spPr>
            <a:xfrm>
              <a:off x="5975501" y="3614987"/>
              <a:ext cx="505386" cy="620768"/>
            </a:xfrm>
            <a:custGeom>
              <a:avLst/>
              <a:gdLst>
                <a:gd name="connsiteX0" fmla="*/ 505386 w 505386"/>
                <a:gd name="connsiteY0" fmla="*/ 114957 h 620768"/>
                <a:gd name="connsiteX1" fmla="*/ 505386 w 505386"/>
                <a:gd name="connsiteY1" fmla="*/ 0 h 620768"/>
                <a:gd name="connsiteX2" fmla="*/ 144335 w 505386"/>
                <a:gd name="connsiteY2" fmla="*/ 0 h 620768"/>
                <a:gd name="connsiteX3" fmla="*/ 0 w 505386"/>
                <a:gd name="connsiteY3" fmla="*/ 144335 h 620768"/>
                <a:gd name="connsiteX4" fmla="*/ 0 w 505386"/>
                <a:gd name="connsiteY4" fmla="*/ 620769 h 620768"/>
                <a:gd name="connsiteX5" fmla="*/ 115809 w 505386"/>
                <a:gd name="connsiteY5" fmla="*/ 620769 h 620768"/>
                <a:gd name="connsiteX6" fmla="*/ 115809 w 505386"/>
                <a:gd name="connsiteY6" fmla="*/ 389577 h 620768"/>
                <a:gd name="connsiteX7" fmla="*/ 389577 w 505386"/>
                <a:gd name="connsiteY7" fmla="*/ 389577 h 620768"/>
                <a:gd name="connsiteX8" fmla="*/ 389577 w 505386"/>
                <a:gd name="connsiteY8" fmla="*/ 288670 h 620768"/>
                <a:gd name="connsiteX9" fmla="*/ 115383 w 505386"/>
                <a:gd name="connsiteY9" fmla="*/ 288670 h 620768"/>
                <a:gd name="connsiteX10" fmla="*/ 115383 w 505386"/>
                <a:gd name="connsiteY10" fmla="*/ 144335 h 620768"/>
                <a:gd name="connsiteX11" fmla="*/ 143909 w 505386"/>
                <a:gd name="connsiteY11" fmla="*/ 115809 h 620768"/>
                <a:gd name="connsiteX12" fmla="*/ 504960 w 505386"/>
                <a:gd name="connsiteY12" fmla="*/ 115809 h 620768"/>
                <a:gd name="connsiteX13" fmla="*/ 504960 w 505386"/>
                <a:gd name="connsiteY13" fmla="*/ 114957 h 620768"/>
                <a:gd name="connsiteX14" fmla="*/ 505386 w 505386"/>
                <a:gd name="connsiteY14" fmla="*/ 114957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5386" h="620768">
                  <a:moveTo>
                    <a:pt x="505386" y="114957"/>
                  </a:moveTo>
                  <a:lnTo>
                    <a:pt x="505386" y="0"/>
                  </a:lnTo>
                  <a:lnTo>
                    <a:pt x="144335" y="0"/>
                  </a:lnTo>
                  <a:cubicBezTo>
                    <a:pt x="64717" y="0"/>
                    <a:pt x="0" y="64717"/>
                    <a:pt x="0" y="144335"/>
                  </a:cubicBezTo>
                  <a:lnTo>
                    <a:pt x="0" y="620769"/>
                  </a:lnTo>
                  <a:lnTo>
                    <a:pt x="115809" y="620769"/>
                  </a:lnTo>
                  <a:lnTo>
                    <a:pt x="115809" y="389577"/>
                  </a:lnTo>
                  <a:lnTo>
                    <a:pt x="389577" y="389577"/>
                  </a:lnTo>
                  <a:lnTo>
                    <a:pt x="389577" y="288670"/>
                  </a:lnTo>
                  <a:lnTo>
                    <a:pt x="115383" y="288670"/>
                  </a:lnTo>
                  <a:lnTo>
                    <a:pt x="115383" y="144335"/>
                  </a:lnTo>
                  <a:cubicBezTo>
                    <a:pt x="115383" y="128582"/>
                    <a:pt x="128156" y="115809"/>
                    <a:pt x="143909" y="115809"/>
                  </a:cubicBezTo>
                  <a:lnTo>
                    <a:pt x="504960" y="115809"/>
                  </a:lnTo>
                  <a:lnTo>
                    <a:pt x="504960" y="114957"/>
                  </a:lnTo>
                  <a:lnTo>
                    <a:pt x="505386" y="114957"/>
                  </a:lnTo>
                  <a:close/>
                </a:path>
              </a:pathLst>
            </a:custGeom>
            <a:solidFill>
              <a:srgbClr val="B9052D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7A85F4C-DF09-8E67-7646-2FC9C1952304}"/>
                </a:ext>
              </a:extLst>
            </p:cNvPr>
            <p:cNvSpPr/>
            <p:nvPr/>
          </p:nvSpPr>
          <p:spPr>
            <a:xfrm>
              <a:off x="6487699" y="3608175"/>
              <a:ext cx="625452" cy="635245"/>
            </a:xfrm>
            <a:custGeom>
              <a:avLst/>
              <a:gdLst>
                <a:gd name="connsiteX0" fmla="*/ 503257 w 625452"/>
                <a:gd name="connsiteY0" fmla="*/ 395964 h 635245"/>
                <a:gd name="connsiteX1" fmla="*/ 317197 w 625452"/>
                <a:gd name="connsiteY1" fmla="*/ 518585 h 635245"/>
                <a:gd name="connsiteX2" fmla="*/ 172862 w 625452"/>
                <a:gd name="connsiteY2" fmla="*/ 458126 h 635245"/>
                <a:gd name="connsiteX3" fmla="*/ 512198 w 625452"/>
                <a:gd name="connsiteY3" fmla="*/ 262699 h 635245"/>
                <a:gd name="connsiteX4" fmla="*/ 614383 w 625452"/>
                <a:gd name="connsiteY4" fmla="*/ 203943 h 635245"/>
                <a:gd name="connsiteX5" fmla="*/ 563716 w 625452"/>
                <a:gd name="connsiteY5" fmla="*/ 116660 h 635245"/>
                <a:gd name="connsiteX6" fmla="*/ 317623 w 625452"/>
                <a:gd name="connsiteY6" fmla="*/ 0 h 635245"/>
                <a:gd name="connsiteX7" fmla="*/ 0 w 625452"/>
                <a:gd name="connsiteY7" fmla="*/ 317623 h 635245"/>
                <a:gd name="connsiteX8" fmla="*/ 20863 w 625452"/>
                <a:gd name="connsiteY8" fmla="*/ 430877 h 635245"/>
                <a:gd name="connsiteX9" fmla="*/ 71529 w 625452"/>
                <a:gd name="connsiteY9" fmla="*/ 518159 h 635245"/>
                <a:gd name="connsiteX10" fmla="*/ 317623 w 625452"/>
                <a:gd name="connsiteY10" fmla="*/ 635245 h 635245"/>
                <a:gd name="connsiteX11" fmla="*/ 625453 w 625452"/>
                <a:gd name="connsiteY11" fmla="*/ 397241 h 635245"/>
                <a:gd name="connsiteX12" fmla="*/ 503257 w 625452"/>
                <a:gd name="connsiteY12" fmla="*/ 395964 h 635245"/>
                <a:gd name="connsiteX13" fmla="*/ 503257 w 625452"/>
                <a:gd name="connsiteY13" fmla="*/ 395964 h 635245"/>
                <a:gd name="connsiteX14" fmla="*/ 115383 w 625452"/>
                <a:gd name="connsiteY14" fmla="*/ 316771 h 635245"/>
                <a:gd name="connsiteX15" fmla="*/ 317623 w 625452"/>
                <a:gd name="connsiteY15" fmla="*/ 114531 h 635245"/>
                <a:gd name="connsiteX16" fmla="*/ 461958 w 625452"/>
                <a:gd name="connsiteY16" fmla="*/ 174990 h 635245"/>
                <a:gd name="connsiteX17" fmla="*/ 123047 w 625452"/>
                <a:gd name="connsiteY17" fmla="*/ 370844 h 635245"/>
                <a:gd name="connsiteX18" fmla="*/ 115383 w 625452"/>
                <a:gd name="connsiteY18" fmla="*/ 316771 h 63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5452" h="635245">
                  <a:moveTo>
                    <a:pt x="503257" y="395964"/>
                  </a:moveTo>
                  <a:cubicBezTo>
                    <a:pt x="472602" y="467918"/>
                    <a:pt x="401073" y="518585"/>
                    <a:pt x="317197" y="518585"/>
                  </a:cubicBezTo>
                  <a:cubicBezTo>
                    <a:pt x="260570" y="518585"/>
                    <a:pt x="209478" y="495593"/>
                    <a:pt x="172862" y="458126"/>
                  </a:cubicBezTo>
                  <a:lnTo>
                    <a:pt x="512198" y="262699"/>
                  </a:lnTo>
                  <a:lnTo>
                    <a:pt x="614383" y="203943"/>
                  </a:lnTo>
                  <a:cubicBezTo>
                    <a:pt x="602035" y="172010"/>
                    <a:pt x="585005" y="142632"/>
                    <a:pt x="563716" y="116660"/>
                  </a:cubicBezTo>
                  <a:cubicBezTo>
                    <a:pt x="505812" y="45131"/>
                    <a:pt x="417252" y="0"/>
                    <a:pt x="317623" y="0"/>
                  </a:cubicBezTo>
                  <a:cubicBezTo>
                    <a:pt x="142206" y="0"/>
                    <a:pt x="0" y="142206"/>
                    <a:pt x="0" y="317623"/>
                  </a:cubicBezTo>
                  <a:cubicBezTo>
                    <a:pt x="0" y="357219"/>
                    <a:pt x="7238" y="395538"/>
                    <a:pt x="20863" y="430877"/>
                  </a:cubicBezTo>
                  <a:cubicBezTo>
                    <a:pt x="33210" y="462809"/>
                    <a:pt x="50241" y="492187"/>
                    <a:pt x="71529" y="518159"/>
                  </a:cubicBezTo>
                  <a:cubicBezTo>
                    <a:pt x="129859" y="589688"/>
                    <a:pt x="218419" y="635245"/>
                    <a:pt x="317623" y="635245"/>
                  </a:cubicBezTo>
                  <a:cubicBezTo>
                    <a:pt x="465790" y="635245"/>
                    <a:pt x="589688" y="534338"/>
                    <a:pt x="625453" y="397241"/>
                  </a:cubicBezTo>
                  <a:lnTo>
                    <a:pt x="503257" y="395964"/>
                  </a:lnTo>
                  <a:lnTo>
                    <a:pt x="503257" y="395964"/>
                  </a:lnTo>
                  <a:close/>
                  <a:moveTo>
                    <a:pt x="115383" y="316771"/>
                  </a:moveTo>
                  <a:cubicBezTo>
                    <a:pt x="115383" y="205220"/>
                    <a:pt x="206072" y="114531"/>
                    <a:pt x="317623" y="114531"/>
                  </a:cubicBezTo>
                  <a:cubicBezTo>
                    <a:pt x="374250" y="114531"/>
                    <a:pt x="425342" y="137523"/>
                    <a:pt x="461958" y="174990"/>
                  </a:cubicBezTo>
                  <a:lnTo>
                    <a:pt x="123047" y="370844"/>
                  </a:lnTo>
                  <a:cubicBezTo>
                    <a:pt x="118363" y="353813"/>
                    <a:pt x="115383" y="335931"/>
                    <a:pt x="115383" y="316771"/>
                  </a:cubicBezTo>
                </a:path>
              </a:pathLst>
            </a:custGeom>
            <a:solidFill>
              <a:srgbClr val="B9052D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479A7E9-6AB6-08E5-0531-D516A192AF2F}"/>
                </a:ext>
              </a:extLst>
            </p:cNvPr>
            <p:cNvSpPr/>
            <p:nvPr/>
          </p:nvSpPr>
          <p:spPr>
            <a:xfrm>
              <a:off x="8659524" y="4396917"/>
              <a:ext cx="366355" cy="371489"/>
            </a:xfrm>
            <a:custGeom>
              <a:avLst/>
              <a:gdLst>
                <a:gd name="connsiteX0" fmla="*/ 242704 w 366355"/>
                <a:gd name="connsiteY0" fmla="*/ 64921 h 371489"/>
                <a:gd name="connsiteX1" fmla="*/ 180542 w 366355"/>
                <a:gd name="connsiteY1" fmla="*/ 44059 h 371489"/>
                <a:gd name="connsiteX2" fmla="*/ 114122 w 366355"/>
                <a:gd name="connsiteY2" fmla="*/ 61941 h 371489"/>
                <a:gd name="connsiteX3" fmla="*/ 63881 w 366355"/>
                <a:gd name="connsiteY3" fmla="*/ 111330 h 371489"/>
                <a:gd name="connsiteX4" fmla="*/ 47702 w 366355"/>
                <a:gd name="connsiteY4" fmla="*/ 178601 h 371489"/>
                <a:gd name="connsiteX5" fmla="*/ 70268 w 366355"/>
                <a:gd name="connsiteY5" fmla="*/ 252259 h 371489"/>
                <a:gd name="connsiteX6" fmla="*/ 122637 w 366355"/>
                <a:gd name="connsiteY6" fmla="*/ 308460 h 371489"/>
                <a:gd name="connsiteX7" fmla="*/ 188631 w 366355"/>
                <a:gd name="connsiteY7" fmla="*/ 327620 h 371489"/>
                <a:gd name="connsiteX8" fmla="*/ 256328 w 366355"/>
                <a:gd name="connsiteY8" fmla="*/ 308460 h 371489"/>
                <a:gd name="connsiteX9" fmla="*/ 315936 w 366355"/>
                <a:gd name="connsiteY9" fmla="*/ 237357 h 371489"/>
                <a:gd name="connsiteX10" fmla="*/ 307420 w 366355"/>
                <a:gd name="connsiteY10" fmla="*/ 143262 h 371489"/>
                <a:gd name="connsiteX11" fmla="*/ 182245 w 366355"/>
                <a:gd name="connsiteY11" fmla="*/ 215643 h 371489"/>
                <a:gd name="connsiteX12" fmla="*/ 163085 w 366355"/>
                <a:gd name="connsiteY12" fmla="*/ 182433 h 371489"/>
                <a:gd name="connsiteX13" fmla="*/ 331689 w 366355"/>
                <a:gd name="connsiteY13" fmla="*/ 84932 h 371489"/>
                <a:gd name="connsiteX14" fmla="*/ 349571 w 366355"/>
                <a:gd name="connsiteY14" fmla="*/ 116439 h 371489"/>
                <a:gd name="connsiteX15" fmla="*/ 366176 w 366355"/>
                <a:gd name="connsiteY15" fmla="*/ 201167 h 371489"/>
                <a:gd name="connsiteX16" fmla="*/ 341056 w 366355"/>
                <a:gd name="connsiteY16" fmla="*/ 283766 h 371489"/>
                <a:gd name="connsiteX17" fmla="*/ 276765 w 366355"/>
                <a:gd name="connsiteY17" fmla="*/ 345928 h 371489"/>
                <a:gd name="connsiteX18" fmla="*/ 185225 w 366355"/>
                <a:gd name="connsiteY18" fmla="*/ 371474 h 371489"/>
                <a:gd name="connsiteX19" fmla="*/ 95388 w 366355"/>
                <a:gd name="connsiteY19" fmla="*/ 347631 h 371489"/>
                <a:gd name="connsiteX20" fmla="*/ 26840 w 366355"/>
                <a:gd name="connsiteY20" fmla="*/ 277379 h 371489"/>
                <a:gd name="connsiteX21" fmla="*/ 16 w 366355"/>
                <a:gd name="connsiteY21" fmla="*/ 182859 h 371489"/>
                <a:gd name="connsiteX22" fmla="*/ 23859 w 366355"/>
                <a:gd name="connsiteY22" fmla="*/ 93022 h 371489"/>
                <a:gd name="connsiteX23" fmla="*/ 91556 w 366355"/>
                <a:gd name="connsiteY23" fmla="*/ 26602 h 371489"/>
                <a:gd name="connsiteX24" fmla="*/ 194166 w 366355"/>
                <a:gd name="connsiteY24" fmla="*/ 205 h 371489"/>
                <a:gd name="connsiteX25" fmla="*/ 290390 w 366355"/>
                <a:gd name="connsiteY25" fmla="*/ 37672 h 371489"/>
                <a:gd name="connsiteX26" fmla="*/ 242704 w 366355"/>
                <a:gd name="connsiteY26" fmla="*/ 64921 h 371489"/>
                <a:gd name="connsiteX27" fmla="*/ 242704 w 366355"/>
                <a:gd name="connsiteY27" fmla="*/ 64921 h 37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6355" h="371489">
                  <a:moveTo>
                    <a:pt x="242704" y="64921"/>
                  </a:moveTo>
                  <a:cubicBezTo>
                    <a:pt x="223544" y="51722"/>
                    <a:pt x="202682" y="44910"/>
                    <a:pt x="180542" y="44059"/>
                  </a:cubicBezTo>
                  <a:cubicBezTo>
                    <a:pt x="158402" y="43633"/>
                    <a:pt x="135836" y="49594"/>
                    <a:pt x="114122" y="61941"/>
                  </a:cubicBezTo>
                  <a:cubicBezTo>
                    <a:pt x="92408" y="74288"/>
                    <a:pt x="75377" y="91319"/>
                    <a:pt x="63881" y="111330"/>
                  </a:cubicBezTo>
                  <a:cubicBezTo>
                    <a:pt x="52386" y="131341"/>
                    <a:pt x="46425" y="153907"/>
                    <a:pt x="47702" y="178601"/>
                  </a:cubicBezTo>
                  <a:cubicBezTo>
                    <a:pt x="48554" y="203296"/>
                    <a:pt x="56217" y="227564"/>
                    <a:pt x="70268" y="252259"/>
                  </a:cubicBezTo>
                  <a:cubicBezTo>
                    <a:pt x="84318" y="276953"/>
                    <a:pt x="101775" y="295687"/>
                    <a:pt x="122637" y="308460"/>
                  </a:cubicBezTo>
                  <a:cubicBezTo>
                    <a:pt x="143500" y="321233"/>
                    <a:pt x="165214" y="327620"/>
                    <a:pt x="188631" y="327620"/>
                  </a:cubicBezTo>
                  <a:cubicBezTo>
                    <a:pt x="212048" y="327620"/>
                    <a:pt x="234614" y="321233"/>
                    <a:pt x="256328" y="308460"/>
                  </a:cubicBezTo>
                  <a:cubicBezTo>
                    <a:pt x="286983" y="290578"/>
                    <a:pt x="306569" y="267161"/>
                    <a:pt x="315936" y="237357"/>
                  </a:cubicBezTo>
                  <a:cubicBezTo>
                    <a:pt x="325303" y="207979"/>
                    <a:pt x="322322" y="176047"/>
                    <a:pt x="307420" y="143262"/>
                  </a:cubicBezTo>
                  <a:lnTo>
                    <a:pt x="182245" y="215643"/>
                  </a:lnTo>
                  <a:lnTo>
                    <a:pt x="163085" y="182433"/>
                  </a:lnTo>
                  <a:lnTo>
                    <a:pt x="331689" y="84932"/>
                  </a:lnTo>
                  <a:lnTo>
                    <a:pt x="349571" y="116439"/>
                  </a:lnTo>
                  <a:cubicBezTo>
                    <a:pt x="361918" y="143688"/>
                    <a:pt x="367454" y="172215"/>
                    <a:pt x="366176" y="201167"/>
                  </a:cubicBezTo>
                  <a:cubicBezTo>
                    <a:pt x="364899" y="230545"/>
                    <a:pt x="356384" y="258220"/>
                    <a:pt x="341056" y="283766"/>
                  </a:cubicBezTo>
                  <a:cubicBezTo>
                    <a:pt x="325728" y="309312"/>
                    <a:pt x="304014" y="330174"/>
                    <a:pt x="276765" y="345928"/>
                  </a:cubicBezTo>
                  <a:cubicBezTo>
                    <a:pt x="247387" y="362533"/>
                    <a:pt x="217157" y="371474"/>
                    <a:pt x="185225" y="371474"/>
                  </a:cubicBezTo>
                  <a:cubicBezTo>
                    <a:pt x="153292" y="371900"/>
                    <a:pt x="123489" y="363810"/>
                    <a:pt x="95388" y="347631"/>
                  </a:cubicBezTo>
                  <a:cubicBezTo>
                    <a:pt x="67287" y="331452"/>
                    <a:pt x="44722" y="308034"/>
                    <a:pt x="26840" y="277379"/>
                  </a:cubicBezTo>
                  <a:cubicBezTo>
                    <a:pt x="8957" y="246724"/>
                    <a:pt x="442" y="215217"/>
                    <a:pt x="16" y="182859"/>
                  </a:cubicBezTo>
                  <a:cubicBezTo>
                    <a:pt x="-410" y="150500"/>
                    <a:pt x="7680" y="120271"/>
                    <a:pt x="23859" y="93022"/>
                  </a:cubicBezTo>
                  <a:cubicBezTo>
                    <a:pt x="40038" y="65773"/>
                    <a:pt x="62604" y="43207"/>
                    <a:pt x="91556" y="26602"/>
                  </a:cubicBezTo>
                  <a:cubicBezTo>
                    <a:pt x="124766" y="7443"/>
                    <a:pt x="158828" y="-1499"/>
                    <a:pt x="194166" y="205"/>
                  </a:cubicBezTo>
                  <a:cubicBezTo>
                    <a:pt x="229505" y="1908"/>
                    <a:pt x="261437" y="14681"/>
                    <a:pt x="290390" y="37672"/>
                  </a:cubicBezTo>
                  <a:lnTo>
                    <a:pt x="242704" y="64921"/>
                  </a:lnTo>
                  <a:lnTo>
                    <a:pt x="242704" y="64921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21C90A5-60C3-8E09-A0CE-095CA79A58CA}"/>
                </a:ext>
              </a:extLst>
            </p:cNvPr>
            <p:cNvSpPr/>
            <p:nvPr/>
          </p:nvSpPr>
          <p:spPr>
            <a:xfrm>
              <a:off x="6794252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9 w 284838"/>
                <a:gd name="connsiteY8" fmla="*/ 362754 h 362753"/>
                <a:gd name="connsiteX9" fmla="*/ 284839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9" y="362754"/>
                  </a:lnTo>
                  <a:lnTo>
                    <a:pt x="284839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61587E0-47D6-2F18-69F8-AFCEE6FB003E}"/>
                </a:ext>
              </a:extLst>
            </p:cNvPr>
            <p:cNvSpPr/>
            <p:nvPr/>
          </p:nvSpPr>
          <p:spPr>
            <a:xfrm>
              <a:off x="7762873" y="4402657"/>
              <a:ext cx="173713" cy="362328"/>
            </a:xfrm>
            <a:custGeom>
              <a:avLst/>
              <a:gdLst>
                <a:gd name="connsiteX0" fmla="*/ 0 w 173713"/>
                <a:gd name="connsiteY0" fmla="*/ 0 h 362328"/>
                <a:gd name="connsiteX1" fmla="*/ 0 w 173713"/>
                <a:gd name="connsiteY1" fmla="*/ 362328 h 362328"/>
                <a:gd name="connsiteX2" fmla="*/ 173713 w 173713"/>
                <a:gd name="connsiteY2" fmla="*/ 362328 h 362328"/>
                <a:gd name="connsiteX3" fmla="*/ 173713 w 173713"/>
                <a:gd name="connsiteY3" fmla="*/ 323583 h 362328"/>
                <a:gd name="connsiteX4" fmla="*/ 47260 w 173713"/>
                <a:gd name="connsiteY4" fmla="*/ 323583 h 362328"/>
                <a:gd name="connsiteX5" fmla="*/ 47260 w 173713"/>
                <a:gd name="connsiteY5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13" h="362328">
                  <a:moveTo>
                    <a:pt x="0" y="0"/>
                  </a:moveTo>
                  <a:lnTo>
                    <a:pt x="0" y="362328"/>
                  </a:lnTo>
                  <a:lnTo>
                    <a:pt x="173713" y="362328"/>
                  </a:lnTo>
                  <a:lnTo>
                    <a:pt x="173713" y="323583"/>
                  </a:lnTo>
                  <a:lnTo>
                    <a:pt x="47260" y="323583"/>
                  </a:lnTo>
                  <a:lnTo>
                    <a:pt x="47260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4381BA2-A38D-3236-7558-8821145D6836}"/>
                </a:ext>
              </a:extLst>
            </p:cNvPr>
            <p:cNvSpPr/>
            <p:nvPr/>
          </p:nvSpPr>
          <p:spPr>
            <a:xfrm>
              <a:off x="7909337" y="4402657"/>
              <a:ext cx="245667" cy="362328"/>
            </a:xfrm>
            <a:custGeom>
              <a:avLst/>
              <a:gdLst>
                <a:gd name="connsiteX0" fmla="*/ 0 w 245667"/>
                <a:gd name="connsiteY0" fmla="*/ 0 h 362328"/>
                <a:gd name="connsiteX1" fmla="*/ 0 w 245667"/>
                <a:gd name="connsiteY1" fmla="*/ 38745 h 362328"/>
                <a:gd name="connsiteX2" fmla="*/ 99630 w 245667"/>
                <a:gd name="connsiteY2" fmla="*/ 38745 h 362328"/>
                <a:gd name="connsiteX3" fmla="*/ 99630 w 245667"/>
                <a:gd name="connsiteY3" fmla="*/ 362328 h 362328"/>
                <a:gd name="connsiteX4" fmla="*/ 146890 w 245667"/>
                <a:gd name="connsiteY4" fmla="*/ 362328 h 362328"/>
                <a:gd name="connsiteX5" fmla="*/ 146890 w 245667"/>
                <a:gd name="connsiteY5" fmla="*/ 38745 h 362328"/>
                <a:gd name="connsiteX6" fmla="*/ 245668 w 245667"/>
                <a:gd name="connsiteY6" fmla="*/ 38745 h 362328"/>
                <a:gd name="connsiteX7" fmla="*/ 245668 w 245667"/>
                <a:gd name="connsiteY7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667" h="362328">
                  <a:moveTo>
                    <a:pt x="0" y="0"/>
                  </a:moveTo>
                  <a:lnTo>
                    <a:pt x="0" y="38745"/>
                  </a:lnTo>
                  <a:lnTo>
                    <a:pt x="99630" y="38745"/>
                  </a:lnTo>
                  <a:lnTo>
                    <a:pt x="99630" y="362328"/>
                  </a:lnTo>
                  <a:lnTo>
                    <a:pt x="146890" y="362328"/>
                  </a:lnTo>
                  <a:lnTo>
                    <a:pt x="146890" y="38745"/>
                  </a:lnTo>
                  <a:lnTo>
                    <a:pt x="245668" y="38745"/>
                  </a:lnTo>
                  <a:lnTo>
                    <a:pt x="245668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C3B21DB-3827-6352-5AB1-DC62E7E50F19}"/>
                </a:ext>
              </a:extLst>
            </p:cNvPr>
            <p:cNvSpPr/>
            <p:nvPr/>
          </p:nvSpPr>
          <p:spPr>
            <a:xfrm>
              <a:off x="8212910" y="4402657"/>
              <a:ext cx="47260" cy="362328"/>
            </a:xfrm>
            <a:custGeom>
              <a:avLst/>
              <a:gdLst>
                <a:gd name="connsiteX0" fmla="*/ 0 w 47260"/>
                <a:gd name="connsiteY0" fmla="*/ 0 h 362328"/>
                <a:gd name="connsiteX1" fmla="*/ 47260 w 47260"/>
                <a:gd name="connsiteY1" fmla="*/ 0 h 362328"/>
                <a:gd name="connsiteX2" fmla="*/ 47260 w 47260"/>
                <a:gd name="connsiteY2" fmla="*/ 362328 h 362328"/>
                <a:gd name="connsiteX3" fmla="*/ 0 w 47260"/>
                <a:gd name="connsiteY3" fmla="*/ 362328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260" h="362328">
                  <a:moveTo>
                    <a:pt x="0" y="0"/>
                  </a:moveTo>
                  <a:lnTo>
                    <a:pt x="47260" y="0"/>
                  </a:lnTo>
                  <a:lnTo>
                    <a:pt x="47260" y="362328"/>
                  </a:lnTo>
                  <a:lnTo>
                    <a:pt x="0" y="362328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BD156D8-ECEB-CBA7-EAAF-D7AF568BE1A1}"/>
                </a:ext>
              </a:extLst>
            </p:cNvPr>
            <p:cNvSpPr/>
            <p:nvPr/>
          </p:nvSpPr>
          <p:spPr>
            <a:xfrm>
              <a:off x="7432478" y="4402657"/>
              <a:ext cx="272065" cy="365734"/>
            </a:xfrm>
            <a:custGeom>
              <a:avLst/>
              <a:gdLst>
                <a:gd name="connsiteX0" fmla="*/ 46834 w 272065"/>
                <a:gd name="connsiteY0" fmla="*/ 0 h 365734"/>
                <a:gd name="connsiteX1" fmla="*/ 46834 w 272065"/>
                <a:gd name="connsiteY1" fmla="*/ 229063 h 365734"/>
                <a:gd name="connsiteX2" fmla="*/ 70252 w 272065"/>
                <a:gd name="connsiteY2" fmla="*/ 300592 h 365734"/>
                <a:gd name="connsiteX3" fmla="*/ 135820 w 272065"/>
                <a:gd name="connsiteY3" fmla="*/ 324009 h 365734"/>
                <a:gd name="connsiteX4" fmla="*/ 201388 w 272065"/>
                <a:gd name="connsiteY4" fmla="*/ 300592 h 365734"/>
                <a:gd name="connsiteX5" fmla="*/ 224805 w 272065"/>
                <a:gd name="connsiteY5" fmla="*/ 229063 h 365734"/>
                <a:gd name="connsiteX6" fmla="*/ 224805 w 272065"/>
                <a:gd name="connsiteY6" fmla="*/ 0 h 365734"/>
                <a:gd name="connsiteX7" fmla="*/ 272066 w 272065"/>
                <a:gd name="connsiteY7" fmla="*/ 0 h 365734"/>
                <a:gd name="connsiteX8" fmla="*/ 272066 w 272065"/>
                <a:gd name="connsiteY8" fmla="*/ 228637 h 365734"/>
                <a:gd name="connsiteX9" fmla="*/ 254183 w 272065"/>
                <a:gd name="connsiteY9" fmla="*/ 304850 h 365734"/>
                <a:gd name="connsiteX10" fmla="*/ 205220 w 272065"/>
                <a:gd name="connsiteY10" fmla="*/ 350832 h 365734"/>
                <a:gd name="connsiteX11" fmla="*/ 135820 w 272065"/>
                <a:gd name="connsiteY11" fmla="*/ 365734 h 365734"/>
                <a:gd name="connsiteX12" fmla="*/ 66420 w 272065"/>
                <a:gd name="connsiteY12" fmla="*/ 350832 h 365734"/>
                <a:gd name="connsiteX13" fmla="*/ 17882 w 272065"/>
                <a:gd name="connsiteY13" fmla="*/ 304850 h 365734"/>
                <a:gd name="connsiteX14" fmla="*/ 0 w 272065"/>
                <a:gd name="connsiteY14" fmla="*/ 228637 h 365734"/>
                <a:gd name="connsiteX15" fmla="*/ 0 w 272065"/>
                <a:gd name="connsiteY15" fmla="*/ 0 h 365734"/>
                <a:gd name="connsiteX16" fmla="*/ 46834 w 272065"/>
                <a:gd name="connsiteY16" fmla="*/ 0 h 365734"/>
                <a:gd name="connsiteX17" fmla="*/ 46834 w 272065"/>
                <a:gd name="connsiteY17" fmla="*/ 0 h 36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2065" h="365734">
                  <a:moveTo>
                    <a:pt x="46834" y="0"/>
                  </a:moveTo>
                  <a:lnTo>
                    <a:pt x="46834" y="229063"/>
                  </a:lnTo>
                  <a:cubicBezTo>
                    <a:pt x="46834" y="261421"/>
                    <a:pt x="54924" y="285264"/>
                    <a:pt x="70252" y="300592"/>
                  </a:cubicBezTo>
                  <a:cubicBezTo>
                    <a:pt x="86005" y="316345"/>
                    <a:pt x="107719" y="324009"/>
                    <a:pt x="135820" y="324009"/>
                  </a:cubicBezTo>
                  <a:cubicBezTo>
                    <a:pt x="163921" y="324009"/>
                    <a:pt x="185209" y="316345"/>
                    <a:pt x="201388" y="300592"/>
                  </a:cubicBezTo>
                  <a:cubicBezTo>
                    <a:pt x="217141" y="284838"/>
                    <a:pt x="224805" y="260995"/>
                    <a:pt x="224805" y="229063"/>
                  </a:cubicBezTo>
                  <a:lnTo>
                    <a:pt x="224805" y="0"/>
                  </a:lnTo>
                  <a:lnTo>
                    <a:pt x="272066" y="0"/>
                  </a:lnTo>
                  <a:lnTo>
                    <a:pt x="272066" y="228637"/>
                  </a:lnTo>
                  <a:cubicBezTo>
                    <a:pt x="272066" y="258867"/>
                    <a:pt x="266105" y="284413"/>
                    <a:pt x="254183" y="304850"/>
                  </a:cubicBezTo>
                  <a:cubicBezTo>
                    <a:pt x="241836" y="325286"/>
                    <a:pt x="225657" y="340614"/>
                    <a:pt x="205220" y="350832"/>
                  </a:cubicBezTo>
                  <a:cubicBezTo>
                    <a:pt x="184783" y="361051"/>
                    <a:pt x="161366" y="365734"/>
                    <a:pt x="135820" y="365734"/>
                  </a:cubicBezTo>
                  <a:cubicBezTo>
                    <a:pt x="110274" y="365734"/>
                    <a:pt x="87282" y="361051"/>
                    <a:pt x="66420" y="350832"/>
                  </a:cubicBezTo>
                  <a:cubicBezTo>
                    <a:pt x="45983" y="340614"/>
                    <a:pt x="29804" y="325286"/>
                    <a:pt x="17882" y="304850"/>
                  </a:cubicBezTo>
                  <a:cubicBezTo>
                    <a:pt x="5961" y="284413"/>
                    <a:pt x="0" y="258867"/>
                    <a:pt x="0" y="228637"/>
                  </a:cubicBezTo>
                  <a:lnTo>
                    <a:pt x="0" y="0"/>
                  </a:lnTo>
                  <a:lnTo>
                    <a:pt x="46834" y="0"/>
                  </a:lnTo>
                  <a:lnTo>
                    <a:pt x="46834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569BCDA-7075-7139-3D41-F44C7E2AF85D}"/>
                </a:ext>
              </a:extLst>
            </p:cNvPr>
            <p:cNvSpPr/>
            <p:nvPr/>
          </p:nvSpPr>
          <p:spPr>
            <a:xfrm>
              <a:off x="7136995" y="4398399"/>
              <a:ext cx="245667" cy="369595"/>
            </a:xfrm>
            <a:custGeom>
              <a:avLst/>
              <a:gdLst>
                <a:gd name="connsiteX0" fmla="*/ 61311 w 245667"/>
                <a:gd name="connsiteY0" fmla="*/ 357645 h 369595"/>
                <a:gd name="connsiteX1" fmla="*/ 16605 w 245667"/>
                <a:gd name="connsiteY1" fmla="*/ 322306 h 369595"/>
                <a:gd name="connsiteX2" fmla="*/ 0 w 245667"/>
                <a:gd name="connsiteY2" fmla="*/ 269937 h 369595"/>
                <a:gd name="connsiteX3" fmla="*/ 50241 w 245667"/>
                <a:gd name="connsiteY3" fmla="*/ 269937 h 369595"/>
                <a:gd name="connsiteX4" fmla="*/ 71103 w 245667"/>
                <a:gd name="connsiteY4" fmla="*/ 312513 h 369595"/>
                <a:gd name="connsiteX5" fmla="*/ 124750 w 245667"/>
                <a:gd name="connsiteY5" fmla="*/ 329970 h 369595"/>
                <a:gd name="connsiteX6" fmla="*/ 177971 w 245667"/>
                <a:gd name="connsiteY6" fmla="*/ 312939 h 369595"/>
                <a:gd name="connsiteX7" fmla="*/ 197556 w 245667"/>
                <a:gd name="connsiteY7" fmla="*/ 269511 h 369595"/>
                <a:gd name="connsiteX8" fmla="*/ 186061 w 245667"/>
                <a:gd name="connsiteY8" fmla="*/ 235875 h 369595"/>
                <a:gd name="connsiteX9" fmla="*/ 157534 w 245667"/>
                <a:gd name="connsiteY9" fmla="*/ 216290 h 369595"/>
                <a:gd name="connsiteX10" fmla="*/ 111125 w 245667"/>
                <a:gd name="connsiteY10" fmla="*/ 201814 h 369595"/>
                <a:gd name="connsiteX11" fmla="*/ 53647 w 245667"/>
                <a:gd name="connsiteY11" fmla="*/ 183080 h 369595"/>
                <a:gd name="connsiteX12" fmla="*/ 17031 w 245667"/>
                <a:gd name="connsiteY12" fmla="*/ 153702 h 369595"/>
                <a:gd name="connsiteX13" fmla="*/ 1703 w 245667"/>
                <a:gd name="connsiteY13" fmla="*/ 100055 h 369595"/>
                <a:gd name="connsiteX14" fmla="*/ 16605 w 245667"/>
                <a:gd name="connsiteY14" fmla="*/ 47686 h 369595"/>
                <a:gd name="connsiteX15" fmla="*/ 59182 w 245667"/>
                <a:gd name="connsiteY15" fmla="*/ 12347 h 369595"/>
                <a:gd name="connsiteX16" fmla="*/ 121770 w 245667"/>
                <a:gd name="connsiteY16" fmla="*/ 0 h 369595"/>
                <a:gd name="connsiteX17" fmla="*/ 205220 w 245667"/>
                <a:gd name="connsiteY17" fmla="*/ 25546 h 369595"/>
                <a:gd name="connsiteX18" fmla="*/ 241836 w 245667"/>
                <a:gd name="connsiteY18" fmla="*/ 92817 h 369595"/>
                <a:gd name="connsiteX19" fmla="*/ 189892 w 245667"/>
                <a:gd name="connsiteY19" fmla="*/ 92817 h 369595"/>
                <a:gd name="connsiteX20" fmla="*/ 168178 w 245667"/>
                <a:gd name="connsiteY20" fmla="*/ 56201 h 369595"/>
                <a:gd name="connsiteX21" fmla="*/ 117512 w 245667"/>
                <a:gd name="connsiteY21" fmla="*/ 40022 h 369595"/>
                <a:gd name="connsiteX22" fmla="*/ 68974 w 245667"/>
                <a:gd name="connsiteY22" fmla="*/ 55350 h 369595"/>
                <a:gd name="connsiteX23" fmla="*/ 50241 w 245667"/>
                <a:gd name="connsiteY23" fmla="*/ 97927 h 369595"/>
                <a:gd name="connsiteX24" fmla="*/ 61311 w 245667"/>
                <a:gd name="connsiteY24" fmla="*/ 130285 h 369595"/>
                <a:gd name="connsiteX25" fmla="*/ 88985 w 245667"/>
                <a:gd name="connsiteY25" fmla="*/ 149444 h 369595"/>
                <a:gd name="connsiteX26" fmla="*/ 134968 w 245667"/>
                <a:gd name="connsiteY26" fmla="*/ 164346 h 369595"/>
                <a:gd name="connsiteX27" fmla="*/ 192447 w 245667"/>
                <a:gd name="connsiteY27" fmla="*/ 183932 h 369595"/>
                <a:gd name="connsiteX28" fmla="*/ 229915 w 245667"/>
                <a:gd name="connsiteY28" fmla="*/ 213310 h 369595"/>
                <a:gd name="connsiteX29" fmla="*/ 245668 w 245667"/>
                <a:gd name="connsiteY29" fmla="*/ 267382 h 369595"/>
                <a:gd name="connsiteX30" fmla="*/ 231618 w 245667"/>
                <a:gd name="connsiteY30" fmla="*/ 317197 h 369595"/>
                <a:gd name="connsiteX31" fmla="*/ 189892 w 245667"/>
                <a:gd name="connsiteY31" fmla="*/ 355090 h 369595"/>
                <a:gd name="connsiteX32" fmla="*/ 124750 w 245667"/>
                <a:gd name="connsiteY32" fmla="*/ 369566 h 369595"/>
                <a:gd name="connsiteX33" fmla="*/ 61311 w 245667"/>
                <a:gd name="connsiteY33" fmla="*/ 357645 h 369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45667" h="369595">
                  <a:moveTo>
                    <a:pt x="61311" y="357645"/>
                  </a:moveTo>
                  <a:cubicBezTo>
                    <a:pt x="42577" y="349129"/>
                    <a:pt x="27675" y="337634"/>
                    <a:pt x="16605" y="322306"/>
                  </a:cubicBezTo>
                  <a:cubicBezTo>
                    <a:pt x="5961" y="307404"/>
                    <a:pt x="426" y="289948"/>
                    <a:pt x="0" y="269937"/>
                  </a:cubicBezTo>
                  <a:lnTo>
                    <a:pt x="50241" y="269937"/>
                  </a:lnTo>
                  <a:cubicBezTo>
                    <a:pt x="51944" y="286967"/>
                    <a:pt x="58756" y="301443"/>
                    <a:pt x="71103" y="312513"/>
                  </a:cubicBezTo>
                  <a:cubicBezTo>
                    <a:pt x="83450" y="323583"/>
                    <a:pt x="101333" y="329970"/>
                    <a:pt x="124750" y="329970"/>
                  </a:cubicBezTo>
                  <a:cubicBezTo>
                    <a:pt x="148167" y="329970"/>
                    <a:pt x="165198" y="324435"/>
                    <a:pt x="177971" y="312939"/>
                  </a:cubicBezTo>
                  <a:cubicBezTo>
                    <a:pt x="190744" y="301869"/>
                    <a:pt x="197556" y="287393"/>
                    <a:pt x="197556" y="269511"/>
                  </a:cubicBezTo>
                  <a:cubicBezTo>
                    <a:pt x="197556" y="255461"/>
                    <a:pt x="193724" y="244391"/>
                    <a:pt x="186061" y="235875"/>
                  </a:cubicBezTo>
                  <a:cubicBezTo>
                    <a:pt x="178397" y="227360"/>
                    <a:pt x="169030" y="220548"/>
                    <a:pt x="157534" y="216290"/>
                  </a:cubicBezTo>
                  <a:cubicBezTo>
                    <a:pt x="146038" y="211607"/>
                    <a:pt x="130711" y="206923"/>
                    <a:pt x="111125" y="201814"/>
                  </a:cubicBezTo>
                  <a:cubicBezTo>
                    <a:pt x="87282" y="195427"/>
                    <a:pt x="68123" y="189467"/>
                    <a:pt x="53647" y="183080"/>
                  </a:cubicBezTo>
                  <a:cubicBezTo>
                    <a:pt x="39171" y="176694"/>
                    <a:pt x="26823" y="166901"/>
                    <a:pt x="17031" y="153702"/>
                  </a:cubicBezTo>
                  <a:cubicBezTo>
                    <a:pt x="6812" y="140503"/>
                    <a:pt x="1703" y="122195"/>
                    <a:pt x="1703" y="100055"/>
                  </a:cubicBezTo>
                  <a:cubicBezTo>
                    <a:pt x="1703" y="80470"/>
                    <a:pt x="6387" y="63014"/>
                    <a:pt x="16605" y="47686"/>
                  </a:cubicBezTo>
                  <a:cubicBezTo>
                    <a:pt x="26823" y="32358"/>
                    <a:pt x="40874" y="20437"/>
                    <a:pt x="59182" y="12347"/>
                  </a:cubicBezTo>
                  <a:cubicBezTo>
                    <a:pt x="77064" y="3832"/>
                    <a:pt x="97927" y="0"/>
                    <a:pt x="121770" y="0"/>
                  </a:cubicBezTo>
                  <a:cubicBezTo>
                    <a:pt x="155831" y="0"/>
                    <a:pt x="183506" y="8515"/>
                    <a:pt x="205220" y="25546"/>
                  </a:cubicBezTo>
                  <a:cubicBezTo>
                    <a:pt x="226934" y="42577"/>
                    <a:pt x="238856" y="65142"/>
                    <a:pt x="241836" y="92817"/>
                  </a:cubicBezTo>
                  <a:lnTo>
                    <a:pt x="189892" y="92817"/>
                  </a:lnTo>
                  <a:cubicBezTo>
                    <a:pt x="188189" y="78767"/>
                    <a:pt x="180951" y="66846"/>
                    <a:pt x="168178" y="56201"/>
                  </a:cubicBezTo>
                  <a:cubicBezTo>
                    <a:pt x="155405" y="45983"/>
                    <a:pt x="138374" y="40022"/>
                    <a:pt x="117512" y="40022"/>
                  </a:cubicBezTo>
                  <a:cubicBezTo>
                    <a:pt x="96649" y="40022"/>
                    <a:pt x="81747" y="45131"/>
                    <a:pt x="68974" y="55350"/>
                  </a:cubicBezTo>
                  <a:cubicBezTo>
                    <a:pt x="56201" y="65568"/>
                    <a:pt x="50241" y="79619"/>
                    <a:pt x="50241" y="97927"/>
                  </a:cubicBezTo>
                  <a:cubicBezTo>
                    <a:pt x="50241" y="111125"/>
                    <a:pt x="54073" y="121770"/>
                    <a:pt x="61311" y="130285"/>
                  </a:cubicBezTo>
                  <a:cubicBezTo>
                    <a:pt x="68549" y="138800"/>
                    <a:pt x="77915" y="144761"/>
                    <a:pt x="88985" y="149444"/>
                  </a:cubicBezTo>
                  <a:cubicBezTo>
                    <a:pt x="99630" y="153702"/>
                    <a:pt x="115383" y="158811"/>
                    <a:pt x="134968" y="164346"/>
                  </a:cubicBezTo>
                  <a:cubicBezTo>
                    <a:pt x="158811" y="171159"/>
                    <a:pt x="177971" y="177545"/>
                    <a:pt x="192447" y="183932"/>
                  </a:cubicBezTo>
                  <a:cubicBezTo>
                    <a:pt x="206923" y="190318"/>
                    <a:pt x="219696" y="200111"/>
                    <a:pt x="229915" y="213310"/>
                  </a:cubicBezTo>
                  <a:cubicBezTo>
                    <a:pt x="240133" y="226508"/>
                    <a:pt x="245668" y="244816"/>
                    <a:pt x="245668" y="267382"/>
                  </a:cubicBezTo>
                  <a:cubicBezTo>
                    <a:pt x="245668" y="285264"/>
                    <a:pt x="240985" y="301869"/>
                    <a:pt x="231618" y="317197"/>
                  </a:cubicBezTo>
                  <a:cubicBezTo>
                    <a:pt x="222251" y="332950"/>
                    <a:pt x="208200" y="345297"/>
                    <a:pt x="189892" y="355090"/>
                  </a:cubicBezTo>
                  <a:cubicBezTo>
                    <a:pt x="171584" y="364883"/>
                    <a:pt x="149870" y="369566"/>
                    <a:pt x="124750" y="369566"/>
                  </a:cubicBezTo>
                  <a:cubicBezTo>
                    <a:pt x="100055" y="369992"/>
                    <a:pt x="79619" y="365734"/>
                    <a:pt x="61311" y="357645"/>
                  </a:cubicBezTo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35518AD-9A48-A42F-CDE3-40682FD86C84}"/>
                </a:ext>
              </a:extLst>
            </p:cNvPr>
            <p:cNvSpPr/>
            <p:nvPr/>
          </p:nvSpPr>
          <p:spPr>
            <a:xfrm>
              <a:off x="8318074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8 w 284838"/>
                <a:gd name="connsiteY8" fmla="*/ 362754 h 362753"/>
                <a:gd name="connsiteX9" fmla="*/ 284838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8" y="362754"/>
                  </a:lnTo>
                  <a:lnTo>
                    <a:pt x="284838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A2E0F36-59B7-1E4A-8EA3-BCB10D348700}"/>
                </a:ext>
              </a:extLst>
            </p:cNvPr>
            <p:cNvSpPr/>
            <p:nvPr/>
          </p:nvSpPr>
          <p:spPr>
            <a:xfrm>
              <a:off x="6372742" y="4398399"/>
              <a:ext cx="363605" cy="369140"/>
            </a:xfrm>
            <a:custGeom>
              <a:avLst/>
              <a:gdLst>
                <a:gd name="connsiteX0" fmla="*/ 89837 w 363605"/>
                <a:gd name="connsiteY0" fmla="*/ 346575 h 369140"/>
                <a:gd name="connsiteX1" fmla="*/ 24269 w 363605"/>
                <a:gd name="connsiteY1" fmla="*/ 280581 h 369140"/>
                <a:gd name="connsiteX2" fmla="*/ 0 w 363605"/>
                <a:gd name="connsiteY2" fmla="*/ 185209 h 369140"/>
                <a:gd name="connsiteX3" fmla="*/ 24269 w 363605"/>
                <a:gd name="connsiteY3" fmla="*/ 89837 h 369140"/>
                <a:gd name="connsiteX4" fmla="*/ 89837 w 363605"/>
                <a:gd name="connsiteY4" fmla="*/ 23843 h 369140"/>
                <a:gd name="connsiteX5" fmla="*/ 181803 w 363605"/>
                <a:gd name="connsiteY5" fmla="*/ 0 h 369140"/>
                <a:gd name="connsiteX6" fmla="*/ 274194 w 363605"/>
                <a:gd name="connsiteY6" fmla="*/ 23843 h 369140"/>
                <a:gd name="connsiteX7" fmla="*/ 339763 w 363605"/>
                <a:gd name="connsiteY7" fmla="*/ 89411 h 369140"/>
                <a:gd name="connsiteX8" fmla="*/ 363606 w 363605"/>
                <a:gd name="connsiteY8" fmla="*/ 184783 h 369140"/>
                <a:gd name="connsiteX9" fmla="*/ 339763 w 363605"/>
                <a:gd name="connsiteY9" fmla="*/ 280155 h 369140"/>
                <a:gd name="connsiteX10" fmla="*/ 274194 w 363605"/>
                <a:gd name="connsiteY10" fmla="*/ 345723 h 369140"/>
                <a:gd name="connsiteX11" fmla="*/ 181803 w 363605"/>
                <a:gd name="connsiteY11" fmla="*/ 369140 h 369140"/>
                <a:gd name="connsiteX12" fmla="*/ 89837 w 363605"/>
                <a:gd name="connsiteY12" fmla="*/ 346575 h 369140"/>
                <a:gd name="connsiteX13" fmla="*/ 249926 w 363605"/>
                <a:gd name="connsiteY13" fmla="*/ 311236 h 369140"/>
                <a:gd name="connsiteX14" fmla="*/ 297612 w 363605"/>
                <a:gd name="connsiteY14" fmla="*/ 260995 h 369140"/>
                <a:gd name="connsiteX15" fmla="*/ 315068 w 363605"/>
                <a:gd name="connsiteY15" fmla="*/ 185209 h 369140"/>
                <a:gd name="connsiteX16" fmla="*/ 297612 w 363605"/>
                <a:gd name="connsiteY16" fmla="*/ 108997 h 369140"/>
                <a:gd name="connsiteX17" fmla="*/ 249926 w 363605"/>
                <a:gd name="connsiteY17" fmla="*/ 58756 h 369140"/>
                <a:gd name="connsiteX18" fmla="*/ 181377 w 363605"/>
                <a:gd name="connsiteY18" fmla="*/ 40874 h 369140"/>
                <a:gd name="connsiteX19" fmla="*/ 112828 w 363605"/>
                <a:gd name="connsiteY19" fmla="*/ 58756 h 369140"/>
                <a:gd name="connsiteX20" fmla="*/ 65142 w 363605"/>
                <a:gd name="connsiteY20" fmla="*/ 108997 h 369140"/>
                <a:gd name="connsiteX21" fmla="*/ 47686 w 363605"/>
                <a:gd name="connsiteY21" fmla="*/ 185209 h 369140"/>
                <a:gd name="connsiteX22" fmla="*/ 65142 w 363605"/>
                <a:gd name="connsiteY22" fmla="*/ 260995 h 369140"/>
                <a:gd name="connsiteX23" fmla="*/ 112828 w 363605"/>
                <a:gd name="connsiteY23" fmla="*/ 311236 h 369140"/>
                <a:gd name="connsiteX24" fmla="*/ 180951 w 363605"/>
                <a:gd name="connsiteY24" fmla="*/ 329118 h 369140"/>
                <a:gd name="connsiteX25" fmla="*/ 249926 w 363605"/>
                <a:gd name="connsiteY25" fmla="*/ 311236 h 369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3605" h="369140">
                  <a:moveTo>
                    <a:pt x="89837" y="346575"/>
                  </a:moveTo>
                  <a:cubicBezTo>
                    <a:pt x="62162" y="330821"/>
                    <a:pt x="40022" y="308681"/>
                    <a:pt x="24269" y="280581"/>
                  </a:cubicBezTo>
                  <a:cubicBezTo>
                    <a:pt x="8090" y="252480"/>
                    <a:pt x="0" y="220548"/>
                    <a:pt x="0" y="185209"/>
                  </a:cubicBezTo>
                  <a:cubicBezTo>
                    <a:pt x="0" y="149870"/>
                    <a:pt x="8090" y="117938"/>
                    <a:pt x="24269" y="89837"/>
                  </a:cubicBezTo>
                  <a:cubicBezTo>
                    <a:pt x="40448" y="61736"/>
                    <a:pt x="62162" y="39596"/>
                    <a:pt x="89837" y="23843"/>
                  </a:cubicBezTo>
                  <a:cubicBezTo>
                    <a:pt x="117512" y="8090"/>
                    <a:pt x="148167" y="0"/>
                    <a:pt x="181803" y="0"/>
                  </a:cubicBezTo>
                  <a:cubicBezTo>
                    <a:pt x="215438" y="0"/>
                    <a:pt x="246519" y="8090"/>
                    <a:pt x="274194" y="23843"/>
                  </a:cubicBezTo>
                  <a:cubicBezTo>
                    <a:pt x="301869" y="39596"/>
                    <a:pt x="323583" y="61311"/>
                    <a:pt x="339763" y="89411"/>
                  </a:cubicBezTo>
                  <a:cubicBezTo>
                    <a:pt x="355942" y="117512"/>
                    <a:pt x="363606" y="149444"/>
                    <a:pt x="363606" y="184783"/>
                  </a:cubicBezTo>
                  <a:cubicBezTo>
                    <a:pt x="363606" y="220122"/>
                    <a:pt x="355516" y="252054"/>
                    <a:pt x="339763" y="280155"/>
                  </a:cubicBezTo>
                  <a:cubicBezTo>
                    <a:pt x="324009" y="308256"/>
                    <a:pt x="301869" y="330396"/>
                    <a:pt x="274194" y="345723"/>
                  </a:cubicBezTo>
                  <a:cubicBezTo>
                    <a:pt x="246519" y="361477"/>
                    <a:pt x="215864" y="369140"/>
                    <a:pt x="181803" y="369140"/>
                  </a:cubicBezTo>
                  <a:cubicBezTo>
                    <a:pt x="147741" y="369140"/>
                    <a:pt x="117086" y="362328"/>
                    <a:pt x="89837" y="346575"/>
                  </a:cubicBezTo>
                  <a:moveTo>
                    <a:pt x="249926" y="311236"/>
                  </a:moveTo>
                  <a:cubicBezTo>
                    <a:pt x="269937" y="299315"/>
                    <a:pt x="286116" y="282710"/>
                    <a:pt x="297612" y="260995"/>
                  </a:cubicBezTo>
                  <a:cubicBezTo>
                    <a:pt x="309107" y="239281"/>
                    <a:pt x="315068" y="213735"/>
                    <a:pt x="315068" y="185209"/>
                  </a:cubicBezTo>
                  <a:cubicBezTo>
                    <a:pt x="315068" y="156682"/>
                    <a:pt x="309107" y="130711"/>
                    <a:pt x="297612" y="108997"/>
                  </a:cubicBezTo>
                  <a:cubicBezTo>
                    <a:pt x="286116" y="87282"/>
                    <a:pt x="270362" y="70677"/>
                    <a:pt x="249926" y="58756"/>
                  </a:cubicBezTo>
                  <a:cubicBezTo>
                    <a:pt x="229489" y="46834"/>
                    <a:pt x="206923" y="40874"/>
                    <a:pt x="181377" y="40874"/>
                  </a:cubicBezTo>
                  <a:cubicBezTo>
                    <a:pt x="155831" y="40874"/>
                    <a:pt x="132839" y="46834"/>
                    <a:pt x="112828" y="58756"/>
                  </a:cubicBezTo>
                  <a:cubicBezTo>
                    <a:pt x="92817" y="70677"/>
                    <a:pt x="77064" y="87282"/>
                    <a:pt x="65142" y="108997"/>
                  </a:cubicBezTo>
                  <a:cubicBezTo>
                    <a:pt x="53647" y="130711"/>
                    <a:pt x="47686" y="155831"/>
                    <a:pt x="47686" y="185209"/>
                  </a:cubicBezTo>
                  <a:cubicBezTo>
                    <a:pt x="47686" y="214587"/>
                    <a:pt x="53647" y="238856"/>
                    <a:pt x="65142" y="260995"/>
                  </a:cubicBezTo>
                  <a:cubicBezTo>
                    <a:pt x="76638" y="282710"/>
                    <a:pt x="92392" y="299740"/>
                    <a:pt x="112828" y="311236"/>
                  </a:cubicBezTo>
                  <a:cubicBezTo>
                    <a:pt x="132839" y="323158"/>
                    <a:pt x="155831" y="329118"/>
                    <a:pt x="180951" y="329118"/>
                  </a:cubicBezTo>
                  <a:cubicBezTo>
                    <a:pt x="206072" y="329118"/>
                    <a:pt x="229489" y="323158"/>
                    <a:pt x="249926" y="311236"/>
                  </a:cubicBezTo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6968B5B-5EE6-4993-4EF0-11AFDF26631C}"/>
                </a:ext>
              </a:extLst>
            </p:cNvPr>
            <p:cNvSpPr/>
            <p:nvPr/>
          </p:nvSpPr>
          <p:spPr>
            <a:xfrm>
              <a:off x="5978481" y="4397973"/>
              <a:ext cx="348703" cy="369991"/>
            </a:xfrm>
            <a:custGeom>
              <a:avLst/>
              <a:gdLst>
                <a:gd name="connsiteX0" fmla="*/ 24269 w 348703"/>
                <a:gd name="connsiteY0" fmla="*/ 90263 h 369991"/>
                <a:gd name="connsiteX1" fmla="*/ 89411 w 348703"/>
                <a:gd name="connsiteY1" fmla="*/ 23843 h 369991"/>
                <a:gd name="connsiteX2" fmla="*/ 181377 w 348703"/>
                <a:gd name="connsiteY2" fmla="*/ 0 h 369991"/>
                <a:gd name="connsiteX3" fmla="*/ 284413 w 348703"/>
                <a:gd name="connsiteY3" fmla="*/ 28526 h 369991"/>
                <a:gd name="connsiteX4" fmla="*/ 348704 w 348703"/>
                <a:gd name="connsiteY4" fmla="*/ 109422 h 369991"/>
                <a:gd name="connsiteX5" fmla="*/ 292077 w 348703"/>
                <a:gd name="connsiteY5" fmla="*/ 109422 h 369991"/>
                <a:gd name="connsiteX6" fmla="*/ 248648 w 348703"/>
                <a:gd name="connsiteY6" fmla="*/ 59182 h 369991"/>
                <a:gd name="connsiteX7" fmla="*/ 180951 w 348703"/>
                <a:gd name="connsiteY7" fmla="*/ 41299 h 369991"/>
                <a:gd name="connsiteX8" fmla="*/ 112828 w 348703"/>
                <a:gd name="connsiteY8" fmla="*/ 59182 h 369991"/>
                <a:gd name="connsiteX9" fmla="*/ 65568 w 348703"/>
                <a:gd name="connsiteY9" fmla="*/ 109422 h 369991"/>
                <a:gd name="connsiteX10" fmla="*/ 48538 w 348703"/>
                <a:gd name="connsiteY10" fmla="*/ 185635 h 369991"/>
                <a:gd name="connsiteX11" fmla="*/ 65568 w 348703"/>
                <a:gd name="connsiteY11" fmla="*/ 260995 h 369991"/>
                <a:gd name="connsiteX12" fmla="*/ 112828 w 348703"/>
                <a:gd name="connsiteY12" fmla="*/ 311236 h 369991"/>
                <a:gd name="connsiteX13" fmla="*/ 180951 w 348703"/>
                <a:gd name="connsiteY13" fmla="*/ 329118 h 369991"/>
                <a:gd name="connsiteX14" fmla="*/ 248648 w 348703"/>
                <a:gd name="connsiteY14" fmla="*/ 311662 h 369991"/>
                <a:gd name="connsiteX15" fmla="*/ 292077 w 348703"/>
                <a:gd name="connsiteY15" fmla="*/ 261421 h 369991"/>
                <a:gd name="connsiteX16" fmla="*/ 348704 w 348703"/>
                <a:gd name="connsiteY16" fmla="*/ 261421 h 369991"/>
                <a:gd name="connsiteX17" fmla="*/ 284413 w 348703"/>
                <a:gd name="connsiteY17" fmla="*/ 341891 h 369991"/>
                <a:gd name="connsiteX18" fmla="*/ 181377 w 348703"/>
                <a:gd name="connsiteY18" fmla="*/ 369992 h 369991"/>
                <a:gd name="connsiteX19" fmla="*/ 89411 w 348703"/>
                <a:gd name="connsiteY19" fmla="*/ 346575 h 369991"/>
                <a:gd name="connsiteX20" fmla="*/ 23843 w 348703"/>
                <a:gd name="connsiteY20" fmla="*/ 281007 h 369991"/>
                <a:gd name="connsiteX21" fmla="*/ 0 w 348703"/>
                <a:gd name="connsiteY21" fmla="*/ 186060 h 369991"/>
                <a:gd name="connsiteX22" fmla="*/ 24269 w 348703"/>
                <a:gd name="connsiteY22" fmla="*/ 90263 h 36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8703" h="369991">
                  <a:moveTo>
                    <a:pt x="24269" y="90263"/>
                  </a:moveTo>
                  <a:cubicBezTo>
                    <a:pt x="40448" y="62162"/>
                    <a:pt x="61736" y="40022"/>
                    <a:pt x="89411" y="23843"/>
                  </a:cubicBezTo>
                  <a:cubicBezTo>
                    <a:pt x="117086" y="7664"/>
                    <a:pt x="147316" y="0"/>
                    <a:pt x="181377" y="0"/>
                  </a:cubicBezTo>
                  <a:cubicBezTo>
                    <a:pt x="220973" y="0"/>
                    <a:pt x="255461" y="9367"/>
                    <a:pt x="284413" y="28526"/>
                  </a:cubicBezTo>
                  <a:cubicBezTo>
                    <a:pt x="313791" y="47686"/>
                    <a:pt x="335079" y="74935"/>
                    <a:pt x="348704" y="109422"/>
                  </a:cubicBezTo>
                  <a:lnTo>
                    <a:pt x="292077" y="109422"/>
                  </a:lnTo>
                  <a:cubicBezTo>
                    <a:pt x="281858" y="87708"/>
                    <a:pt x="267808" y="70677"/>
                    <a:pt x="248648" y="59182"/>
                  </a:cubicBezTo>
                  <a:cubicBezTo>
                    <a:pt x="229915" y="47260"/>
                    <a:pt x="207349" y="41299"/>
                    <a:pt x="180951" y="41299"/>
                  </a:cubicBezTo>
                  <a:cubicBezTo>
                    <a:pt x="154554" y="41299"/>
                    <a:pt x="132839" y="47260"/>
                    <a:pt x="112828" y="59182"/>
                  </a:cubicBezTo>
                  <a:cubicBezTo>
                    <a:pt x="92817" y="71103"/>
                    <a:pt x="77064" y="87708"/>
                    <a:pt x="65568" y="109422"/>
                  </a:cubicBezTo>
                  <a:cubicBezTo>
                    <a:pt x="54072" y="131136"/>
                    <a:pt x="48538" y="156257"/>
                    <a:pt x="48538" y="185635"/>
                  </a:cubicBezTo>
                  <a:cubicBezTo>
                    <a:pt x="48538" y="215013"/>
                    <a:pt x="54072" y="239281"/>
                    <a:pt x="65568" y="260995"/>
                  </a:cubicBezTo>
                  <a:cubicBezTo>
                    <a:pt x="77064" y="282710"/>
                    <a:pt x="92817" y="299315"/>
                    <a:pt x="112828" y="311236"/>
                  </a:cubicBezTo>
                  <a:cubicBezTo>
                    <a:pt x="132839" y="323158"/>
                    <a:pt x="155405" y="329118"/>
                    <a:pt x="180951" y="329118"/>
                  </a:cubicBezTo>
                  <a:cubicBezTo>
                    <a:pt x="206497" y="329118"/>
                    <a:pt x="229915" y="323158"/>
                    <a:pt x="248648" y="311662"/>
                  </a:cubicBezTo>
                  <a:cubicBezTo>
                    <a:pt x="267382" y="300166"/>
                    <a:pt x="281858" y="283561"/>
                    <a:pt x="292077" y="261421"/>
                  </a:cubicBezTo>
                  <a:lnTo>
                    <a:pt x="348704" y="261421"/>
                  </a:lnTo>
                  <a:cubicBezTo>
                    <a:pt x="335079" y="296334"/>
                    <a:pt x="313791" y="323158"/>
                    <a:pt x="284413" y="341891"/>
                  </a:cubicBezTo>
                  <a:cubicBezTo>
                    <a:pt x="255035" y="360625"/>
                    <a:pt x="220548" y="369992"/>
                    <a:pt x="181377" y="369992"/>
                  </a:cubicBezTo>
                  <a:cubicBezTo>
                    <a:pt x="147741" y="369992"/>
                    <a:pt x="117086" y="361902"/>
                    <a:pt x="89411" y="346575"/>
                  </a:cubicBezTo>
                  <a:cubicBezTo>
                    <a:pt x="62162" y="330821"/>
                    <a:pt x="40022" y="309107"/>
                    <a:pt x="23843" y="281007"/>
                  </a:cubicBezTo>
                  <a:cubicBezTo>
                    <a:pt x="7664" y="252906"/>
                    <a:pt x="0" y="221399"/>
                    <a:pt x="0" y="186060"/>
                  </a:cubicBezTo>
                  <a:cubicBezTo>
                    <a:pt x="0" y="150722"/>
                    <a:pt x="8090" y="118363"/>
                    <a:pt x="24269" y="90263"/>
                  </a:cubicBezTo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54101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:a16="http://schemas.microsoft.com/office/drawing/2014/main" xmlns:v="urn:schemas-microsoft-com:vml" xmlns:asvg="http://schemas.microsoft.com/office/drawing/2016/SVG/main"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9926289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FECC886-FDE2-441F-8262-A1870051BB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 dirty="0">
              <a:latin typeface="Poppins" panose="00000500000000000000" pitchFamily="2" charset="0"/>
              <a:ea typeface="+mj-ea"/>
              <a:cs typeface="Poppins" panose="00000500000000000000" pitchFamily="2" charset="0"/>
              <a:sym typeface="Segoe UI Semibold" panose="020B07020402040202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50863" y="432000"/>
            <a:ext cx="11088000" cy="738664"/>
          </a:xfrm>
        </p:spPr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Add action title</a:t>
            </a:r>
            <a:br>
              <a:rPr lang="en-US"/>
            </a:br>
            <a:r>
              <a:rPr lang="en-US"/>
              <a:t>max. two lin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551384" y="1700212"/>
            <a:ext cx="11088000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</a:lstStyle>
          <a:p>
            <a:pPr lvl="0"/>
            <a:r>
              <a:rPr lang="en-US" dirty="0"/>
              <a:t>Add content</a:t>
            </a:r>
          </a:p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0" y="1369776"/>
            <a:ext cx="3063326" cy="22998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noFill/>
          </a:ln>
        </p:spPr>
        <p:txBody>
          <a:bodyPr vert="horz" wrap="none" lIns="550800" tIns="7200" rIns="108000" bIns="7200" rtlCol="0" anchor="ctr">
            <a:spAutoFit/>
          </a:bodyPr>
          <a:lstStyle>
            <a:lvl1pPr>
              <a:tabLst/>
              <a:defRPr lang="en-US" sz="1400" cap="all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.g. „Key findings – task 1“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1B512A3-75D9-45F1-BE15-2B8681314F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ource/Note: 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73BEF41B-0416-413A-9B98-2D6A9553C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01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_Findings_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D4611F3-FB1B-46E5-A156-8D9745608D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3919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D4611F3-FB1B-46E5-A156-8D9745608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ihandform: Form 10">
            <a:extLst>
              <a:ext uri="{FF2B5EF4-FFF2-40B4-BE49-F238E27FC236}">
                <a16:creationId xmlns:a16="http://schemas.microsoft.com/office/drawing/2014/main" id="{4C649B6E-A136-D32A-216A-7851003E2F98}"/>
              </a:ext>
            </a:extLst>
          </p:cNvPr>
          <p:cNvSpPr/>
          <p:nvPr userDrawn="1"/>
        </p:nvSpPr>
        <p:spPr>
          <a:xfrm>
            <a:off x="-2" y="0"/>
            <a:ext cx="3215683" cy="6652575"/>
          </a:xfrm>
          <a:custGeom>
            <a:avLst/>
            <a:gdLst>
              <a:gd name="connsiteX0" fmla="*/ 0 w 3215683"/>
              <a:gd name="connsiteY0" fmla="*/ 0 h 6652575"/>
              <a:gd name="connsiteX1" fmla="*/ 3213534 w 3215683"/>
              <a:gd name="connsiteY1" fmla="*/ 0 h 6652575"/>
              <a:gd name="connsiteX2" fmla="*/ 3215683 w 3215683"/>
              <a:gd name="connsiteY2" fmla="*/ 21321 h 6652575"/>
              <a:gd name="connsiteX3" fmla="*/ 3215683 w 3215683"/>
              <a:gd name="connsiteY3" fmla="*/ 6396304 h 6652575"/>
              <a:gd name="connsiteX4" fmla="*/ 2959412 w 3215683"/>
              <a:gd name="connsiteY4" fmla="*/ 6652575 h 6652575"/>
              <a:gd name="connsiteX5" fmla="*/ 2274 w 3215683"/>
              <a:gd name="connsiteY5" fmla="*/ 6652575 h 6652575"/>
              <a:gd name="connsiteX6" fmla="*/ 0 w 3215683"/>
              <a:gd name="connsiteY6" fmla="*/ 6652116 h 6652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15683" h="6652575">
                <a:moveTo>
                  <a:pt x="0" y="0"/>
                </a:moveTo>
                <a:lnTo>
                  <a:pt x="3213534" y="0"/>
                </a:lnTo>
                <a:lnTo>
                  <a:pt x="3215683" y="21321"/>
                </a:lnTo>
                <a:lnTo>
                  <a:pt x="3215683" y="6396304"/>
                </a:lnTo>
                <a:cubicBezTo>
                  <a:pt x="3215683" y="6537839"/>
                  <a:pt x="3100947" y="6652575"/>
                  <a:pt x="2959412" y="6652575"/>
                </a:cubicBezTo>
                <a:lnTo>
                  <a:pt x="2274" y="6652575"/>
                </a:lnTo>
                <a:lnTo>
                  <a:pt x="0" y="6652116"/>
                </a:lnTo>
                <a:close/>
              </a:path>
            </a:pathLst>
          </a:custGeom>
          <a:gradFill>
            <a:gsLst>
              <a:gs pos="30000">
                <a:schemeClr val="tx2">
                  <a:lumMod val="50000"/>
                </a:schemeClr>
              </a:gs>
              <a:gs pos="74000">
                <a:schemeClr val="tx2"/>
              </a:gs>
            </a:gsLst>
            <a:lin ang="18900000" scaled="1"/>
          </a:gradFill>
          <a:ln w="526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 baseline="-25000">
              <a:sym typeface="Segoe UI" panose="020B0502040204020203" pitchFamily="34" charset="0"/>
            </a:endParaRPr>
          </a:p>
        </p:txBody>
      </p:sp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0E043182-A704-4934-BA66-1DBA7271FB6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de-DE" sz="2200" b="1" i="0" baseline="0" dirty="0">
              <a:latin typeface="Poppins" panose="00000500000000000000" pitchFamily="2" charset="0"/>
              <a:ea typeface="+mj-ea"/>
              <a:cs typeface="Poppins" panose="00000500000000000000" pitchFamily="2" charset="0"/>
              <a:sym typeface="Segoe UI Semibold" panose="020B07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E69F76-92C6-4E63-9FC5-9176514D5D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2" y="1627211"/>
            <a:ext cx="2664818" cy="738000"/>
          </a:xfrm>
        </p:spPr>
        <p:txBody>
          <a:bodyPr vert="horz" lIns="0" tIns="0" rIns="21600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Key message goes in here!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0E7B7336-C92F-407A-BD1A-9A8ABA6789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71999" y="1700213"/>
            <a:ext cx="7966800" cy="46085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 sz="1200"/>
            </a:lvl3pPr>
            <a:lvl4pPr>
              <a:defRPr lang="en-US"/>
            </a:lvl4pPr>
            <a:lvl5pPr>
              <a:defRPr lang="en-US"/>
            </a:lvl5pPr>
          </a:lstStyle>
          <a:p>
            <a:pPr lvl="0"/>
            <a:r>
              <a:rPr lang="en-US" dirty="0"/>
              <a:t>Add content</a:t>
            </a:r>
          </a:p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F5D888BF-EB28-4919-8E49-BBE32A08A9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71999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Source/Note: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A4AD1A-A1D1-42D3-A065-31192BFDA5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4000" y="955675"/>
            <a:ext cx="2459997" cy="215900"/>
          </a:xfrm>
          <a:prstGeom prst="rect">
            <a:avLst/>
          </a:prstGeom>
        </p:spPr>
        <p:txBody>
          <a:bodyPr anchor="b"/>
          <a:lstStyle>
            <a:lvl1pPr>
              <a:defRPr cap="all"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noProof="0" dirty="0"/>
              <a:t>e.g. “Key findings“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935B261E-ED33-42CA-B862-E4851E7F4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5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_Findings_Highlight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D4611F3-FB1B-46E5-A156-8D9745608D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3098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D4611F3-FB1B-46E5-A156-8D9745608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ihandform: Form 10">
            <a:extLst>
              <a:ext uri="{FF2B5EF4-FFF2-40B4-BE49-F238E27FC236}">
                <a16:creationId xmlns:a16="http://schemas.microsoft.com/office/drawing/2014/main" id="{2828000D-4CFE-CC56-AEC8-91EF409FDDEB}"/>
              </a:ext>
            </a:extLst>
          </p:cNvPr>
          <p:cNvSpPr/>
          <p:nvPr userDrawn="1"/>
        </p:nvSpPr>
        <p:spPr>
          <a:xfrm>
            <a:off x="-2" y="0"/>
            <a:ext cx="3215683" cy="6652575"/>
          </a:xfrm>
          <a:custGeom>
            <a:avLst/>
            <a:gdLst>
              <a:gd name="connsiteX0" fmla="*/ 0 w 3215683"/>
              <a:gd name="connsiteY0" fmla="*/ 0 h 6652575"/>
              <a:gd name="connsiteX1" fmla="*/ 3213534 w 3215683"/>
              <a:gd name="connsiteY1" fmla="*/ 0 h 6652575"/>
              <a:gd name="connsiteX2" fmla="*/ 3215683 w 3215683"/>
              <a:gd name="connsiteY2" fmla="*/ 21321 h 6652575"/>
              <a:gd name="connsiteX3" fmla="*/ 3215683 w 3215683"/>
              <a:gd name="connsiteY3" fmla="*/ 6396304 h 6652575"/>
              <a:gd name="connsiteX4" fmla="*/ 2959412 w 3215683"/>
              <a:gd name="connsiteY4" fmla="*/ 6652575 h 6652575"/>
              <a:gd name="connsiteX5" fmla="*/ 2274 w 3215683"/>
              <a:gd name="connsiteY5" fmla="*/ 6652575 h 6652575"/>
              <a:gd name="connsiteX6" fmla="*/ 0 w 3215683"/>
              <a:gd name="connsiteY6" fmla="*/ 6652116 h 6652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15683" h="6652575">
                <a:moveTo>
                  <a:pt x="0" y="0"/>
                </a:moveTo>
                <a:lnTo>
                  <a:pt x="3213534" y="0"/>
                </a:lnTo>
                <a:lnTo>
                  <a:pt x="3215683" y="21321"/>
                </a:lnTo>
                <a:lnTo>
                  <a:pt x="3215683" y="6396304"/>
                </a:lnTo>
                <a:cubicBezTo>
                  <a:pt x="3215683" y="6537839"/>
                  <a:pt x="3100947" y="6652575"/>
                  <a:pt x="2959412" y="6652575"/>
                </a:cubicBezTo>
                <a:lnTo>
                  <a:pt x="2274" y="6652575"/>
                </a:lnTo>
                <a:lnTo>
                  <a:pt x="0" y="6652116"/>
                </a:lnTo>
                <a:close/>
              </a:path>
            </a:pathLst>
          </a:custGeom>
          <a:gradFill flip="none" rotWithShape="1">
            <a:gsLst>
              <a:gs pos="0">
                <a:srgbClr val="004754"/>
              </a:gs>
              <a:gs pos="100000">
                <a:srgbClr val="29BBCE"/>
              </a:gs>
              <a:gs pos="50000">
                <a:srgbClr val="0087A0"/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/>
          <a:p>
            <a:pPr lvl="0" indent="0" defTabSz="1083747">
              <a:spcBef>
                <a:spcPts val="1200"/>
              </a:spcBef>
              <a:buFont typeface="Arial" panose="020B0604020202020204" pitchFamily="34" charset="0"/>
              <a:buNone/>
            </a:pPr>
            <a:endParaRPr lang="en-US" sz="1400">
              <a:solidFill>
                <a:schemeClr val="bg1"/>
              </a:solidFill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0E043182-A704-4934-BA66-1DBA7271FB6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de-DE" sz="2200" b="1" i="0" baseline="0" dirty="0">
              <a:latin typeface="Poppins" panose="00000500000000000000" pitchFamily="2" charset="0"/>
              <a:ea typeface="+mj-ea"/>
              <a:cs typeface="Poppins" panose="00000500000000000000" pitchFamily="2" charset="0"/>
              <a:sym typeface="Segoe UI Semibold" panose="020B07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E69F76-92C6-4E63-9FC5-9176514D5D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2" y="1627211"/>
            <a:ext cx="2664818" cy="738000"/>
          </a:xfrm>
        </p:spPr>
        <p:txBody>
          <a:bodyPr vert="horz" lIns="0" tIns="0" rIns="216000" bIns="0" rtlCol="0" anchor="t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Key message goes in here!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0E7B7336-C92F-407A-BD1A-9A8ABA6789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71999" y="1700213"/>
            <a:ext cx="7966800" cy="46085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 marL="219456" indent="-219456">
              <a:defRPr lang="en-US" dirty="0"/>
            </a:lvl2pPr>
            <a:lvl3pPr marL="429768" indent="-219456"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content</a:t>
            </a:r>
          </a:p>
          <a:p>
            <a:pPr marL="216000" lvl="1" indent="-216000">
              <a:buClr>
                <a:schemeClr val="accent2"/>
              </a:buClr>
              <a:buFont typeface="FEV" panose="02000509000000000000" pitchFamily="49" charset="0"/>
            </a:pPr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F5D888BF-EB28-4919-8E49-BBE32A08A9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71999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Source/Note: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A4AD1A-A1D1-42D3-A065-31192BFDA5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4000" y="955675"/>
            <a:ext cx="2459997" cy="215900"/>
          </a:xfrm>
          <a:prstGeom prst="rect">
            <a:avLst/>
          </a:prstGeom>
        </p:spPr>
        <p:txBody>
          <a:bodyPr anchor="b"/>
          <a:lstStyle>
            <a:lvl1pPr>
              <a:defRPr cap="all"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noProof="0" dirty="0"/>
              <a:t>e.g. “Key findings“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935B261E-ED33-42CA-B862-E4851E7F4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710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s_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7AB38E-449C-4362-AC3F-A7867C0D69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5455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7AB38E-449C-4362-AC3F-A7867C0D6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ihandform: Form 10">
            <a:extLst>
              <a:ext uri="{FF2B5EF4-FFF2-40B4-BE49-F238E27FC236}">
                <a16:creationId xmlns:a16="http://schemas.microsoft.com/office/drawing/2014/main" id="{C50815D5-8AE5-6BDC-AB5B-68299202F8AC}"/>
              </a:ext>
            </a:extLst>
          </p:cNvPr>
          <p:cNvSpPr/>
          <p:nvPr userDrawn="1"/>
        </p:nvSpPr>
        <p:spPr>
          <a:xfrm>
            <a:off x="-2" y="0"/>
            <a:ext cx="3215683" cy="6652575"/>
          </a:xfrm>
          <a:custGeom>
            <a:avLst/>
            <a:gdLst>
              <a:gd name="connsiteX0" fmla="*/ 0 w 3215683"/>
              <a:gd name="connsiteY0" fmla="*/ 0 h 6652575"/>
              <a:gd name="connsiteX1" fmla="*/ 3213534 w 3215683"/>
              <a:gd name="connsiteY1" fmla="*/ 0 h 6652575"/>
              <a:gd name="connsiteX2" fmla="*/ 3215683 w 3215683"/>
              <a:gd name="connsiteY2" fmla="*/ 21321 h 6652575"/>
              <a:gd name="connsiteX3" fmla="*/ 3215683 w 3215683"/>
              <a:gd name="connsiteY3" fmla="*/ 6396304 h 6652575"/>
              <a:gd name="connsiteX4" fmla="*/ 2959412 w 3215683"/>
              <a:gd name="connsiteY4" fmla="*/ 6652575 h 6652575"/>
              <a:gd name="connsiteX5" fmla="*/ 2274 w 3215683"/>
              <a:gd name="connsiteY5" fmla="*/ 6652575 h 6652575"/>
              <a:gd name="connsiteX6" fmla="*/ 0 w 3215683"/>
              <a:gd name="connsiteY6" fmla="*/ 6652116 h 6652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15683" h="6652575">
                <a:moveTo>
                  <a:pt x="0" y="0"/>
                </a:moveTo>
                <a:lnTo>
                  <a:pt x="3213534" y="0"/>
                </a:lnTo>
                <a:lnTo>
                  <a:pt x="3215683" y="21321"/>
                </a:lnTo>
                <a:lnTo>
                  <a:pt x="3215683" y="6396304"/>
                </a:lnTo>
                <a:cubicBezTo>
                  <a:pt x="3215683" y="6537839"/>
                  <a:pt x="3100947" y="6652575"/>
                  <a:pt x="2959412" y="6652575"/>
                </a:cubicBezTo>
                <a:lnTo>
                  <a:pt x="2274" y="6652575"/>
                </a:lnTo>
                <a:lnTo>
                  <a:pt x="0" y="6652116"/>
                </a:lnTo>
                <a:close/>
              </a:path>
            </a:pathLst>
          </a:custGeom>
          <a:gradFill flip="none" rotWithShape="1">
            <a:gsLst>
              <a:gs pos="0">
                <a:schemeClr val="tx1"/>
              </a:gs>
              <a:gs pos="50000">
                <a:schemeClr val="accent2"/>
              </a:gs>
              <a:gs pos="100000">
                <a:schemeClr val="tx1">
                  <a:lumMod val="75000"/>
                  <a:lumOff val="25000"/>
                </a:schemeClr>
              </a:gs>
            </a:gsLst>
            <a:lin ang="19800000" scaled="0"/>
            <a:tileRect/>
          </a:gradFill>
          <a:ln w="6350">
            <a:noFill/>
          </a:ln>
        </p:spPr>
        <p:txBody>
          <a:bodyPr vert="horz" lIns="108109" tIns="108109" rIns="108109" bIns="108109" rtlCol="0" anchor="ctr">
            <a:noAutofit/>
          </a:bodyPr>
          <a:lstStyle/>
          <a:p>
            <a:pPr lvl="0" algn="ctr" defTabSz="1083747">
              <a:spcBef>
                <a:spcPts val="1200"/>
              </a:spcBef>
            </a:pPr>
            <a:endParaRPr lang="en-US" sz="1600"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42C0868C-DDB2-4E7A-92CD-8BF9BC553F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de-DE" sz="2800" b="1" i="0" baseline="0" dirty="0">
              <a:latin typeface="Poppins" panose="00000500000000000000" pitchFamily="2" charset="0"/>
              <a:ea typeface="+mj-ea"/>
              <a:cs typeface="Poppins" panose="00000500000000000000" pitchFamily="2" charset="0"/>
              <a:sym typeface="Segoe UI Semibold" panose="020B07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9F32A0-D26D-4F19-B473-2E0AA456A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3" y="3429000"/>
            <a:ext cx="2664297" cy="738000"/>
          </a:xfrm>
        </p:spPr>
        <p:txBody>
          <a:bodyPr vert="horz" lIns="0" tIns="0" rIns="216000" bIns="0" rtlCol="0" anchor="ctr">
            <a:noAutofit/>
          </a:bodyPr>
          <a:lstStyle>
            <a:lvl1pPr rtl="0">
              <a:defRPr lang="en-US" sz="2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In fact…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E31C852-C718-43F9-B097-C7BC7454E7F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71999" y="1339200"/>
            <a:ext cx="7966800" cy="49672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content</a:t>
            </a:r>
          </a:p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278FB9B1-5E16-4519-935D-A488CBA42C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71999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Source/Note: 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10368DA4-D9CC-418C-A519-0EE8705BB6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4000" y="955675"/>
            <a:ext cx="2459997" cy="215900"/>
          </a:xfrm>
          <a:prstGeom prst="rect">
            <a:avLst/>
          </a:prstGeom>
        </p:spPr>
        <p:txBody>
          <a:bodyPr anchor="b"/>
          <a:lstStyle>
            <a:lvl1pPr>
              <a:defRPr cap="all"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noProof="0" dirty="0"/>
              <a:t>e.g. “Key findings“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61A42E50-EC58-4B11-8B4A-D507D394393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293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ashRepor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DD80122C-18CC-E16E-6D9B-3DFD9CB204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6134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DD80122C-18CC-E16E-6D9B-3DFD9CB20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54">
            <a:extLst>
              <a:ext uri="{FF2B5EF4-FFF2-40B4-BE49-F238E27FC236}">
                <a16:creationId xmlns:a16="http://schemas.microsoft.com/office/drawing/2014/main" id="{50BE14CD-0C9A-7840-7CA0-A25FAE3CAE41}"/>
              </a:ext>
            </a:extLst>
          </p:cNvPr>
          <p:cNvSpPr/>
          <p:nvPr userDrawn="1"/>
        </p:nvSpPr>
        <p:spPr>
          <a:xfrm>
            <a:off x="8972456" y="3897789"/>
            <a:ext cx="2661997" cy="2417763"/>
          </a:xfrm>
          <a:prstGeom prst="roundRect">
            <a:avLst>
              <a:gd name="adj" fmla="val 2101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6" name="Rectangle: Rounded Corners 54">
            <a:extLst>
              <a:ext uri="{FF2B5EF4-FFF2-40B4-BE49-F238E27FC236}">
                <a16:creationId xmlns:a16="http://schemas.microsoft.com/office/drawing/2014/main" id="{8F298E1D-3A77-53DE-EA66-386B1A2D1789}"/>
              </a:ext>
            </a:extLst>
          </p:cNvPr>
          <p:cNvSpPr/>
          <p:nvPr userDrawn="1"/>
        </p:nvSpPr>
        <p:spPr>
          <a:xfrm>
            <a:off x="6165355" y="3897789"/>
            <a:ext cx="2661997" cy="2417763"/>
          </a:xfrm>
          <a:prstGeom prst="roundRect">
            <a:avLst>
              <a:gd name="adj" fmla="val 2101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7" name="Rectangle: Rounded Corners 54">
            <a:extLst>
              <a:ext uri="{FF2B5EF4-FFF2-40B4-BE49-F238E27FC236}">
                <a16:creationId xmlns:a16="http://schemas.microsoft.com/office/drawing/2014/main" id="{F12470F2-6D21-3DEA-F08E-D23DF73166E4}"/>
              </a:ext>
            </a:extLst>
          </p:cNvPr>
          <p:cNvSpPr/>
          <p:nvPr userDrawn="1"/>
        </p:nvSpPr>
        <p:spPr>
          <a:xfrm>
            <a:off x="8972456" y="1334659"/>
            <a:ext cx="2661997" cy="2417763"/>
          </a:xfrm>
          <a:prstGeom prst="roundRect">
            <a:avLst>
              <a:gd name="adj" fmla="val 2101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8" name="Rectangle: Rounded Corners 54">
            <a:extLst>
              <a:ext uri="{FF2B5EF4-FFF2-40B4-BE49-F238E27FC236}">
                <a16:creationId xmlns:a16="http://schemas.microsoft.com/office/drawing/2014/main" id="{65E9448A-69BA-C58B-B3AE-EF57D8784F26}"/>
              </a:ext>
            </a:extLst>
          </p:cNvPr>
          <p:cNvSpPr/>
          <p:nvPr userDrawn="1"/>
        </p:nvSpPr>
        <p:spPr>
          <a:xfrm>
            <a:off x="6165355" y="1334659"/>
            <a:ext cx="2661997" cy="2417763"/>
          </a:xfrm>
          <a:prstGeom prst="roundRect">
            <a:avLst>
              <a:gd name="adj" fmla="val 2101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pic>
        <p:nvPicPr>
          <p:cNvPr id="9" name="Graphic 400">
            <a:extLst>
              <a:ext uri="{FF2B5EF4-FFF2-40B4-BE49-F238E27FC236}">
                <a16:creationId xmlns:a16="http://schemas.microsoft.com/office/drawing/2014/main" id="{245E26A5-201E-B554-9280-1BCCFE6AB85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91979" y="4006498"/>
            <a:ext cx="404786" cy="404786"/>
          </a:xfrm>
          <a:prstGeom prst="rect">
            <a:avLst/>
          </a:prstGeom>
        </p:spPr>
      </p:pic>
      <p:sp>
        <p:nvSpPr>
          <p:cNvPr id="10" name="Rectangle: Rounded Corners 54">
            <a:extLst>
              <a:ext uri="{FF2B5EF4-FFF2-40B4-BE49-F238E27FC236}">
                <a16:creationId xmlns:a16="http://schemas.microsoft.com/office/drawing/2014/main" id="{44C4B3A1-046E-2C20-6C77-371569F146CA}"/>
              </a:ext>
            </a:extLst>
          </p:cNvPr>
          <p:cNvSpPr/>
          <p:nvPr userDrawn="1"/>
        </p:nvSpPr>
        <p:spPr>
          <a:xfrm>
            <a:off x="3358061" y="1340681"/>
            <a:ext cx="2661997" cy="4974065"/>
          </a:xfrm>
          <a:prstGeom prst="roundRect">
            <a:avLst>
              <a:gd name="adj" fmla="val 1909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11" name="Rectangle: Rounded Corners 54">
            <a:extLst>
              <a:ext uri="{FF2B5EF4-FFF2-40B4-BE49-F238E27FC236}">
                <a16:creationId xmlns:a16="http://schemas.microsoft.com/office/drawing/2014/main" id="{CA628E49-A25D-9601-D4FC-989709658749}"/>
              </a:ext>
            </a:extLst>
          </p:cNvPr>
          <p:cNvSpPr/>
          <p:nvPr userDrawn="1"/>
        </p:nvSpPr>
        <p:spPr>
          <a:xfrm>
            <a:off x="550863" y="1340681"/>
            <a:ext cx="2661997" cy="4974065"/>
          </a:xfrm>
          <a:prstGeom prst="roundRect">
            <a:avLst>
              <a:gd name="adj" fmla="val 1909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5FC5789-900A-6532-3A57-09CD28A4EE6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520" y="1391861"/>
            <a:ext cx="404786" cy="40478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04E043F-84C1-DE73-9299-8BC2075B3CD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7911" y="1391861"/>
            <a:ext cx="404786" cy="404786"/>
          </a:xfrm>
          <a:prstGeom prst="rect">
            <a:avLst/>
          </a:prstGeom>
        </p:spPr>
      </p:pic>
      <p:pic>
        <p:nvPicPr>
          <p:cNvPr id="14" name="!">
            <a:extLst>
              <a:ext uri="{FF2B5EF4-FFF2-40B4-BE49-F238E27FC236}">
                <a16:creationId xmlns:a16="http://schemas.microsoft.com/office/drawing/2014/main" id="{3ADD715F-9257-02C1-EA94-76993F6B6E7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1979" y="1391861"/>
            <a:ext cx="404786" cy="40478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97B0644-450D-48E0-6E03-EFEF83BC6F9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9887" y="1391861"/>
            <a:ext cx="405471" cy="40478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3705169-DC2F-4F27-9410-15C4B578EE2D}"/>
              </a:ext>
            </a:extLst>
          </p:cNvPr>
          <p:cNvSpPr txBox="1"/>
          <p:nvPr userDrawn="1"/>
        </p:nvSpPr>
        <p:spPr>
          <a:xfrm>
            <a:off x="1077014" y="1424977"/>
            <a:ext cx="175551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Key resul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A3B73B7-B7F8-50AB-6134-6F5EAA6F2DC7}"/>
              </a:ext>
            </a:extLst>
          </p:cNvPr>
          <p:cNvSpPr txBox="1"/>
          <p:nvPr userDrawn="1"/>
        </p:nvSpPr>
        <p:spPr>
          <a:xfrm>
            <a:off x="3884275" y="1424977"/>
            <a:ext cx="212467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Next activities</a:t>
            </a:r>
            <a:endParaRPr lang="en-US" sz="1400" i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F1EEC85-4DD0-945A-354E-5AAA9EF589D4}"/>
              </a:ext>
            </a:extLst>
          </p:cNvPr>
          <p:cNvSpPr txBox="1"/>
          <p:nvPr userDrawn="1"/>
        </p:nvSpPr>
        <p:spPr>
          <a:xfrm>
            <a:off x="6691473" y="1424977"/>
            <a:ext cx="212467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Risks / problem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46D5F10-EA43-638A-169B-FEBA5BF6F077}"/>
              </a:ext>
            </a:extLst>
          </p:cNvPr>
          <p:cNvSpPr txBox="1"/>
          <p:nvPr userDrawn="1"/>
        </p:nvSpPr>
        <p:spPr>
          <a:xfrm>
            <a:off x="9498766" y="1424977"/>
            <a:ext cx="212467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For your inform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137CB18-1148-2E25-7AB3-EDB181B425A5}"/>
              </a:ext>
            </a:extLst>
          </p:cNvPr>
          <p:cNvSpPr txBox="1"/>
          <p:nvPr userDrawn="1"/>
        </p:nvSpPr>
        <p:spPr>
          <a:xfrm>
            <a:off x="6691473" y="3916504"/>
            <a:ext cx="212467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Support / </a:t>
            </a:r>
            <a:b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</a:b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decision need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4FEF590-A2E4-346E-2358-AF0BC39E8393}"/>
              </a:ext>
            </a:extLst>
          </p:cNvPr>
          <p:cNvCxnSpPr>
            <a:cxnSpLocks/>
          </p:cNvCxnSpPr>
          <p:nvPr userDrawn="1"/>
        </p:nvCxnSpPr>
        <p:spPr>
          <a:xfrm>
            <a:off x="550863" y="1876176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14D0190-8DC7-0ED0-B0DA-D427589D7DAF}"/>
              </a:ext>
            </a:extLst>
          </p:cNvPr>
          <p:cNvCxnSpPr>
            <a:cxnSpLocks/>
          </p:cNvCxnSpPr>
          <p:nvPr userDrawn="1"/>
        </p:nvCxnSpPr>
        <p:spPr>
          <a:xfrm>
            <a:off x="3358061" y="1876176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6AFD498-CD9F-94C3-90A2-CCD4128649D8}"/>
              </a:ext>
            </a:extLst>
          </p:cNvPr>
          <p:cNvCxnSpPr>
            <a:cxnSpLocks/>
          </p:cNvCxnSpPr>
          <p:nvPr userDrawn="1"/>
        </p:nvCxnSpPr>
        <p:spPr>
          <a:xfrm>
            <a:off x="6165355" y="1876176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B07A9B4-F93A-0973-F6F7-0AAA19958406}"/>
              </a:ext>
            </a:extLst>
          </p:cNvPr>
          <p:cNvCxnSpPr>
            <a:cxnSpLocks/>
          </p:cNvCxnSpPr>
          <p:nvPr userDrawn="1"/>
        </p:nvCxnSpPr>
        <p:spPr>
          <a:xfrm>
            <a:off x="8972456" y="1876176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4A9B91C-2DEA-937C-9E08-35EA9400F2DD}"/>
              </a:ext>
            </a:extLst>
          </p:cNvPr>
          <p:cNvCxnSpPr>
            <a:cxnSpLocks/>
          </p:cNvCxnSpPr>
          <p:nvPr userDrawn="1"/>
        </p:nvCxnSpPr>
        <p:spPr>
          <a:xfrm>
            <a:off x="6165355" y="4483341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95808662-5296-3F01-35C3-64409EEBA0AF}"/>
              </a:ext>
            </a:extLst>
          </p:cNvPr>
          <p:cNvSpPr txBox="1"/>
          <p:nvPr userDrawn="1"/>
        </p:nvSpPr>
        <p:spPr>
          <a:xfrm>
            <a:off x="9512697" y="4037831"/>
            <a:ext cx="198324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Status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E0810E9-B415-EC17-1978-B80C10D9B60B}"/>
              </a:ext>
            </a:extLst>
          </p:cNvPr>
          <p:cNvCxnSpPr>
            <a:cxnSpLocks/>
          </p:cNvCxnSpPr>
          <p:nvPr userDrawn="1"/>
        </p:nvCxnSpPr>
        <p:spPr>
          <a:xfrm>
            <a:off x="8972456" y="4483341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494">
            <a:extLst>
              <a:ext uri="{FF2B5EF4-FFF2-40B4-BE49-F238E27FC236}">
                <a16:creationId xmlns:a16="http://schemas.microsoft.com/office/drawing/2014/main" id="{CBD94CDC-C4C2-4041-366C-79D6D8D9C41E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107911" y="4006498"/>
            <a:ext cx="404786" cy="404786"/>
          </a:xfrm>
          <a:prstGeom prst="rect">
            <a:avLst/>
          </a:prstGeom>
        </p:spPr>
      </p:pic>
      <p:sp>
        <p:nvSpPr>
          <p:cNvPr id="32" name="Titel 4">
            <a:extLst>
              <a:ext uri="{FF2B5EF4-FFF2-40B4-BE49-F238E27FC236}">
                <a16:creationId xmlns:a16="http://schemas.microsoft.com/office/drawing/2014/main" id="{4571BED6-890C-C7B8-535E-DE71790FE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32000"/>
            <a:ext cx="11088542" cy="738000"/>
          </a:xfrm>
        </p:spPr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Add action title</a:t>
            </a:r>
            <a:br>
              <a:rPr lang="en-US"/>
            </a:br>
            <a:r>
              <a:rPr lang="en-US"/>
              <a:t>max. two lin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4943EF4-359B-E6C4-DB99-181100696C10}"/>
              </a:ext>
            </a:extLst>
          </p:cNvPr>
          <p:cNvGrpSpPr/>
          <p:nvPr userDrawn="1"/>
        </p:nvGrpSpPr>
        <p:grpSpPr>
          <a:xfrm>
            <a:off x="9825499" y="4907403"/>
            <a:ext cx="712749" cy="978517"/>
            <a:chOff x="9825499" y="4907403"/>
            <a:chExt cx="712749" cy="978517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2B3D66C-93E9-842F-9275-7AD0E43FF53B}"/>
                </a:ext>
              </a:extLst>
            </p:cNvPr>
            <p:cNvSpPr/>
            <p:nvPr/>
          </p:nvSpPr>
          <p:spPr>
            <a:xfrm>
              <a:off x="10073967" y="4907403"/>
              <a:ext cx="464281" cy="978517"/>
            </a:xfrm>
            <a:custGeom>
              <a:avLst/>
              <a:gdLst>
                <a:gd name="connsiteX0" fmla="*/ 232141 w 464281"/>
                <a:gd name="connsiteY0" fmla="*/ 978517 h 978517"/>
                <a:gd name="connsiteX1" fmla="*/ 0 w 464281"/>
                <a:gd name="connsiteY1" fmla="*/ 746377 h 978517"/>
                <a:gd name="connsiteX2" fmla="*/ 0 w 464281"/>
                <a:gd name="connsiteY2" fmla="*/ 232141 h 978517"/>
                <a:gd name="connsiteX3" fmla="*/ 232141 w 464281"/>
                <a:gd name="connsiteY3" fmla="*/ 0 h 978517"/>
                <a:gd name="connsiteX4" fmla="*/ 464281 w 464281"/>
                <a:gd name="connsiteY4" fmla="*/ 232141 h 978517"/>
                <a:gd name="connsiteX5" fmla="*/ 464281 w 464281"/>
                <a:gd name="connsiteY5" fmla="*/ 746377 h 978517"/>
                <a:gd name="connsiteX6" fmla="*/ 232141 w 464281"/>
                <a:gd name="connsiteY6" fmla="*/ 978517 h 978517"/>
                <a:gd name="connsiteX7" fmla="*/ 232141 w 464281"/>
                <a:gd name="connsiteY7" fmla="*/ 19100 h 978517"/>
                <a:gd name="connsiteX8" fmla="*/ 18366 w 464281"/>
                <a:gd name="connsiteY8" fmla="*/ 232875 h 978517"/>
                <a:gd name="connsiteX9" fmla="*/ 18366 w 464281"/>
                <a:gd name="connsiteY9" fmla="*/ 747111 h 978517"/>
                <a:gd name="connsiteX10" fmla="*/ 232141 w 464281"/>
                <a:gd name="connsiteY10" fmla="*/ 960886 h 978517"/>
                <a:gd name="connsiteX11" fmla="*/ 445916 w 464281"/>
                <a:gd name="connsiteY11" fmla="*/ 747111 h 978517"/>
                <a:gd name="connsiteX12" fmla="*/ 445916 w 464281"/>
                <a:gd name="connsiteY12" fmla="*/ 232875 h 978517"/>
                <a:gd name="connsiteX13" fmla="*/ 232141 w 464281"/>
                <a:gd name="connsiteY13" fmla="*/ 19100 h 978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64281" h="978517">
                  <a:moveTo>
                    <a:pt x="232141" y="978517"/>
                  </a:moveTo>
                  <a:cubicBezTo>
                    <a:pt x="104316" y="978517"/>
                    <a:pt x="0" y="874201"/>
                    <a:pt x="0" y="746377"/>
                  </a:cubicBezTo>
                  <a:lnTo>
                    <a:pt x="0" y="232141"/>
                  </a:lnTo>
                  <a:cubicBezTo>
                    <a:pt x="0" y="104316"/>
                    <a:pt x="104316" y="0"/>
                    <a:pt x="232141" y="0"/>
                  </a:cubicBezTo>
                  <a:cubicBezTo>
                    <a:pt x="359965" y="0"/>
                    <a:pt x="464281" y="104316"/>
                    <a:pt x="464281" y="232141"/>
                  </a:cubicBezTo>
                  <a:lnTo>
                    <a:pt x="464281" y="746377"/>
                  </a:lnTo>
                  <a:cubicBezTo>
                    <a:pt x="464281" y="874935"/>
                    <a:pt x="359965" y="978517"/>
                    <a:pt x="232141" y="978517"/>
                  </a:cubicBezTo>
                  <a:close/>
                  <a:moveTo>
                    <a:pt x="232141" y="19100"/>
                  </a:moveTo>
                  <a:cubicBezTo>
                    <a:pt x="114601" y="19100"/>
                    <a:pt x="18366" y="114601"/>
                    <a:pt x="18366" y="232875"/>
                  </a:cubicBezTo>
                  <a:lnTo>
                    <a:pt x="18366" y="747111"/>
                  </a:lnTo>
                  <a:cubicBezTo>
                    <a:pt x="18366" y="864651"/>
                    <a:pt x="113866" y="960886"/>
                    <a:pt x="232141" y="960886"/>
                  </a:cubicBezTo>
                  <a:cubicBezTo>
                    <a:pt x="350415" y="960886"/>
                    <a:pt x="445916" y="864651"/>
                    <a:pt x="445916" y="747111"/>
                  </a:cubicBezTo>
                  <a:lnTo>
                    <a:pt x="445916" y="232875"/>
                  </a:lnTo>
                  <a:cubicBezTo>
                    <a:pt x="445916" y="114601"/>
                    <a:pt x="349680" y="19100"/>
                    <a:pt x="232141" y="19100"/>
                  </a:cubicBezTo>
                  <a:close/>
                </a:path>
              </a:pathLst>
            </a:custGeom>
            <a:solidFill>
              <a:srgbClr val="3C3C3C"/>
            </a:solidFill>
            <a:ln w="7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72851EB-A163-EA09-0BBA-D4FAB6DEB053}"/>
                </a:ext>
              </a:extLst>
            </p:cNvPr>
            <p:cNvSpPr/>
            <p:nvPr/>
          </p:nvSpPr>
          <p:spPr>
            <a:xfrm>
              <a:off x="10126125" y="4961030"/>
              <a:ext cx="359965" cy="859508"/>
            </a:xfrm>
            <a:custGeom>
              <a:avLst/>
              <a:gdLst>
                <a:gd name="connsiteX0" fmla="*/ 179983 w 359965"/>
                <a:gd name="connsiteY0" fmla="*/ 859508 h 859508"/>
                <a:gd name="connsiteX1" fmla="*/ 0 w 359965"/>
                <a:gd name="connsiteY1" fmla="*/ 655283 h 859508"/>
                <a:gd name="connsiteX2" fmla="*/ 0 w 359965"/>
                <a:gd name="connsiteY2" fmla="*/ 204225 h 859508"/>
                <a:gd name="connsiteX3" fmla="*/ 179983 w 359965"/>
                <a:gd name="connsiteY3" fmla="*/ 0 h 859508"/>
                <a:gd name="connsiteX4" fmla="*/ 359965 w 359965"/>
                <a:gd name="connsiteY4" fmla="*/ 204225 h 859508"/>
                <a:gd name="connsiteX5" fmla="*/ 359965 w 359965"/>
                <a:gd name="connsiteY5" fmla="*/ 656018 h 859508"/>
                <a:gd name="connsiteX6" fmla="*/ 179983 w 359965"/>
                <a:gd name="connsiteY6" fmla="*/ 859508 h 859508"/>
                <a:gd name="connsiteX7" fmla="*/ 179983 w 359965"/>
                <a:gd name="connsiteY7" fmla="*/ 16162 h 859508"/>
                <a:gd name="connsiteX8" fmla="*/ 13958 w 359965"/>
                <a:gd name="connsiteY8" fmla="*/ 204225 h 859508"/>
                <a:gd name="connsiteX9" fmla="*/ 13958 w 359965"/>
                <a:gd name="connsiteY9" fmla="*/ 656018 h 859508"/>
                <a:gd name="connsiteX10" fmla="*/ 179983 w 359965"/>
                <a:gd name="connsiteY10" fmla="*/ 844081 h 859508"/>
                <a:gd name="connsiteX11" fmla="*/ 346007 w 359965"/>
                <a:gd name="connsiteY11" fmla="*/ 656018 h 859508"/>
                <a:gd name="connsiteX12" fmla="*/ 346007 w 359965"/>
                <a:gd name="connsiteY12" fmla="*/ 204225 h 859508"/>
                <a:gd name="connsiteX13" fmla="*/ 179983 w 359965"/>
                <a:gd name="connsiteY13" fmla="*/ 16162 h 859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9965" h="859508">
                  <a:moveTo>
                    <a:pt x="179983" y="859508"/>
                  </a:moveTo>
                  <a:cubicBezTo>
                    <a:pt x="80808" y="859508"/>
                    <a:pt x="0" y="767681"/>
                    <a:pt x="0" y="655283"/>
                  </a:cubicBezTo>
                  <a:lnTo>
                    <a:pt x="0" y="204225"/>
                  </a:lnTo>
                  <a:cubicBezTo>
                    <a:pt x="0" y="91828"/>
                    <a:pt x="80808" y="0"/>
                    <a:pt x="179983" y="0"/>
                  </a:cubicBezTo>
                  <a:cubicBezTo>
                    <a:pt x="279157" y="0"/>
                    <a:pt x="359965" y="91828"/>
                    <a:pt x="359965" y="204225"/>
                  </a:cubicBezTo>
                  <a:lnTo>
                    <a:pt x="359965" y="656018"/>
                  </a:lnTo>
                  <a:cubicBezTo>
                    <a:pt x="359965" y="768415"/>
                    <a:pt x="279157" y="859508"/>
                    <a:pt x="179983" y="859508"/>
                  </a:cubicBezTo>
                  <a:close/>
                  <a:moveTo>
                    <a:pt x="179983" y="16162"/>
                  </a:moveTo>
                  <a:cubicBezTo>
                    <a:pt x="88889" y="16162"/>
                    <a:pt x="13958" y="100643"/>
                    <a:pt x="13958" y="204225"/>
                  </a:cubicBezTo>
                  <a:lnTo>
                    <a:pt x="13958" y="656018"/>
                  </a:lnTo>
                  <a:cubicBezTo>
                    <a:pt x="13958" y="759600"/>
                    <a:pt x="88155" y="844081"/>
                    <a:pt x="179983" y="844081"/>
                  </a:cubicBezTo>
                  <a:cubicBezTo>
                    <a:pt x="271810" y="844081"/>
                    <a:pt x="346007" y="759600"/>
                    <a:pt x="346007" y="656018"/>
                  </a:cubicBezTo>
                  <a:lnTo>
                    <a:pt x="346007" y="204225"/>
                  </a:lnTo>
                  <a:cubicBezTo>
                    <a:pt x="345273" y="100643"/>
                    <a:pt x="271076" y="16162"/>
                    <a:pt x="179983" y="16162"/>
                  </a:cubicBezTo>
                  <a:close/>
                </a:path>
              </a:pathLst>
            </a:custGeom>
            <a:solidFill>
              <a:srgbClr val="3C3C3C"/>
            </a:solidFill>
            <a:ln w="7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pic>
          <p:nvPicPr>
            <p:cNvPr id="46" name="Grafik 19">
              <a:extLst>
                <a:ext uri="{FF2B5EF4-FFF2-40B4-BE49-F238E27FC236}">
                  <a16:creationId xmlns:a16="http://schemas.microsoft.com/office/drawing/2014/main" id="{5E7C992A-14E3-F8A8-8F4C-6CE1813528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5400000">
              <a:off x="9791803" y="5538948"/>
              <a:ext cx="261792" cy="194400"/>
            </a:xfrm>
            <a:prstGeom prst="rect">
              <a:avLst/>
            </a:prstGeom>
          </p:spPr>
        </p:pic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9BD3A54-F8EC-1D87-7A07-04640AE2641D}"/>
                </a:ext>
              </a:extLst>
            </p:cNvPr>
            <p:cNvSpPr/>
            <p:nvPr/>
          </p:nvSpPr>
          <p:spPr>
            <a:xfrm>
              <a:off x="10207108" y="5541752"/>
              <a:ext cx="198000" cy="198000"/>
            </a:xfrm>
            <a:custGeom>
              <a:avLst/>
              <a:gdLst>
                <a:gd name="connsiteX0" fmla="*/ 198348 w 198348"/>
                <a:gd name="connsiteY0" fmla="*/ 99174 h 198348"/>
                <a:gd name="connsiteX1" fmla="*/ 99174 w 198348"/>
                <a:gd name="connsiteY1" fmla="*/ 198348 h 198348"/>
                <a:gd name="connsiteX2" fmla="*/ 0 w 198348"/>
                <a:gd name="connsiteY2" fmla="*/ 99174 h 198348"/>
                <a:gd name="connsiteX3" fmla="*/ 99174 w 198348"/>
                <a:gd name="connsiteY3" fmla="*/ 0 h 198348"/>
                <a:gd name="connsiteX4" fmla="*/ 198348 w 198348"/>
                <a:gd name="connsiteY4" fmla="*/ 99174 h 198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348" h="198348">
                  <a:moveTo>
                    <a:pt x="198348" y="99174"/>
                  </a:moveTo>
                  <a:cubicBezTo>
                    <a:pt x="198348" y="153946"/>
                    <a:pt x="153946" y="198348"/>
                    <a:pt x="99174" y="198348"/>
                  </a:cubicBezTo>
                  <a:cubicBezTo>
                    <a:pt x="44402" y="198348"/>
                    <a:pt x="0" y="153946"/>
                    <a:pt x="0" y="99174"/>
                  </a:cubicBezTo>
                  <a:cubicBezTo>
                    <a:pt x="0" y="44402"/>
                    <a:pt x="44402" y="0"/>
                    <a:pt x="99174" y="0"/>
                  </a:cubicBezTo>
                  <a:cubicBezTo>
                    <a:pt x="153946" y="0"/>
                    <a:pt x="198348" y="44402"/>
                    <a:pt x="198348" y="99174"/>
                  </a:cubicBezTo>
                  <a:close/>
                </a:path>
              </a:pathLst>
            </a:custGeom>
            <a:solidFill>
              <a:schemeClr val="accent3"/>
            </a:solidFill>
            <a:ln w="190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2E15D98-B4E8-B108-689F-A16A13391EE4}"/>
                </a:ext>
              </a:extLst>
            </p:cNvPr>
            <p:cNvSpPr/>
            <p:nvPr/>
          </p:nvSpPr>
          <p:spPr>
            <a:xfrm>
              <a:off x="10207108" y="5034124"/>
              <a:ext cx="198000" cy="198000"/>
            </a:xfrm>
            <a:custGeom>
              <a:avLst/>
              <a:gdLst>
                <a:gd name="connsiteX0" fmla="*/ 198348 w 198348"/>
                <a:gd name="connsiteY0" fmla="*/ 99174 h 198348"/>
                <a:gd name="connsiteX1" fmla="*/ 99174 w 198348"/>
                <a:gd name="connsiteY1" fmla="*/ 198348 h 198348"/>
                <a:gd name="connsiteX2" fmla="*/ 0 w 198348"/>
                <a:gd name="connsiteY2" fmla="*/ 99174 h 198348"/>
                <a:gd name="connsiteX3" fmla="*/ 99174 w 198348"/>
                <a:gd name="connsiteY3" fmla="*/ 0 h 198348"/>
                <a:gd name="connsiteX4" fmla="*/ 198348 w 198348"/>
                <a:gd name="connsiteY4" fmla="*/ 99174 h 198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348" h="198348">
                  <a:moveTo>
                    <a:pt x="198348" y="99174"/>
                  </a:moveTo>
                  <a:cubicBezTo>
                    <a:pt x="198348" y="153946"/>
                    <a:pt x="153946" y="198348"/>
                    <a:pt x="99174" y="198348"/>
                  </a:cubicBezTo>
                  <a:cubicBezTo>
                    <a:pt x="44402" y="198348"/>
                    <a:pt x="0" y="153946"/>
                    <a:pt x="0" y="99174"/>
                  </a:cubicBezTo>
                  <a:cubicBezTo>
                    <a:pt x="0" y="44402"/>
                    <a:pt x="44402" y="0"/>
                    <a:pt x="99174" y="0"/>
                  </a:cubicBezTo>
                  <a:cubicBezTo>
                    <a:pt x="153946" y="0"/>
                    <a:pt x="198348" y="44402"/>
                    <a:pt x="198348" y="99174"/>
                  </a:cubicBezTo>
                  <a:close/>
                </a:path>
              </a:pathLst>
            </a:custGeom>
            <a:solidFill>
              <a:schemeClr val="bg1"/>
            </a:solidFill>
            <a:ln w="190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99DEF90-6F14-1E0A-2760-468BEDEF1738}"/>
                </a:ext>
              </a:extLst>
            </p:cNvPr>
            <p:cNvSpPr/>
            <p:nvPr/>
          </p:nvSpPr>
          <p:spPr>
            <a:xfrm>
              <a:off x="10207108" y="5287938"/>
              <a:ext cx="198000" cy="198000"/>
            </a:xfrm>
            <a:custGeom>
              <a:avLst/>
              <a:gdLst>
                <a:gd name="connsiteX0" fmla="*/ 198348 w 198348"/>
                <a:gd name="connsiteY0" fmla="*/ 99174 h 198348"/>
                <a:gd name="connsiteX1" fmla="*/ 99174 w 198348"/>
                <a:gd name="connsiteY1" fmla="*/ 198348 h 198348"/>
                <a:gd name="connsiteX2" fmla="*/ 0 w 198348"/>
                <a:gd name="connsiteY2" fmla="*/ 99174 h 198348"/>
                <a:gd name="connsiteX3" fmla="*/ 99174 w 198348"/>
                <a:gd name="connsiteY3" fmla="*/ 0 h 198348"/>
                <a:gd name="connsiteX4" fmla="*/ 198348 w 198348"/>
                <a:gd name="connsiteY4" fmla="*/ 99174 h 198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348" h="198348">
                  <a:moveTo>
                    <a:pt x="198348" y="99174"/>
                  </a:moveTo>
                  <a:cubicBezTo>
                    <a:pt x="198348" y="153946"/>
                    <a:pt x="153946" y="198348"/>
                    <a:pt x="99174" y="198348"/>
                  </a:cubicBezTo>
                  <a:cubicBezTo>
                    <a:pt x="44402" y="198348"/>
                    <a:pt x="0" y="153946"/>
                    <a:pt x="0" y="99174"/>
                  </a:cubicBezTo>
                  <a:cubicBezTo>
                    <a:pt x="0" y="44402"/>
                    <a:pt x="44402" y="0"/>
                    <a:pt x="99174" y="0"/>
                  </a:cubicBezTo>
                  <a:cubicBezTo>
                    <a:pt x="153946" y="0"/>
                    <a:pt x="198348" y="44402"/>
                    <a:pt x="198348" y="99174"/>
                  </a:cubicBezTo>
                  <a:close/>
                </a:path>
              </a:pathLst>
            </a:custGeom>
            <a:solidFill>
              <a:schemeClr val="bg1"/>
            </a:solidFill>
            <a:ln w="19050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" name="Textplatzhalter 16">
            <a:extLst>
              <a:ext uri="{FF2B5EF4-FFF2-40B4-BE49-F238E27FC236}">
                <a16:creationId xmlns:a16="http://schemas.microsoft.com/office/drawing/2014/main" id="{AEB3328E-F853-74B9-4761-0E3678B801F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7423" y="1882886"/>
            <a:ext cx="2655342" cy="4432666"/>
          </a:xfrm>
          <a:prstGeom prst="rect">
            <a:avLst/>
          </a:prstGeom>
        </p:spPr>
        <p:txBody>
          <a:bodyPr vert="horz" lIns="108000" tIns="108000" rIns="108000" bIns="108000" rtlCol="0">
            <a:noAutofit/>
          </a:bodyPr>
          <a:lstStyle>
            <a:lvl2pPr>
              <a:defRPr lang="en-US" dirty="0">
                <a:latin typeface="Poppins" panose="00000500000000000000" pitchFamily="2" charset="0"/>
              </a:defRPr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A5AE002-E51D-690E-0753-E9A190246F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64683" y="1882886"/>
            <a:ext cx="2655342" cy="4432666"/>
          </a:xfrm>
          <a:prstGeom prst="rect">
            <a:avLst/>
          </a:prstGeom>
        </p:spPr>
        <p:txBody>
          <a:bodyPr vert="horz" lIns="108000" tIns="108000" rIns="108000" bIns="108000" rtlCol="0">
            <a:noAutofit/>
          </a:bodyPr>
          <a:lstStyle>
            <a:lvl2pPr>
              <a:defRPr lang="en-US" dirty="0">
                <a:latin typeface="Poppins" panose="00000500000000000000" pitchFamily="2" charset="0"/>
              </a:defRPr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platzhalter 16">
            <a:extLst>
              <a:ext uri="{FF2B5EF4-FFF2-40B4-BE49-F238E27FC236}">
                <a16:creationId xmlns:a16="http://schemas.microsoft.com/office/drawing/2014/main" id="{2D169C67-2157-A440-599E-84659CDF7EC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71881" y="1882885"/>
            <a:ext cx="2655342" cy="1861685"/>
          </a:xfrm>
          <a:prstGeom prst="rect">
            <a:avLst/>
          </a:prstGeom>
        </p:spPr>
        <p:txBody>
          <a:bodyPr vert="horz" lIns="108000" tIns="108000" rIns="108000" bIns="108000" rtlCol="0">
            <a:noAutofit/>
          </a:bodyPr>
          <a:lstStyle>
            <a:lvl2pPr>
              <a:defRPr lang="en-US" dirty="0">
                <a:latin typeface="Poppins" panose="00000500000000000000" pitchFamily="2" charset="0"/>
              </a:defRPr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extplatzhalter 16">
            <a:extLst>
              <a:ext uri="{FF2B5EF4-FFF2-40B4-BE49-F238E27FC236}">
                <a16:creationId xmlns:a16="http://schemas.microsoft.com/office/drawing/2014/main" id="{46D27CB7-7FFC-26D3-5D4B-5205EAE5467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79175" y="1882885"/>
            <a:ext cx="2655342" cy="1861685"/>
          </a:xfrm>
          <a:prstGeom prst="rect">
            <a:avLst/>
          </a:prstGeom>
        </p:spPr>
        <p:txBody>
          <a:bodyPr vert="horz" lIns="108000" tIns="108000" rIns="108000" bIns="108000" rtlCol="0">
            <a:noAutofit/>
          </a:bodyPr>
          <a:lstStyle>
            <a:lvl2pPr>
              <a:defRPr lang="en-US" dirty="0">
                <a:latin typeface="Poppins" panose="00000500000000000000" pitchFamily="2" charset="0"/>
              </a:defRPr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platzhalter 16">
            <a:extLst>
              <a:ext uri="{FF2B5EF4-FFF2-40B4-BE49-F238E27FC236}">
                <a16:creationId xmlns:a16="http://schemas.microsoft.com/office/drawing/2014/main" id="{D74186A8-18B8-7895-8990-7F9F255DAA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1881" y="4483341"/>
            <a:ext cx="2655342" cy="1825384"/>
          </a:xfrm>
          <a:prstGeom prst="rect">
            <a:avLst/>
          </a:prstGeom>
        </p:spPr>
        <p:txBody>
          <a:bodyPr vert="horz" lIns="108000" tIns="108000" rIns="108000" bIns="108000" rtlCol="0">
            <a:noAutofit/>
          </a:bodyPr>
          <a:lstStyle>
            <a:lvl2pPr>
              <a:defRPr lang="en-US" dirty="0">
                <a:latin typeface="Poppins" panose="00000500000000000000" pitchFamily="2" charset="0"/>
              </a:defRPr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6" name="Foliennummernplatzhalter 5">
            <a:extLst>
              <a:ext uri="{FF2B5EF4-FFF2-40B4-BE49-F238E27FC236}">
                <a16:creationId xmlns:a16="http://schemas.microsoft.com/office/drawing/2014/main" id="{F500F68B-48B8-CF13-3E4C-7D01DC2613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1A03496-54B9-5E91-804F-6A9315B3DF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ource/Note: </a:t>
            </a:r>
          </a:p>
        </p:txBody>
      </p:sp>
    </p:spTree>
    <p:extLst>
      <p:ext uri="{BB962C8B-B14F-4D97-AF65-F5344CB8AC3E}">
        <p14:creationId xmlns:p14="http://schemas.microsoft.com/office/powerpoint/2010/main" val="3285375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ashReport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65C2F922-0E5F-21E4-2055-81EEFA428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414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65C2F922-0E5F-21E4-2055-81EEFA428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54">
            <a:extLst>
              <a:ext uri="{FF2B5EF4-FFF2-40B4-BE49-F238E27FC236}">
                <a16:creationId xmlns:a16="http://schemas.microsoft.com/office/drawing/2014/main" id="{50BE14CD-0C9A-7840-7CA0-A25FAE3CAE41}"/>
              </a:ext>
            </a:extLst>
          </p:cNvPr>
          <p:cNvSpPr/>
          <p:nvPr userDrawn="1"/>
        </p:nvSpPr>
        <p:spPr>
          <a:xfrm>
            <a:off x="8972456" y="3897789"/>
            <a:ext cx="2661997" cy="2417763"/>
          </a:xfrm>
          <a:prstGeom prst="roundRect">
            <a:avLst>
              <a:gd name="adj" fmla="val 2101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6" name="Rectangle: Rounded Corners 54">
            <a:extLst>
              <a:ext uri="{FF2B5EF4-FFF2-40B4-BE49-F238E27FC236}">
                <a16:creationId xmlns:a16="http://schemas.microsoft.com/office/drawing/2014/main" id="{8F298E1D-3A77-53DE-EA66-386B1A2D1789}"/>
              </a:ext>
            </a:extLst>
          </p:cNvPr>
          <p:cNvSpPr/>
          <p:nvPr userDrawn="1"/>
        </p:nvSpPr>
        <p:spPr>
          <a:xfrm>
            <a:off x="6165355" y="3897789"/>
            <a:ext cx="2661997" cy="2417763"/>
          </a:xfrm>
          <a:prstGeom prst="roundRect">
            <a:avLst>
              <a:gd name="adj" fmla="val 2101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7" name="Rectangle: Rounded Corners 54">
            <a:extLst>
              <a:ext uri="{FF2B5EF4-FFF2-40B4-BE49-F238E27FC236}">
                <a16:creationId xmlns:a16="http://schemas.microsoft.com/office/drawing/2014/main" id="{F12470F2-6D21-3DEA-F08E-D23DF73166E4}"/>
              </a:ext>
            </a:extLst>
          </p:cNvPr>
          <p:cNvSpPr/>
          <p:nvPr userDrawn="1"/>
        </p:nvSpPr>
        <p:spPr>
          <a:xfrm>
            <a:off x="8972456" y="1334659"/>
            <a:ext cx="2661997" cy="2417763"/>
          </a:xfrm>
          <a:prstGeom prst="roundRect">
            <a:avLst>
              <a:gd name="adj" fmla="val 2101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8" name="Rectangle: Rounded Corners 54">
            <a:extLst>
              <a:ext uri="{FF2B5EF4-FFF2-40B4-BE49-F238E27FC236}">
                <a16:creationId xmlns:a16="http://schemas.microsoft.com/office/drawing/2014/main" id="{65E9448A-69BA-C58B-B3AE-EF57D8784F26}"/>
              </a:ext>
            </a:extLst>
          </p:cNvPr>
          <p:cNvSpPr/>
          <p:nvPr userDrawn="1"/>
        </p:nvSpPr>
        <p:spPr>
          <a:xfrm>
            <a:off x="6165355" y="1334659"/>
            <a:ext cx="2661997" cy="2417763"/>
          </a:xfrm>
          <a:prstGeom prst="roundRect">
            <a:avLst>
              <a:gd name="adj" fmla="val 2101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pic>
        <p:nvPicPr>
          <p:cNvPr id="9" name="Graphic 400">
            <a:extLst>
              <a:ext uri="{FF2B5EF4-FFF2-40B4-BE49-F238E27FC236}">
                <a16:creationId xmlns:a16="http://schemas.microsoft.com/office/drawing/2014/main" id="{245E26A5-201E-B554-9280-1BCCFE6AB85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91979" y="4006498"/>
            <a:ext cx="404786" cy="404786"/>
          </a:xfrm>
          <a:prstGeom prst="rect">
            <a:avLst/>
          </a:prstGeom>
        </p:spPr>
      </p:pic>
      <p:sp>
        <p:nvSpPr>
          <p:cNvPr id="10" name="Rectangle: Rounded Corners 54">
            <a:extLst>
              <a:ext uri="{FF2B5EF4-FFF2-40B4-BE49-F238E27FC236}">
                <a16:creationId xmlns:a16="http://schemas.microsoft.com/office/drawing/2014/main" id="{44C4B3A1-046E-2C20-6C77-371569F146CA}"/>
              </a:ext>
            </a:extLst>
          </p:cNvPr>
          <p:cNvSpPr/>
          <p:nvPr userDrawn="1"/>
        </p:nvSpPr>
        <p:spPr>
          <a:xfrm>
            <a:off x="3358061" y="1340681"/>
            <a:ext cx="2661997" cy="4974065"/>
          </a:xfrm>
          <a:prstGeom prst="roundRect">
            <a:avLst>
              <a:gd name="adj" fmla="val 1909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11" name="Rectangle: Rounded Corners 54">
            <a:extLst>
              <a:ext uri="{FF2B5EF4-FFF2-40B4-BE49-F238E27FC236}">
                <a16:creationId xmlns:a16="http://schemas.microsoft.com/office/drawing/2014/main" id="{CA628E49-A25D-9601-D4FC-989709658749}"/>
              </a:ext>
            </a:extLst>
          </p:cNvPr>
          <p:cNvSpPr/>
          <p:nvPr userDrawn="1"/>
        </p:nvSpPr>
        <p:spPr>
          <a:xfrm>
            <a:off x="550863" y="1340681"/>
            <a:ext cx="2661997" cy="4974065"/>
          </a:xfrm>
          <a:prstGeom prst="roundRect">
            <a:avLst>
              <a:gd name="adj" fmla="val 1909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5FC5789-900A-6532-3A57-09CD28A4EE6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520" y="1391861"/>
            <a:ext cx="404786" cy="40478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04E043F-84C1-DE73-9299-8BC2075B3CD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7911" y="1391861"/>
            <a:ext cx="404786" cy="404786"/>
          </a:xfrm>
          <a:prstGeom prst="rect">
            <a:avLst/>
          </a:prstGeom>
        </p:spPr>
      </p:pic>
      <p:pic>
        <p:nvPicPr>
          <p:cNvPr id="14" name="!">
            <a:extLst>
              <a:ext uri="{FF2B5EF4-FFF2-40B4-BE49-F238E27FC236}">
                <a16:creationId xmlns:a16="http://schemas.microsoft.com/office/drawing/2014/main" id="{3ADD715F-9257-02C1-EA94-76993F6B6E7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1979" y="1391861"/>
            <a:ext cx="404786" cy="40478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97B0644-450D-48E0-6E03-EFEF83BC6F9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9887" y="1391861"/>
            <a:ext cx="405471" cy="404786"/>
          </a:xfrm>
          <a:prstGeom prst="rect">
            <a:avLst/>
          </a:prstGeom>
        </p:spPr>
      </p:pic>
      <p:pic>
        <p:nvPicPr>
          <p:cNvPr id="30" name="Graphic 494">
            <a:extLst>
              <a:ext uri="{FF2B5EF4-FFF2-40B4-BE49-F238E27FC236}">
                <a16:creationId xmlns:a16="http://schemas.microsoft.com/office/drawing/2014/main" id="{CBD94CDC-C4C2-4041-366C-79D6D8D9C41E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107911" y="4006498"/>
            <a:ext cx="404786" cy="404786"/>
          </a:xfrm>
          <a:prstGeom prst="rect">
            <a:avLst/>
          </a:prstGeom>
        </p:spPr>
      </p:pic>
      <p:sp>
        <p:nvSpPr>
          <p:cNvPr id="31" name="Titel 4">
            <a:extLst>
              <a:ext uri="{FF2B5EF4-FFF2-40B4-BE49-F238E27FC236}">
                <a16:creationId xmlns:a16="http://schemas.microsoft.com/office/drawing/2014/main" id="{05C3864D-D96F-3374-A47F-55B3A0CC15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32000"/>
            <a:ext cx="11088542" cy="738000"/>
          </a:xfrm>
        </p:spPr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Add action title</a:t>
            </a:r>
            <a:br>
              <a:rPr lang="en-US"/>
            </a:br>
            <a:r>
              <a:rPr lang="en-US"/>
              <a:t>max. two lines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D492EC57-3D41-244D-E89D-8034FFEBFAA7}"/>
              </a:ext>
            </a:extLst>
          </p:cNvPr>
          <p:cNvSpPr/>
          <p:nvPr/>
        </p:nvSpPr>
        <p:spPr>
          <a:xfrm>
            <a:off x="10073967" y="4907403"/>
            <a:ext cx="464281" cy="978517"/>
          </a:xfrm>
          <a:custGeom>
            <a:avLst/>
            <a:gdLst>
              <a:gd name="connsiteX0" fmla="*/ 232141 w 464281"/>
              <a:gd name="connsiteY0" fmla="*/ 978517 h 978517"/>
              <a:gd name="connsiteX1" fmla="*/ 0 w 464281"/>
              <a:gd name="connsiteY1" fmla="*/ 746377 h 978517"/>
              <a:gd name="connsiteX2" fmla="*/ 0 w 464281"/>
              <a:gd name="connsiteY2" fmla="*/ 232141 h 978517"/>
              <a:gd name="connsiteX3" fmla="*/ 232141 w 464281"/>
              <a:gd name="connsiteY3" fmla="*/ 0 h 978517"/>
              <a:gd name="connsiteX4" fmla="*/ 464281 w 464281"/>
              <a:gd name="connsiteY4" fmla="*/ 232141 h 978517"/>
              <a:gd name="connsiteX5" fmla="*/ 464281 w 464281"/>
              <a:gd name="connsiteY5" fmla="*/ 746377 h 978517"/>
              <a:gd name="connsiteX6" fmla="*/ 232141 w 464281"/>
              <a:gd name="connsiteY6" fmla="*/ 978517 h 978517"/>
              <a:gd name="connsiteX7" fmla="*/ 232141 w 464281"/>
              <a:gd name="connsiteY7" fmla="*/ 19100 h 978517"/>
              <a:gd name="connsiteX8" fmla="*/ 18366 w 464281"/>
              <a:gd name="connsiteY8" fmla="*/ 232875 h 978517"/>
              <a:gd name="connsiteX9" fmla="*/ 18366 w 464281"/>
              <a:gd name="connsiteY9" fmla="*/ 747111 h 978517"/>
              <a:gd name="connsiteX10" fmla="*/ 232141 w 464281"/>
              <a:gd name="connsiteY10" fmla="*/ 960886 h 978517"/>
              <a:gd name="connsiteX11" fmla="*/ 445916 w 464281"/>
              <a:gd name="connsiteY11" fmla="*/ 747111 h 978517"/>
              <a:gd name="connsiteX12" fmla="*/ 445916 w 464281"/>
              <a:gd name="connsiteY12" fmla="*/ 232875 h 978517"/>
              <a:gd name="connsiteX13" fmla="*/ 232141 w 464281"/>
              <a:gd name="connsiteY13" fmla="*/ 19100 h 978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64281" h="978517">
                <a:moveTo>
                  <a:pt x="232141" y="978517"/>
                </a:moveTo>
                <a:cubicBezTo>
                  <a:pt x="104316" y="978517"/>
                  <a:pt x="0" y="874201"/>
                  <a:pt x="0" y="746377"/>
                </a:cubicBezTo>
                <a:lnTo>
                  <a:pt x="0" y="232141"/>
                </a:lnTo>
                <a:cubicBezTo>
                  <a:pt x="0" y="104316"/>
                  <a:pt x="104316" y="0"/>
                  <a:pt x="232141" y="0"/>
                </a:cubicBezTo>
                <a:cubicBezTo>
                  <a:pt x="359965" y="0"/>
                  <a:pt x="464281" y="104316"/>
                  <a:pt x="464281" y="232141"/>
                </a:cubicBezTo>
                <a:lnTo>
                  <a:pt x="464281" y="746377"/>
                </a:lnTo>
                <a:cubicBezTo>
                  <a:pt x="464281" y="874935"/>
                  <a:pt x="359965" y="978517"/>
                  <a:pt x="232141" y="978517"/>
                </a:cubicBezTo>
                <a:close/>
                <a:moveTo>
                  <a:pt x="232141" y="19100"/>
                </a:moveTo>
                <a:cubicBezTo>
                  <a:pt x="114601" y="19100"/>
                  <a:pt x="18366" y="114601"/>
                  <a:pt x="18366" y="232875"/>
                </a:cubicBezTo>
                <a:lnTo>
                  <a:pt x="18366" y="747111"/>
                </a:lnTo>
                <a:cubicBezTo>
                  <a:pt x="18366" y="864651"/>
                  <a:pt x="113866" y="960886"/>
                  <a:pt x="232141" y="960886"/>
                </a:cubicBezTo>
                <a:cubicBezTo>
                  <a:pt x="350415" y="960886"/>
                  <a:pt x="445916" y="864651"/>
                  <a:pt x="445916" y="747111"/>
                </a:cubicBezTo>
                <a:lnTo>
                  <a:pt x="445916" y="232875"/>
                </a:lnTo>
                <a:cubicBezTo>
                  <a:pt x="445916" y="114601"/>
                  <a:pt x="349680" y="19100"/>
                  <a:pt x="232141" y="19100"/>
                </a:cubicBezTo>
                <a:close/>
              </a:path>
            </a:pathLst>
          </a:custGeom>
          <a:solidFill>
            <a:srgbClr val="3C3C3C"/>
          </a:solidFill>
          <a:ln w="7311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F640CFE3-43A0-C462-60A4-703F45BF43F0}"/>
              </a:ext>
            </a:extLst>
          </p:cNvPr>
          <p:cNvSpPr/>
          <p:nvPr/>
        </p:nvSpPr>
        <p:spPr>
          <a:xfrm>
            <a:off x="10126125" y="4961030"/>
            <a:ext cx="359965" cy="859508"/>
          </a:xfrm>
          <a:custGeom>
            <a:avLst/>
            <a:gdLst>
              <a:gd name="connsiteX0" fmla="*/ 179983 w 359965"/>
              <a:gd name="connsiteY0" fmla="*/ 859508 h 859508"/>
              <a:gd name="connsiteX1" fmla="*/ 0 w 359965"/>
              <a:gd name="connsiteY1" fmla="*/ 655283 h 859508"/>
              <a:gd name="connsiteX2" fmla="*/ 0 w 359965"/>
              <a:gd name="connsiteY2" fmla="*/ 204225 h 859508"/>
              <a:gd name="connsiteX3" fmla="*/ 179983 w 359965"/>
              <a:gd name="connsiteY3" fmla="*/ 0 h 859508"/>
              <a:gd name="connsiteX4" fmla="*/ 359965 w 359965"/>
              <a:gd name="connsiteY4" fmla="*/ 204225 h 859508"/>
              <a:gd name="connsiteX5" fmla="*/ 359965 w 359965"/>
              <a:gd name="connsiteY5" fmla="*/ 656018 h 859508"/>
              <a:gd name="connsiteX6" fmla="*/ 179983 w 359965"/>
              <a:gd name="connsiteY6" fmla="*/ 859508 h 859508"/>
              <a:gd name="connsiteX7" fmla="*/ 179983 w 359965"/>
              <a:gd name="connsiteY7" fmla="*/ 16162 h 859508"/>
              <a:gd name="connsiteX8" fmla="*/ 13958 w 359965"/>
              <a:gd name="connsiteY8" fmla="*/ 204225 h 859508"/>
              <a:gd name="connsiteX9" fmla="*/ 13958 w 359965"/>
              <a:gd name="connsiteY9" fmla="*/ 656018 h 859508"/>
              <a:gd name="connsiteX10" fmla="*/ 179983 w 359965"/>
              <a:gd name="connsiteY10" fmla="*/ 844081 h 859508"/>
              <a:gd name="connsiteX11" fmla="*/ 346007 w 359965"/>
              <a:gd name="connsiteY11" fmla="*/ 656018 h 859508"/>
              <a:gd name="connsiteX12" fmla="*/ 346007 w 359965"/>
              <a:gd name="connsiteY12" fmla="*/ 204225 h 859508"/>
              <a:gd name="connsiteX13" fmla="*/ 179983 w 359965"/>
              <a:gd name="connsiteY13" fmla="*/ 16162 h 859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59965" h="859508">
                <a:moveTo>
                  <a:pt x="179983" y="859508"/>
                </a:moveTo>
                <a:cubicBezTo>
                  <a:pt x="80808" y="859508"/>
                  <a:pt x="0" y="767681"/>
                  <a:pt x="0" y="655283"/>
                </a:cubicBezTo>
                <a:lnTo>
                  <a:pt x="0" y="204225"/>
                </a:lnTo>
                <a:cubicBezTo>
                  <a:pt x="0" y="91828"/>
                  <a:pt x="80808" y="0"/>
                  <a:pt x="179983" y="0"/>
                </a:cubicBezTo>
                <a:cubicBezTo>
                  <a:pt x="279157" y="0"/>
                  <a:pt x="359965" y="91828"/>
                  <a:pt x="359965" y="204225"/>
                </a:cubicBezTo>
                <a:lnTo>
                  <a:pt x="359965" y="656018"/>
                </a:lnTo>
                <a:cubicBezTo>
                  <a:pt x="359965" y="768415"/>
                  <a:pt x="279157" y="859508"/>
                  <a:pt x="179983" y="859508"/>
                </a:cubicBezTo>
                <a:close/>
                <a:moveTo>
                  <a:pt x="179983" y="16162"/>
                </a:moveTo>
                <a:cubicBezTo>
                  <a:pt x="88889" y="16162"/>
                  <a:pt x="13958" y="100643"/>
                  <a:pt x="13958" y="204225"/>
                </a:cubicBezTo>
                <a:lnTo>
                  <a:pt x="13958" y="656018"/>
                </a:lnTo>
                <a:cubicBezTo>
                  <a:pt x="13958" y="759600"/>
                  <a:pt x="88155" y="844081"/>
                  <a:pt x="179983" y="844081"/>
                </a:cubicBezTo>
                <a:cubicBezTo>
                  <a:pt x="271810" y="844081"/>
                  <a:pt x="346007" y="759600"/>
                  <a:pt x="346007" y="656018"/>
                </a:cubicBezTo>
                <a:lnTo>
                  <a:pt x="346007" y="204225"/>
                </a:lnTo>
                <a:cubicBezTo>
                  <a:pt x="345273" y="100643"/>
                  <a:pt x="271076" y="16162"/>
                  <a:pt x="179983" y="16162"/>
                </a:cubicBezTo>
                <a:close/>
              </a:path>
            </a:pathLst>
          </a:custGeom>
          <a:solidFill>
            <a:srgbClr val="3C3C3C"/>
          </a:solidFill>
          <a:ln w="7311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48" name="Grafik 19">
            <a:extLst>
              <a:ext uri="{FF2B5EF4-FFF2-40B4-BE49-F238E27FC236}">
                <a16:creationId xmlns:a16="http://schemas.microsoft.com/office/drawing/2014/main" id="{D2940FDC-7F00-ABDA-0AC3-17CB900C17FC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rot="5400000">
            <a:off x="9791803" y="5289738"/>
            <a:ext cx="261792" cy="194400"/>
          </a:xfrm>
          <a:prstGeom prst="rect">
            <a:avLst/>
          </a:pr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267F70E4-8828-13E6-69BA-5D050CC1CBCF}"/>
              </a:ext>
            </a:extLst>
          </p:cNvPr>
          <p:cNvSpPr/>
          <p:nvPr/>
        </p:nvSpPr>
        <p:spPr>
          <a:xfrm>
            <a:off x="10207108" y="5541752"/>
            <a:ext cx="198000" cy="198000"/>
          </a:xfrm>
          <a:custGeom>
            <a:avLst/>
            <a:gdLst>
              <a:gd name="connsiteX0" fmla="*/ 198348 w 198348"/>
              <a:gd name="connsiteY0" fmla="*/ 99174 h 198348"/>
              <a:gd name="connsiteX1" fmla="*/ 99174 w 198348"/>
              <a:gd name="connsiteY1" fmla="*/ 198348 h 198348"/>
              <a:gd name="connsiteX2" fmla="*/ 0 w 198348"/>
              <a:gd name="connsiteY2" fmla="*/ 99174 h 198348"/>
              <a:gd name="connsiteX3" fmla="*/ 99174 w 198348"/>
              <a:gd name="connsiteY3" fmla="*/ 0 h 198348"/>
              <a:gd name="connsiteX4" fmla="*/ 198348 w 198348"/>
              <a:gd name="connsiteY4" fmla="*/ 99174 h 198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348" h="198348">
                <a:moveTo>
                  <a:pt x="198348" y="99174"/>
                </a:moveTo>
                <a:cubicBezTo>
                  <a:pt x="198348" y="153946"/>
                  <a:pt x="153946" y="198348"/>
                  <a:pt x="99174" y="198348"/>
                </a:cubicBezTo>
                <a:cubicBezTo>
                  <a:pt x="44402" y="198348"/>
                  <a:pt x="0" y="153946"/>
                  <a:pt x="0" y="99174"/>
                </a:cubicBezTo>
                <a:cubicBezTo>
                  <a:pt x="0" y="44402"/>
                  <a:pt x="44402" y="0"/>
                  <a:pt x="99174" y="0"/>
                </a:cubicBezTo>
                <a:cubicBezTo>
                  <a:pt x="153946" y="0"/>
                  <a:pt x="198348" y="44402"/>
                  <a:pt x="198348" y="99174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8519F944-6A86-1847-FEDC-3C3DFDF1CE43}"/>
              </a:ext>
            </a:extLst>
          </p:cNvPr>
          <p:cNvSpPr/>
          <p:nvPr/>
        </p:nvSpPr>
        <p:spPr>
          <a:xfrm>
            <a:off x="10207108" y="5034124"/>
            <a:ext cx="198000" cy="198000"/>
          </a:xfrm>
          <a:custGeom>
            <a:avLst/>
            <a:gdLst>
              <a:gd name="connsiteX0" fmla="*/ 198348 w 198348"/>
              <a:gd name="connsiteY0" fmla="*/ 99174 h 198348"/>
              <a:gd name="connsiteX1" fmla="*/ 99174 w 198348"/>
              <a:gd name="connsiteY1" fmla="*/ 198348 h 198348"/>
              <a:gd name="connsiteX2" fmla="*/ 0 w 198348"/>
              <a:gd name="connsiteY2" fmla="*/ 99174 h 198348"/>
              <a:gd name="connsiteX3" fmla="*/ 99174 w 198348"/>
              <a:gd name="connsiteY3" fmla="*/ 0 h 198348"/>
              <a:gd name="connsiteX4" fmla="*/ 198348 w 198348"/>
              <a:gd name="connsiteY4" fmla="*/ 99174 h 198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348" h="198348">
                <a:moveTo>
                  <a:pt x="198348" y="99174"/>
                </a:moveTo>
                <a:cubicBezTo>
                  <a:pt x="198348" y="153946"/>
                  <a:pt x="153946" y="198348"/>
                  <a:pt x="99174" y="198348"/>
                </a:cubicBezTo>
                <a:cubicBezTo>
                  <a:pt x="44402" y="198348"/>
                  <a:pt x="0" y="153946"/>
                  <a:pt x="0" y="99174"/>
                </a:cubicBezTo>
                <a:cubicBezTo>
                  <a:pt x="0" y="44402"/>
                  <a:pt x="44402" y="0"/>
                  <a:pt x="99174" y="0"/>
                </a:cubicBezTo>
                <a:cubicBezTo>
                  <a:pt x="153946" y="0"/>
                  <a:pt x="198348" y="44402"/>
                  <a:pt x="198348" y="99174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C2926900-05BC-6F7E-9C7C-4DB1B16BC090}"/>
              </a:ext>
            </a:extLst>
          </p:cNvPr>
          <p:cNvSpPr/>
          <p:nvPr/>
        </p:nvSpPr>
        <p:spPr>
          <a:xfrm>
            <a:off x="10207108" y="5287938"/>
            <a:ext cx="198000" cy="198000"/>
          </a:xfrm>
          <a:custGeom>
            <a:avLst/>
            <a:gdLst>
              <a:gd name="connsiteX0" fmla="*/ 198348 w 198348"/>
              <a:gd name="connsiteY0" fmla="*/ 99174 h 198348"/>
              <a:gd name="connsiteX1" fmla="*/ 99174 w 198348"/>
              <a:gd name="connsiteY1" fmla="*/ 198348 h 198348"/>
              <a:gd name="connsiteX2" fmla="*/ 0 w 198348"/>
              <a:gd name="connsiteY2" fmla="*/ 99174 h 198348"/>
              <a:gd name="connsiteX3" fmla="*/ 99174 w 198348"/>
              <a:gd name="connsiteY3" fmla="*/ 0 h 198348"/>
              <a:gd name="connsiteX4" fmla="*/ 198348 w 198348"/>
              <a:gd name="connsiteY4" fmla="*/ 99174 h 198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348" h="198348">
                <a:moveTo>
                  <a:pt x="198348" y="99174"/>
                </a:moveTo>
                <a:cubicBezTo>
                  <a:pt x="198348" y="153946"/>
                  <a:pt x="153946" y="198348"/>
                  <a:pt x="99174" y="198348"/>
                </a:cubicBezTo>
                <a:cubicBezTo>
                  <a:pt x="44402" y="198348"/>
                  <a:pt x="0" y="153946"/>
                  <a:pt x="0" y="99174"/>
                </a:cubicBezTo>
                <a:cubicBezTo>
                  <a:pt x="0" y="44402"/>
                  <a:pt x="44402" y="0"/>
                  <a:pt x="99174" y="0"/>
                </a:cubicBezTo>
                <a:cubicBezTo>
                  <a:pt x="153946" y="0"/>
                  <a:pt x="198348" y="44402"/>
                  <a:pt x="198348" y="99174"/>
                </a:cubicBezTo>
                <a:close/>
              </a:path>
            </a:pathLst>
          </a:custGeom>
          <a:solidFill>
            <a:schemeClr val="accent6"/>
          </a:solidFill>
          <a:ln w="190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6" name="Foliennummernplatzhalter 5">
            <a:extLst>
              <a:ext uri="{FF2B5EF4-FFF2-40B4-BE49-F238E27FC236}">
                <a16:creationId xmlns:a16="http://schemas.microsoft.com/office/drawing/2014/main" id="{0C6545F5-8AB5-87F2-596B-6775BAF668F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C888BDB-7950-8B91-6D2E-7E5DCE049097}"/>
              </a:ext>
            </a:extLst>
          </p:cNvPr>
          <p:cNvCxnSpPr>
            <a:cxnSpLocks/>
          </p:cNvCxnSpPr>
          <p:nvPr userDrawn="1"/>
        </p:nvCxnSpPr>
        <p:spPr>
          <a:xfrm>
            <a:off x="550863" y="1876176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A44B811-3790-9865-405A-AC28832CDBF8}"/>
              </a:ext>
            </a:extLst>
          </p:cNvPr>
          <p:cNvCxnSpPr>
            <a:cxnSpLocks/>
          </p:cNvCxnSpPr>
          <p:nvPr userDrawn="1"/>
        </p:nvCxnSpPr>
        <p:spPr>
          <a:xfrm>
            <a:off x="3358061" y="1876176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8BFC5AC-ACD1-0E0F-4CF4-4F342E80A2DC}"/>
              </a:ext>
            </a:extLst>
          </p:cNvPr>
          <p:cNvCxnSpPr>
            <a:cxnSpLocks/>
          </p:cNvCxnSpPr>
          <p:nvPr userDrawn="1"/>
        </p:nvCxnSpPr>
        <p:spPr>
          <a:xfrm>
            <a:off x="6165355" y="1876176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DCDC705-3B74-58FB-F92A-43CDF9857DC7}"/>
              </a:ext>
            </a:extLst>
          </p:cNvPr>
          <p:cNvCxnSpPr>
            <a:cxnSpLocks/>
          </p:cNvCxnSpPr>
          <p:nvPr userDrawn="1"/>
        </p:nvCxnSpPr>
        <p:spPr>
          <a:xfrm>
            <a:off x="8972456" y="1876176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6EB0C7B-BB69-1477-8E91-5DC1E7121BA4}"/>
              </a:ext>
            </a:extLst>
          </p:cNvPr>
          <p:cNvCxnSpPr>
            <a:cxnSpLocks/>
          </p:cNvCxnSpPr>
          <p:nvPr userDrawn="1"/>
        </p:nvCxnSpPr>
        <p:spPr>
          <a:xfrm>
            <a:off x="6165355" y="4483341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7D6B2675-7048-4E2D-F62E-D4E3F7D874F0}"/>
              </a:ext>
            </a:extLst>
          </p:cNvPr>
          <p:cNvCxnSpPr>
            <a:cxnSpLocks/>
          </p:cNvCxnSpPr>
          <p:nvPr userDrawn="1"/>
        </p:nvCxnSpPr>
        <p:spPr>
          <a:xfrm>
            <a:off x="8972456" y="4483341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16">
            <a:extLst>
              <a:ext uri="{FF2B5EF4-FFF2-40B4-BE49-F238E27FC236}">
                <a16:creationId xmlns:a16="http://schemas.microsoft.com/office/drawing/2014/main" id="{7062A655-1362-F68B-2ECC-8E733374F8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7423" y="1882886"/>
            <a:ext cx="2655342" cy="4432666"/>
          </a:xfrm>
          <a:prstGeom prst="rect">
            <a:avLst/>
          </a:prstGeom>
        </p:spPr>
        <p:txBody>
          <a:bodyPr vert="horz" lIns="108000" tIns="108000" rIns="108000" bIns="108000" rtlCol="0">
            <a:noAutofit/>
          </a:bodyPr>
          <a:lstStyle>
            <a:lvl2pPr>
              <a:defRPr lang="en-US" dirty="0">
                <a:latin typeface="Poppins" panose="00000500000000000000" pitchFamily="2" charset="0"/>
              </a:defRPr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id="{4282800E-68F9-A3B6-8BCF-D77DB14DE9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64683" y="1882886"/>
            <a:ext cx="2655342" cy="4432666"/>
          </a:xfrm>
          <a:prstGeom prst="rect">
            <a:avLst/>
          </a:prstGeom>
        </p:spPr>
        <p:txBody>
          <a:bodyPr vert="horz" lIns="108000" tIns="108000" rIns="108000" bIns="108000" rtlCol="0">
            <a:noAutofit/>
          </a:bodyPr>
          <a:lstStyle>
            <a:lvl2pPr>
              <a:defRPr lang="en-US" dirty="0">
                <a:latin typeface="Poppins" panose="00000500000000000000" pitchFamily="2" charset="0"/>
              </a:defRPr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id="{9FD0FBE9-3F27-9219-3C18-A5CCC80C2A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71881" y="1882885"/>
            <a:ext cx="2655342" cy="1861685"/>
          </a:xfrm>
          <a:prstGeom prst="rect">
            <a:avLst/>
          </a:prstGeom>
        </p:spPr>
        <p:txBody>
          <a:bodyPr vert="horz" lIns="108000" tIns="108000" rIns="108000" bIns="108000" rtlCol="0">
            <a:noAutofit/>
          </a:bodyPr>
          <a:lstStyle>
            <a:lvl2pPr>
              <a:defRPr lang="en-US" dirty="0">
                <a:latin typeface="Poppins" panose="00000500000000000000" pitchFamily="2" charset="0"/>
              </a:defRPr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Textplatzhalter 16">
            <a:extLst>
              <a:ext uri="{FF2B5EF4-FFF2-40B4-BE49-F238E27FC236}">
                <a16:creationId xmlns:a16="http://schemas.microsoft.com/office/drawing/2014/main" id="{15587F75-3B94-C659-EA9A-25D65BE255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79175" y="1882885"/>
            <a:ext cx="2655342" cy="1861685"/>
          </a:xfrm>
          <a:prstGeom prst="rect">
            <a:avLst/>
          </a:prstGeom>
        </p:spPr>
        <p:txBody>
          <a:bodyPr vert="horz" lIns="108000" tIns="108000" rIns="108000" bIns="108000" rtlCol="0">
            <a:noAutofit/>
          </a:bodyPr>
          <a:lstStyle>
            <a:lvl2pPr>
              <a:defRPr lang="en-US" dirty="0">
                <a:latin typeface="Poppins" panose="00000500000000000000" pitchFamily="2" charset="0"/>
              </a:defRPr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id="{17478FFC-0EFC-45EB-41F3-9147F4AD1C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1881" y="4483341"/>
            <a:ext cx="2655342" cy="1825384"/>
          </a:xfrm>
          <a:prstGeom prst="rect">
            <a:avLst/>
          </a:prstGeom>
        </p:spPr>
        <p:txBody>
          <a:bodyPr vert="horz" lIns="108000" tIns="108000" rIns="108000" bIns="108000" rtlCol="0">
            <a:noAutofit/>
          </a:bodyPr>
          <a:lstStyle>
            <a:lvl2pPr>
              <a:defRPr lang="en-US" dirty="0">
                <a:latin typeface="Poppins" panose="00000500000000000000" pitchFamily="2" charset="0"/>
              </a:defRPr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id="{94856D0F-E626-0AD0-496C-D7879B3E96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ource/Note: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C4CEDC-DF16-45EB-411E-9327AA6B2B6A}"/>
              </a:ext>
            </a:extLst>
          </p:cNvPr>
          <p:cNvSpPr txBox="1"/>
          <p:nvPr userDrawn="1"/>
        </p:nvSpPr>
        <p:spPr>
          <a:xfrm>
            <a:off x="1077014" y="1424977"/>
            <a:ext cx="175551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Key resul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230ABC-F5B1-FC60-4785-FF94CEC35956}"/>
              </a:ext>
            </a:extLst>
          </p:cNvPr>
          <p:cNvSpPr txBox="1"/>
          <p:nvPr userDrawn="1"/>
        </p:nvSpPr>
        <p:spPr>
          <a:xfrm>
            <a:off x="3884275" y="1424977"/>
            <a:ext cx="212467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Next activities</a:t>
            </a:r>
            <a:endParaRPr lang="en-US" sz="1400" i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735A1C-2830-D3AA-3D38-482CB428FFDD}"/>
              </a:ext>
            </a:extLst>
          </p:cNvPr>
          <p:cNvSpPr txBox="1"/>
          <p:nvPr userDrawn="1"/>
        </p:nvSpPr>
        <p:spPr>
          <a:xfrm>
            <a:off x="6691473" y="1424977"/>
            <a:ext cx="212467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Risks / problem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9660CFC-8653-12A7-18C4-2F79B4F792CF}"/>
              </a:ext>
            </a:extLst>
          </p:cNvPr>
          <p:cNvSpPr txBox="1"/>
          <p:nvPr userDrawn="1"/>
        </p:nvSpPr>
        <p:spPr>
          <a:xfrm>
            <a:off x="9498766" y="1424977"/>
            <a:ext cx="212467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For your informat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CE9F23F-72C4-A00F-7F7F-DB2079EACE39}"/>
              </a:ext>
            </a:extLst>
          </p:cNvPr>
          <p:cNvSpPr txBox="1"/>
          <p:nvPr userDrawn="1"/>
        </p:nvSpPr>
        <p:spPr>
          <a:xfrm>
            <a:off x="6691473" y="3916504"/>
            <a:ext cx="212467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Support / </a:t>
            </a:r>
            <a:b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</a:b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decision nee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54A42FA-F094-4AFC-6BE7-5EA707E25D63}"/>
              </a:ext>
            </a:extLst>
          </p:cNvPr>
          <p:cNvSpPr txBox="1"/>
          <p:nvPr userDrawn="1"/>
        </p:nvSpPr>
        <p:spPr>
          <a:xfrm>
            <a:off x="9512697" y="4037831"/>
            <a:ext cx="198324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Status</a:t>
            </a:r>
          </a:p>
        </p:txBody>
      </p:sp>
    </p:spTree>
    <p:extLst>
      <p:ext uri="{BB962C8B-B14F-4D97-AF65-F5344CB8AC3E}">
        <p14:creationId xmlns:p14="http://schemas.microsoft.com/office/powerpoint/2010/main" val="413319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ashRepor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65C2F922-0E5F-21E4-2055-81EEFA4285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6776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65C2F922-0E5F-21E4-2055-81EEFA428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: Rounded Corners 54">
            <a:extLst>
              <a:ext uri="{FF2B5EF4-FFF2-40B4-BE49-F238E27FC236}">
                <a16:creationId xmlns:a16="http://schemas.microsoft.com/office/drawing/2014/main" id="{50BE14CD-0C9A-7840-7CA0-A25FAE3CAE41}"/>
              </a:ext>
            </a:extLst>
          </p:cNvPr>
          <p:cNvSpPr/>
          <p:nvPr userDrawn="1"/>
        </p:nvSpPr>
        <p:spPr>
          <a:xfrm>
            <a:off x="8972456" y="3897789"/>
            <a:ext cx="2661997" cy="2417763"/>
          </a:xfrm>
          <a:prstGeom prst="roundRect">
            <a:avLst>
              <a:gd name="adj" fmla="val 2101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6" name="Rectangle: Rounded Corners 54">
            <a:extLst>
              <a:ext uri="{FF2B5EF4-FFF2-40B4-BE49-F238E27FC236}">
                <a16:creationId xmlns:a16="http://schemas.microsoft.com/office/drawing/2014/main" id="{8F298E1D-3A77-53DE-EA66-386B1A2D1789}"/>
              </a:ext>
            </a:extLst>
          </p:cNvPr>
          <p:cNvSpPr/>
          <p:nvPr userDrawn="1"/>
        </p:nvSpPr>
        <p:spPr>
          <a:xfrm>
            <a:off x="6165355" y="3897789"/>
            <a:ext cx="2661997" cy="2417763"/>
          </a:xfrm>
          <a:prstGeom prst="roundRect">
            <a:avLst>
              <a:gd name="adj" fmla="val 2101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7" name="Rectangle: Rounded Corners 54">
            <a:extLst>
              <a:ext uri="{FF2B5EF4-FFF2-40B4-BE49-F238E27FC236}">
                <a16:creationId xmlns:a16="http://schemas.microsoft.com/office/drawing/2014/main" id="{F12470F2-6D21-3DEA-F08E-D23DF73166E4}"/>
              </a:ext>
            </a:extLst>
          </p:cNvPr>
          <p:cNvSpPr/>
          <p:nvPr userDrawn="1"/>
        </p:nvSpPr>
        <p:spPr>
          <a:xfrm>
            <a:off x="8972456" y="1334659"/>
            <a:ext cx="2661997" cy="2417763"/>
          </a:xfrm>
          <a:prstGeom prst="roundRect">
            <a:avLst>
              <a:gd name="adj" fmla="val 2101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8" name="Rectangle: Rounded Corners 54">
            <a:extLst>
              <a:ext uri="{FF2B5EF4-FFF2-40B4-BE49-F238E27FC236}">
                <a16:creationId xmlns:a16="http://schemas.microsoft.com/office/drawing/2014/main" id="{65E9448A-69BA-C58B-B3AE-EF57D8784F26}"/>
              </a:ext>
            </a:extLst>
          </p:cNvPr>
          <p:cNvSpPr/>
          <p:nvPr userDrawn="1"/>
        </p:nvSpPr>
        <p:spPr>
          <a:xfrm>
            <a:off x="6165355" y="1334659"/>
            <a:ext cx="2661997" cy="2417763"/>
          </a:xfrm>
          <a:prstGeom prst="roundRect">
            <a:avLst>
              <a:gd name="adj" fmla="val 2101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pic>
        <p:nvPicPr>
          <p:cNvPr id="9" name="Graphic 400">
            <a:extLst>
              <a:ext uri="{FF2B5EF4-FFF2-40B4-BE49-F238E27FC236}">
                <a16:creationId xmlns:a16="http://schemas.microsoft.com/office/drawing/2014/main" id="{245E26A5-201E-B554-9280-1BCCFE6AB85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91979" y="4006498"/>
            <a:ext cx="404786" cy="404786"/>
          </a:xfrm>
          <a:prstGeom prst="rect">
            <a:avLst/>
          </a:prstGeom>
        </p:spPr>
      </p:pic>
      <p:sp>
        <p:nvSpPr>
          <p:cNvPr id="10" name="Rectangle: Rounded Corners 54">
            <a:extLst>
              <a:ext uri="{FF2B5EF4-FFF2-40B4-BE49-F238E27FC236}">
                <a16:creationId xmlns:a16="http://schemas.microsoft.com/office/drawing/2014/main" id="{44C4B3A1-046E-2C20-6C77-371569F146CA}"/>
              </a:ext>
            </a:extLst>
          </p:cNvPr>
          <p:cNvSpPr/>
          <p:nvPr userDrawn="1"/>
        </p:nvSpPr>
        <p:spPr>
          <a:xfrm>
            <a:off x="3358061" y="1340681"/>
            <a:ext cx="2661997" cy="4974065"/>
          </a:xfrm>
          <a:prstGeom prst="roundRect">
            <a:avLst>
              <a:gd name="adj" fmla="val 1909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11" name="Rectangle: Rounded Corners 54">
            <a:extLst>
              <a:ext uri="{FF2B5EF4-FFF2-40B4-BE49-F238E27FC236}">
                <a16:creationId xmlns:a16="http://schemas.microsoft.com/office/drawing/2014/main" id="{CA628E49-A25D-9601-D4FC-989709658749}"/>
              </a:ext>
            </a:extLst>
          </p:cNvPr>
          <p:cNvSpPr/>
          <p:nvPr userDrawn="1"/>
        </p:nvSpPr>
        <p:spPr>
          <a:xfrm>
            <a:off x="550863" y="1340681"/>
            <a:ext cx="2661997" cy="4974065"/>
          </a:xfrm>
          <a:prstGeom prst="roundRect">
            <a:avLst>
              <a:gd name="adj" fmla="val 1909"/>
            </a:avLst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38100" dist="12700" dir="5400000" algn="ctr" rotWithShape="0">
              <a:schemeClr val="bg2">
                <a:alpha val="20000"/>
              </a:schemeClr>
            </a:outerShdw>
          </a:effectLst>
        </p:spPr>
        <p:txBody>
          <a:bodyPr vert="horz" lIns="108000" tIns="108000" rIns="108000" bIns="108000" rtlCol="0" anchor="t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600" b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5FC5789-900A-6532-3A57-09CD28A4EE6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520" y="1391861"/>
            <a:ext cx="404786" cy="40478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04E043F-84C1-DE73-9299-8BC2075B3CD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7911" y="1391861"/>
            <a:ext cx="404786" cy="404786"/>
          </a:xfrm>
          <a:prstGeom prst="rect">
            <a:avLst/>
          </a:prstGeom>
        </p:spPr>
      </p:pic>
      <p:pic>
        <p:nvPicPr>
          <p:cNvPr id="14" name="!">
            <a:extLst>
              <a:ext uri="{FF2B5EF4-FFF2-40B4-BE49-F238E27FC236}">
                <a16:creationId xmlns:a16="http://schemas.microsoft.com/office/drawing/2014/main" id="{3ADD715F-9257-02C1-EA94-76993F6B6E7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1979" y="1391861"/>
            <a:ext cx="404786" cy="40478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97B0644-450D-48E0-6E03-EFEF83BC6F9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9887" y="1391861"/>
            <a:ext cx="405471" cy="404786"/>
          </a:xfrm>
          <a:prstGeom prst="rect">
            <a:avLst/>
          </a:prstGeom>
        </p:spPr>
      </p:pic>
      <p:pic>
        <p:nvPicPr>
          <p:cNvPr id="30" name="Graphic 494">
            <a:extLst>
              <a:ext uri="{FF2B5EF4-FFF2-40B4-BE49-F238E27FC236}">
                <a16:creationId xmlns:a16="http://schemas.microsoft.com/office/drawing/2014/main" id="{CBD94CDC-C4C2-4041-366C-79D6D8D9C41E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107911" y="4006498"/>
            <a:ext cx="404786" cy="404786"/>
          </a:xfrm>
          <a:prstGeom prst="rect">
            <a:avLst/>
          </a:prstGeom>
        </p:spPr>
      </p:pic>
      <p:sp>
        <p:nvSpPr>
          <p:cNvPr id="31" name="Titel 4">
            <a:extLst>
              <a:ext uri="{FF2B5EF4-FFF2-40B4-BE49-F238E27FC236}">
                <a16:creationId xmlns:a16="http://schemas.microsoft.com/office/drawing/2014/main" id="{05C3864D-D96F-3374-A47F-55B3A0CC15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432000"/>
            <a:ext cx="11088542" cy="738000"/>
          </a:xfrm>
        </p:spPr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Add action title</a:t>
            </a:r>
            <a:br>
              <a:rPr lang="en-US"/>
            </a:br>
            <a:r>
              <a:rPr lang="en-US"/>
              <a:t>max. two lines</a:t>
            </a: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A997C284-BA45-0926-B7DB-61E73C4C3706}"/>
              </a:ext>
            </a:extLst>
          </p:cNvPr>
          <p:cNvSpPr/>
          <p:nvPr/>
        </p:nvSpPr>
        <p:spPr>
          <a:xfrm>
            <a:off x="10073967" y="4907403"/>
            <a:ext cx="464281" cy="978517"/>
          </a:xfrm>
          <a:custGeom>
            <a:avLst/>
            <a:gdLst>
              <a:gd name="connsiteX0" fmla="*/ 232141 w 464281"/>
              <a:gd name="connsiteY0" fmla="*/ 978517 h 978517"/>
              <a:gd name="connsiteX1" fmla="*/ 0 w 464281"/>
              <a:gd name="connsiteY1" fmla="*/ 746377 h 978517"/>
              <a:gd name="connsiteX2" fmla="*/ 0 w 464281"/>
              <a:gd name="connsiteY2" fmla="*/ 232141 h 978517"/>
              <a:gd name="connsiteX3" fmla="*/ 232141 w 464281"/>
              <a:gd name="connsiteY3" fmla="*/ 0 h 978517"/>
              <a:gd name="connsiteX4" fmla="*/ 464281 w 464281"/>
              <a:gd name="connsiteY4" fmla="*/ 232141 h 978517"/>
              <a:gd name="connsiteX5" fmla="*/ 464281 w 464281"/>
              <a:gd name="connsiteY5" fmla="*/ 746377 h 978517"/>
              <a:gd name="connsiteX6" fmla="*/ 232141 w 464281"/>
              <a:gd name="connsiteY6" fmla="*/ 978517 h 978517"/>
              <a:gd name="connsiteX7" fmla="*/ 232141 w 464281"/>
              <a:gd name="connsiteY7" fmla="*/ 19100 h 978517"/>
              <a:gd name="connsiteX8" fmla="*/ 18366 w 464281"/>
              <a:gd name="connsiteY8" fmla="*/ 232875 h 978517"/>
              <a:gd name="connsiteX9" fmla="*/ 18366 w 464281"/>
              <a:gd name="connsiteY9" fmla="*/ 747111 h 978517"/>
              <a:gd name="connsiteX10" fmla="*/ 232141 w 464281"/>
              <a:gd name="connsiteY10" fmla="*/ 960886 h 978517"/>
              <a:gd name="connsiteX11" fmla="*/ 445916 w 464281"/>
              <a:gd name="connsiteY11" fmla="*/ 747111 h 978517"/>
              <a:gd name="connsiteX12" fmla="*/ 445916 w 464281"/>
              <a:gd name="connsiteY12" fmla="*/ 232875 h 978517"/>
              <a:gd name="connsiteX13" fmla="*/ 232141 w 464281"/>
              <a:gd name="connsiteY13" fmla="*/ 19100 h 978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64281" h="978517">
                <a:moveTo>
                  <a:pt x="232141" y="978517"/>
                </a:moveTo>
                <a:cubicBezTo>
                  <a:pt x="104316" y="978517"/>
                  <a:pt x="0" y="874201"/>
                  <a:pt x="0" y="746377"/>
                </a:cubicBezTo>
                <a:lnTo>
                  <a:pt x="0" y="232141"/>
                </a:lnTo>
                <a:cubicBezTo>
                  <a:pt x="0" y="104316"/>
                  <a:pt x="104316" y="0"/>
                  <a:pt x="232141" y="0"/>
                </a:cubicBezTo>
                <a:cubicBezTo>
                  <a:pt x="359965" y="0"/>
                  <a:pt x="464281" y="104316"/>
                  <a:pt x="464281" y="232141"/>
                </a:cubicBezTo>
                <a:lnTo>
                  <a:pt x="464281" y="746377"/>
                </a:lnTo>
                <a:cubicBezTo>
                  <a:pt x="464281" y="874935"/>
                  <a:pt x="359965" y="978517"/>
                  <a:pt x="232141" y="978517"/>
                </a:cubicBezTo>
                <a:close/>
                <a:moveTo>
                  <a:pt x="232141" y="19100"/>
                </a:moveTo>
                <a:cubicBezTo>
                  <a:pt x="114601" y="19100"/>
                  <a:pt x="18366" y="114601"/>
                  <a:pt x="18366" y="232875"/>
                </a:cubicBezTo>
                <a:lnTo>
                  <a:pt x="18366" y="747111"/>
                </a:lnTo>
                <a:cubicBezTo>
                  <a:pt x="18366" y="864651"/>
                  <a:pt x="113866" y="960886"/>
                  <a:pt x="232141" y="960886"/>
                </a:cubicBezTo>
                <a:cubicBezTo>
                  <a:pt x="350415" y="960886"/>
                  <a:pt x="445916" y="864651"/>
                  <a:pt x="445916" y="747111"/>
                </a:cubicBezTo>
                <a:lnTo>
                  <a:pt x="445916" y="232875"/>
                </a:lnTo>
                <a:cubicBezTo>
                  <a:pt x="445916" y="114601"/>
                  <a:pt x="349680" y="19100"/>
                  <a:pt x="232141" y="19100"/>
                </a:cubicBezTo>
                <a:close/>
              </a:path>
            </a:pathLst>
          </a:custGeom>
          <a:solidFill>
            <a:srgbClr val="3C3C3C"/>
          </a:solidFill>
          <a:ln w="7311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BD7E20CF-54D5-CC60-EF76-F9EBB12D6CC8}"/>
              </a:ext>
            </a:extLst>
          </p:cNvPr>
          <p:cNvSpPr/>
          <p:nvPr/>
        </p:nvSpPr>
        <p:spPr>
          <a:xfrm>
            <a:off x="10126125" y="4961030"/>
            <a:ext cx="359965" cy="859508"/>
          </a:xfrm>
          <a:custGeom>
            <a:avLst/>
            <a:gdLst>
              <a:gd name="connsiteX0" fmla="*/ 179983 w 359965"/>
              <a:gd name="connsiteY0" fmla="*/ 859508 h 859508"/>
              <a:gd name="connsiteX1" fmla="*/ 0 w 359965"/>
              <a:gd name="connsiteY1" fmla="*/ 655283 h 859508"/>
              <a:gd name="connsiteX2" fmla="*/ 0 w 359965"/>
              <a:gd name="connsiteY2" fmla="*/ 204225 h 859508"/>
              <a:gd name="connsiteX3" fmla="*/ 179983 w 359965"/>
              <a:gd name="connsiteY3" fmla="*/ 0 h 859508"/>
              <a:gd name="connsiteX4" fmla="*/ 359965 w 359965"/>
              <a:gd name="connsiteY4" fmla="*/ 204225 h 859508"/>
              <a:gd name="connsiteX5" fmla="*/ 359965 w 359965"/>
              <a:gd name="connsiteY5" fmla="*/ 656018 h 859508"/>
              <a:gd name="connsiteX6" fmla="*/ 179983 w 359965"/>
              <a:gd name="connsiteY6" fmla="*/ 859508 h 859508"/>
              <a:gd name="connsiteX7" fmla="*/ 179983 w 359965"/>
              <a:gd name="connsiteY7" fmla="*/ 16162 h 859508"/>
              <a:gd name="connsiteX8" fmla="*/ 13958 w 359965"/>
              <a:gd name="connsiteY8" fmla="*/ 204225 h 859508"/>
              <a:gd name="connsiteX9" fmla="*/ 13958 w 359965"/>
              <a:gd name="connsiteY9" fmla="*/ 656018 h 859508"/>
              <a:gd name="connsiteX10" fmla="*/ 179983 w 359965"/>
              <a:gd name="connsiteY10" fmla="*/ 844081 h 859508"/>
              <a:gd name="connsiteX11" fmla="*/ 346007 w 359965"/>
              <a:gd name="connsiteY11" fmla="*/ 656018 h 859508"/>
              <a:gd name="connsiteX12" fmla="*/ 346007 w 359965"/>
              <a:gd name="connsiteY12" fmla="*/ 204225 h 859508"/>
              <a:gd name="connsiteX13" fmla="*/ 179983 w 359965"/>
              <a:gd name="connsiteY13" fmla="*/ 16162 h 859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59965" h="859508">
                <a:moveTo>
                  <a:pt x="179983" y="859508"/>
                </a:moveTo>
                <a:cubicBezTo>
                  <a:pt x="80808" y="859508"/>
                  <a:pt x="0" y="767681"/>
                  <a:pt x="0" y="655283"/>
                </a:cubicBezTo>
                <a:lnTo>
                  <a:pt x="0" y="204225"/>
                </a:lnTo>
                <a:cubicBezTo>
                  <a:pt x="0" y="91828"/>
                  <a:pt x="80808" y="0"/>
                  <a:pt x="179983" y="0"/>
                </a:cubicBezTo>
                <a:cubicBezTo>
                  <a:pt x="279157" y="0"/>
                  <a:pt x="359965" y="91828"/>
                  <a:pt x="359965" y="204225"/>
                </a:cubicBezTo>
                <a:lnTo>
                  <a:pt x="359965" y="656018"/>
                </a:lnTo>
                <a:cubicBezTo>
                  <a:pt x="359965" y="768415"/>
                  <a:pt x="279157" y="859508"/>
                  <a:pt x="179983" y="859508"/>
                </a:cubicBezTo>
                <a:close/>
                <a:moveTo>
                  <a:pt x="179983" y="16162"/>
                </a:moveTo>
                <a:cubicBezTo>
                  <a:pt x="88889" y="16162"/>
                  <a:pt x="13958" y="100643"/>
                  <a:pt x="13958" y="204225"/>
                </a:cubicBezTo>
                <a:lnTo>
                  <a:pt x="13958" y="656018"/>
                </a:lnTo>
                <a:cubicBezTo>
                  <a:pt x="13958" y="759600"/>
                  <a:pt x="88155" y="844081"/>
                  <a:pt x="179983" y="844081"/>
                </a:cubicBezTo>
                <a:cubicBezTo>
                  <a:pt x="271810" y="844081"/>
                  <a:pt x="346007" y="759600"/>
                  <a:pt x="346007" y="656018"/>
                </a:cubicBezTo>
                <a:lnTo>
                  <a:pt x="346007" y="204225"/>
                </a:lnTo>
                <a:cubicBezTo>
                  <a:pt x="345273" y="100643"/>
                  <a:pt x="271076" y="16162"/>
                  <a:pt x="179983" y="16162"/>
                </a:cubicBezTo>
                <a:close/>
              </a:path>
            </a:pathLst>
          </a:custGeom>
          <a:solidFill>
            <a:srgbClr val="3C3C3C"/>
          </a:solidFill>
          <a:ln w="7311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28D92903-825E-DD51-8AD0-D95C8FEDE9B1}"/>
              </a:ext>
            </a:extLst>
          </p:cNvPr>
          <p:cNvSpPr/>
          <p:nvPr/>
        </p:nvSpPr>
        <p:spPr>
          <a:xfrm>
            <a:off x="10207108" y="5541752"/>
            <a:ext cx="198000" cy="198000"/>
          </a:xfrm>
          <a:custGeom>
            <a:avLst/>
            <a:gdLst>
              <a:gd name="connsiteX0" fmla="*/ 198348 w 198348"/>
              <a:gd name="connsiteY0" fmla="*/ 99174 h 198348"/>
              <a:gd name="connsiteX1" fmla="*/ 99174 w 198348"/>
              <a:gd name="connsiteY1" fmla="*/ 198348 h 198348"/>
              <a:gd name="connsiteX2" fmla="*/ 0 w 198348"/>
              <a:gd name="connsiteY2" fmla="*/ 99174 h 198348"/>
              <a:gd name="connsiteX3" fmla="*/ 99174 w 198348"/>
              <a:gd name="connsiteY3" fmla="*/ 0 h 198348"/>
              <a:gd name="connsiteX4" fmla="*/ 198348 w 198348"/>
              <a:gd name="connsiteY4" fmla="*/ 99174 h 198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348" h="198348">
                <a:moveTo>
                  <a:pt x="198348" y="99174"/>
                </a:moveTo>
                <a:cubicBezTo>
                  <a:pt x="198348" y="153946"/>
                  <a:pt x="153946" y="198348"/>
                  <a:pt x="99174" y="198348"/>
                </a:cubicBezTo>
                <a:cubicBezTo>
                  <a:pt x="44402" y="198348"/>
                  <a:pt x="0" y="153946"/>
                  <a:pt x="0" y="99174"/>
                </a:cubicBezTo>
                <a:cubicBezTo>
                  <a:pt x="0" y="44402"/>
                  <a:pt x="44402" y="0"/>
                  <a:pt x="99174" y="0"/>
                </a:cubicBezTo>
                <a:cubicBezTo>
                  <a:pt x="153946" y="0"/>
                  <a:pt x="198348" y="44402"/>
                  <a:pt x="198348" y="99174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3931F5AF-FCD3-F3BF-6185-7CC2B4B23181}"/>
              </a:ext>
            </a:extLst>
          </p:cNvPr>
          <p:cNvSpPr/>
          <p:nvPr/>
        </p:nvSpPr>
        <p:spPr>
          <a:xfrm>
            <a:off x="10207108" y="5034124"/>
            <a:ext cx="198000" cy="198000"/>
          </a:xfrm>
          <a:custGeom>
            <a:avLst/>
            <a:gdLst>
              <a:gd name="connsiteX0" fmla="*/ 198348 w 198348"/>
              <a:gd name="connsiteY0" fmla="*/ 99174 h 198348"/>
              <a:gd name="connsiteX1" fmla="*/ 99174 w 198348"/>
              <a:gd name="connsiteY1" fmla="*/ 198348 h 198348"/>
              <a:gd name="connsiteX2" fmla="*/ 0 w 198348"/>
              <a:gd name="connsiteY2" fmla="*/ 99174 h 198348"/>
              <a:gd name="connsiteX3" fmla="*/ 99174 w 198348"/>
              <a:gd name="connsiteY3" fmla="*/ 0 h 198348"/>
              <a:gd name="connsiteX4" fmla="*/ 198348 w 198348"/>
              <a:gd name="connsiteY4" fmla="*/ 99174 h 198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348" h="198348">
                <a:moveTo>
                  <a:pt x="198348" y="99174"/>
                </a:moveTo>
                <a:cubicBezTo>
                  <a:pt x="198348" y="153946"/>
                  <a:pt x="153946" y="198348"/>
                  <a:pt x="99174" y="198348"/>
                </a:cubicBezTo>
                <a:cubicBezTo>
                  <a:pt x="44402" y="198348"/>
                  <a:pt x="0" y="153946"/>
                  <a:pt x="0" y="99174"/>
                </a:cubicBezTo>
                <a:cubicBezTo>
                  <a:pt x="0" y="44402"/>
                  <a:pt x="44402" y="0"/>
                  <a:pt x="99174" y="0"/>
                </a:cubicBezTo>
                <a:cubicBezTo>
                  <a:pt x="153946" y="0"/>
                  <a:pt x="198348" y="44402"/>
                  <a:pt x="198348" y="99174"/>
                </a:cubicBezTo>
                <a:close/>
              </a:path>
            </a:pathLst>
          </a:custGeom>
          <a:solidFill>
            <a:schemeClr val="tx2"/>
          </a:solidFill>
          <a:ln w="190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F5E74132-AE0D-5A49-C07A-85FA37DD4F40}"/>
              </a:ext>
            </a:extLst>
          </p:cNvPr>
          <p:cNvSpPr/>
          <p:nvPr/>
        </p:nvSpPr>
        <p:spPr>
          <a:xfrm>
            <a:off x="10207108" y="5287938"/>
            <a:ext cx="198000" cy="198000"/>
          </a:xfrm>
          <a:custGeom>
            <a:avLst/>
            <a:gdLst>
              <a:gd name="connsiteX0" fmla="*/ 198348 w 198348"/>
              <a:gd name="connsiteY0" fmla="*/ 99174 h 198348"/>
              <a:gd name="connsiteX1" fmla="*/ 99174 w 198348"/>
              <a:gd name="connsiteY1" fmla="*/ 198348 h 198348"/>
              <a:gd name="connsiteX2" fmla="*/ 0 w 198348"/>
              <a:gd name="connsiteY2" fmla="*/ 99174 h 198348"/>
              <a:gd name="connsiteX3" fmla="*/ 99174 w 198348"/>
              <a:gd name="connsiteY3" fmla="*/ 0 h 198348"/>
              <a:gd name="connsiteX4" fmla="*/ 198348 w 198348"/>
              <a:gd name="connsiteY4" fmla="*/ 99174 h 198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348" h="198348">
                <a:moveTo>
                  <a:pt x="198348" y="99174"/>
                </a:moveTo>
                <a:cubicBezTo>
                  <a:pt x="198348" y="153946"/>
                  <a:pt x="153946" y="198348"/>
                  <a:pt x="99174" y="198348"/>
                </a:cubicBezTo>
                <a:cubicBezTo>
                  <a:pt x="44402" y="198348"/>
                  <a:pt x="0" y="153946"/>
                  <a:pt x="0" y="99174"/>
                </a:cubicBezTo>
                <a:cubicBezTo>
                  <a:pt x="0" y="44402"/>
                  <a:pt x="44402" y="0"/>
                  <a:pt x="99174" y="0"/>
                </a:cubicBezTo>
                <a:cubicBezTo>
                  <a:pt x="153946" y="0"/>
                  <a:pt x="198348" y="44402"/>
                  <a:pt x="198348" y="99174"/>
                </a:cubicBezTo>
                <a:close/>
              </a:path>
            </a:pathLst>
          </a:custGeom>
          <a:solidFill>
            <a:schemeClr val="bg1"/>
          </a:solidFill>
          <a:ln w="19050" cap="flat">
            <a:solidFill>
              <a:schemeClr val="accent2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44" name="Grafik 19">
            <a:extLst>
              <a:ext uri="{FF2B5EF4-FFF2-40B4-BE49-F238E27FC236}">
                <a16:creationId xmlns:a16="http://schemas.microsoft.com/office/drawing/2014/main" id="{26C46E10-098B-3BB9-71A6-543ACE2E34C6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rot="5400000">
            <a:off x="9791803" y="5035924"/>
            <a:ext cx="261792" cy="194400"/>
          </a:xfrm>
          <a:prstGeom prst="rect">
            <a:avLst/>
          </a:prstGeom>
        </p:spPr>
      </p:pic>
      <p:sp>
        <p:nvSpPr>
          <p:cNvPr id="36" name="Foliennummernplatzhalter 5">
            <a:extLst>
              <a:ext uri="{FF2B5EF4-FFF2-40B4-BE49-F238E27FC236}">
                <a16:creationId xmlns:a16="http://schemas.microsoft.com/office/drawing/2014/main" id="{0E6A7FDC-7A59-AAA0-815B-E16E2586764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939FEEE-CF1E-A36D-157B-95FD92B72225}"/>
              </a:ext>
            </a:extLst>
          </p:cNvPr>
          <p:cNvCxnSpPr>
            <a:cxnSpLocks/>
          </p:cNvCxnSpPr>
          <p:nvPr userDrawn="1"/>
        </p:nvCxnSpPr>
        <p:spPr>
          <a:xfrm>
            <a:off x="550863" y="1876176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74DCE50-B7A8-AD09-B217-90F589FD4EEB}"/>
              </a:ext>
            </a:extLst>
          </p:cNvPr>
          <p:cNvCxnSpPr>
            <a:cxnSpLocks/>
          </p:cNvCxnSpPr>
          <p:nvPr userDrawn="1"/>
        </p:nvCxnSpPr>
        <p:spPr>
          <a:xfrm>
            <a:off x="3358061" y="1876176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7308E1F-E31E-86A8-951F-94C539467E73}"/>
              </a:ext>
            </a:extLst>
          </p:cNvPr>
          <p:cNvCxnSpPr>
            <a:cxnSpLocks/>
          </p:cNvCxnSpPr>
          <p:nvPr userDrawn="1"/>
        </p:nvCxnSpPr>
        <p:spPr>
          <a:xfrm>
            <a:off x="6165355" y="1876176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BBFD196-0548-8046-4A44-46A08D9C45EF}"/>
              </a:ext>
            </a:extLst>
          </p:cNvPr>
          <p:cNvCxnSpPr>
            <a:cxnSpLocks/>
          </p:cNvCxnSpPr>
          <p:nvPr userDrawn="1"/>
        </p:nvCxnSpPr>
        <p:spPr>
          <a:xfrm>
            <a:off x="8972456" y="1876176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8EEE750-6AFF-2302-71CE-32B5140F0327}"/>
              </a:ext>
            </a:extLst>
          </p:cNvPr>
          <p:cNvCxnSpPr>
            <a:cxnSpLocks/>
          </p:cNvCxnSpPr>
          <p:nvPr userDrawn="1"/>
        </p:nvCxnSpPr>
        <p:spPr>
          <a:xfrm>
            <a:off x="6165355" y="4483341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83996E0-9802-E07E-5070-C68CFEFD2283}"/>
              </a:ext>
            </a:extLst>
          </p:cNvPr>
          <p:cNvCxnSpPr>
            <a:cxnSpLocks/>
          </p:cNvCxnSpPr>
          <p:nvPr userDrawn="1"/>
        </p:nvCxnSpPr>
        <p:spPr>
          <a:xfrm>
            <a:off x="8972456" y="4483341"/>
            <a:ext cx="2661997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platzhalter 16">
            <a:extLst>
              <a:ext uri="{FF2B5EF4-FFF2-40B4-BE49-F238E27FC236}">
                <a16:creationId xmlns:a16="http://schemas.microsoft.com/office/drawing/2014/main" id="{E1562768-F39B-1338-4DF4-40D2FAEA69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7423" y="1882886"/>
            <a:ext cx="2655342" cy="4432666"/>
          </a:xfrm>
          <a:prstGeom prst="rect">
            <a:avLst/>
          </a:prstGeom>
        </p:spPr>
        <p:txBody>
          <a:bodyPr vert="horz" lIns="108000" tIns="108000" rIns="108000" bIns="108000" rtlCol="0">
            <a:noAutofit/>
          </a:bodyPr>
          <a:lstStyle>
            <a:lvl2pPr>
              <a:defRPr lang="en-US" dirty="0">
                <a:latin typeface="Poppins" panose="00000500000000000000" pitchFamily="2" charset="0"/>
              </a:defRPr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id="{99F4B1D5-1CED-F699-67EC-EBEBD737D56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64683" y="1882886"/>
            <a:ext cx="2655342" cy="4432666"/>
          </a:xfrm>
          <a:prstGeom prst="rect">
            <a:avLst/>
          </a:prstGeom>
        </p:spPr>
        <p:txBody>
          <a:bodyPr vert="horz" lIns="108000" tIns="108000" rIns="108000" bIns="108000" rtlCol="0">
            <a:noAutofit/>
          </a:bodyPr>
          <a:lstStyle>
            <a:lvl2pPr>
              <a:defRPr lang="en-US" dirty="0">
                <a:latin typeface="Poppins" panose="00000500000000000000" pitchFamily="2" charset="0"/>
              </a:defRPr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9" name="Textplatzhalter 16">
            <a:extLst>
              <a:ext uri="{FF2B5EF4-FFF2-40B4-BE49-F238E27FC236}">
                <a16:creationId xmlns:a16="http://schemas.microsoft.com/office/drawing/2014/main" id="{127F6A07-83D6-B0D7-A5A0-0FC4097FE4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71881" y="1882885"/>
            <a:ext cx="2655342" cy="1861685"/>
          </a:xfrm>
          <a:prstGeom prst="rect">
            <a:avLst/>
          </a:prstGeom>
        </p:spPr>
        <p:txBody>
          <a:bodyPr vert="horz" lIns="108000" tIns="108000" rIns="108000" bIns="108000" rtlCol="0">
            <a:noAutofit/>
          </a:bodyPr>
          <a:lstStyle>
            <a:lvl2pPr>
              <a:defRPr lang="en-US" dirty="0">
                <a:latin typeface="Poppins" panose="00000500000000000000" pitchFamily="2" charset="0"/>
              </a:defRPr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0" name="Textplatzhalter 16">
            <a:extLst>
              <a:ext uri="{FF2B5EF4-FFF2-40B4-BE49-F238E27FC236}">
                <a16:creationId xmlns:a16="http://schemas.microsoft.com/office/drawing/2014/main" id="{0DAC1689-23FD-BE3B-664E-B161F658A46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79175" y="1882885"/>
            <a:ext cx="2655342" cy="1861685"/>
          </a:xfrm>
          <a:prstGeom prst="rect">
            <a:avLst/>
          </a:prstGeom>
        </p:spPr>
        <p:txBody>
          <a:bodyPr vert="horz" lIns="108000" tIns="108000" rIns="108000" bIns="108000" rtlCol="0">
            <a:noAutofit/>
          </a:bodyPr>
          <a:lstStyle>
            <a:lvl2pPr>
              <a:defRPr lang="en-US" dirty="0">
                <a:latin typeface="Poppins" panose="00000500000000000000" pitchFamily="2" charset="0"/>
              </a:defRPr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1" name="Textplatzhalter 16">
            <a:extLst>
              <a:ext uri="{FF2B5EF4-FFF2-40B4-BE49-F238E27FC236}">
                <a16:creationId xmlns:a16="http://schemas.microsoft.com/office/drawing/2014/main" id="{37F88081-FC06-A945-4651-BE2D9534FFA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1881" y="4483341"/>
            <a:ext cx="2655342" cy="1825384"/>
          </a:xfrm>
          <a:prstGeom prst="rect">
            <a:avLst/>
          </a:prstGeom>
        </p:spPr>
        <p:txBody>
          <a:bodyPr vert="horz" lIns="108000" tIns="108000" rIns="108000" bIns="108000" rtlCol="0">
            <a:noAutofit/>
          </a:bodyPr>
          <a:lstStyle>
            <a:lvl2pPr>
              <a:defRPr lang="en-US" dirty="0">
                <a:latin typeface="Poppins" panose="00000500000000000000" pitchFamily="2" charset="0"/>
              </a:defRPr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5177D7FF-28B3-BF41-2D62-AEF37CCE64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ource/Note: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F92B14-F037-C2BB-5D1F-E5ACD74192E0}"/>
              </a:ext>
            </a:extLst>
          </p:cNvPr>
          <p:cNvSpPr txBox="1"/>
          <p:nvPr userDrawn="1"/>
        </p:nvSpPr>
        <p:spPr>
          <a:xfrm>
            <a:off x="1077014" y="1424977"/>
            <a:ext cx="175551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Key result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238D06E-3CB3-991D-7F08-24FD013E7E3F}"/>
              </a:ext>
            </a:extLst>
          </p:cNvPr>
          <p:cNvSpPr txBox="1"/>
          <p:nvPr userDrawn="1"/>
        </p:nvSpPr>
        <p:spPr>
          <a:xfrm>
            <a:off x="3884275" y="1424977"/>
            <a:ext cx="212467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Next activities</a:t>
            </a:r>
            <a:endParaRPr lang="en-US" sz="1400" i="1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8032768-1C55-6A74-4A92-B77EE41B9E81}"/>
              </a:ext>
            </a:extLst>
          </p:cNvPr>
          <p:cNvSpPr txBox="1"/>
          <p:nvPr userDrawn="1"/>
        </p:nvSpPr>
        <p:spPr>
          <a:xfrm>
            <a:off x="6691473" y="1424977"/>
            <a:ext cx="212467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Risks / problem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C26004C-597E-9EAB-F080-9F2BCF5BFE77}"/>
              </a:ext>
            </a:extLst>
          </p:cNvPr>
          <p:cNvSpPr txBox="1"/>
          <p:nvPr userDrawn="1"/>
        </p:nvSpPr>
        <p:spPr>
          <a:xfrm>
            <a:off x="9498766" y="1424977"/>
            <a:ext cx="212467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For your inform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BB7DEE2-E309-1761-771A-053FC138059A}"/>
              </a:ext>
            </a:extLst>
          </p:cNvPr>
          <p:cNvSpPr txBox="1"/>
          <p:nvPr userDrawn="1"/>
        </p:nvSpPr>
        <p:spPr>
          <a:xfrm>
            <a:off x="6691473" y="3916504"/>
            <a:ext cx="212467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Support / </a:t>
            </a:r>
            <a:b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</a:b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decision ne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0FD620A-F9D4-13EF-C4A8-A7AB9C53563F}"/>
              </a:ext>
            </a:extLst>
          </p:cNvPr>
          <p:cNvSpPr txBox="1"/>
          <p:nvPr userDrawn="1"/>
        </p:nvSpPr>
        <p:spPr>
          <a:xfrm>
            <a:off x="9512697" y="4037831"/>
            <a:ext cx="198324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83747">
              <a:spcBef>
                <a:spcPts val="1200"/>
              </a:spcBef>
            </a:pPr>
            <a:r>
              <a:rPr lang="en-US" sz="1400" b="1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Status</a:t>
            </a:r>
          </a:p>
        </p:txBody>
      </p:sp>
    </p:spTree>
    <p:extLst>
      <p:ext uri="{BB962C8B-B14F-4D97-AF65-F5344CB8AC3E}">
        <p14:creationId xmlns:p14="http://schemas.microsoft.com/office/powerpoint/2010/main" val="2032652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7AB38E-449C-4362-AC3F-A7867C0D69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7174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7AB38E-449C-4362-AC3F-A7867C0D6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4">
            <a:extLst>
              <a:ext uri="{FF2B5EF4-FFF2-40B4-BE49-F238E27FC236}">
                <a16:creationId xmlns:a16="http://schemas.microsoft.com/office/drawing/2014/main" id="{950696F6-6CCF-16AE-D458-8E5324F0D489}"/>
              </a:ext>
            </a:extLst>
          </p:cNvPr>
          <p:cNvSpPr/>
          <p:nvPr userDrawn="1"/>
        </p:nvSpPr>
        <p:spPr>
          <a:xfrm>
            <a:off x="-26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50000">
                <a:schemeClr val="accent2"/>
              </a:gs>
              <a:gs pos="100000">
                <a:schemeClr val="tx1">
                  <a:lumMod val="75000"/>
                  <a:lumOff val="25000"/>
                </a:schemeClr>
              </a:gs>
            </a:gsLst>
            <a:lin ang="19800000" scaled="0"/>
            <a:tileRect/>
          </a:gradFill>
          <a:ln w="6350">
            <a:noFill/>
          </a:ln>
        </p:spPr>
        <p:txBody>
          <a:bodyPr vert="horz" lIns="108109" tIns="108109" rIns="108109" bIns="108109" rtlCol="0" anchor="ctr">
            <a:noAutofit/>
          </a:bodyPr>
          <a:lstStyle/>
          <a:p>
            <a:pPr lvl="0" algn="ctr" defTabSz="1083747">
              <a:spcBef>
                <a:spcPts val="1200"/>
              </a:spcBef>
            </a:pPr>
            <a:endParaRPr lang="en-US" sz="1600" dirty="0"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6839FCC-2CE5-4BE8-A47D-F64FBB8EA7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de-DE" sz="3200" b="1" i="0" baseline="0" dirty="0">
              <a:latin typeface="Poppins" panose="00000500000000000000" pitchFamily="2" charset="0"/>
              <a:ea typeface="+mj-ea"/>
              <a:cs typeface="Poppins" panose="00000500000000000000" pitchFamily="2" charset="0"/>
              <a:sym typeface="Segoe UI Semibold" panose="020B07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9F32A0-D26D-4F19-B473-2E0AA456A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2634405"/>
            <a:ext cx="11089753" cy="855917"/>
          </a:xfrm>
        </p:spPr>
        <p:txBody>
          <a:bodyPr vert="horz" lIns="0" tIns="0" rIns="216000" bIns="0" rtlCol="0" anchor="ctr">
            <a:noAutofit/>
          </a:bodyPr>
          <a:lstStyle>
            <a:lvl1pPr algn="ctr" rtl="0">
              <a:defRPr lang="en-US" sz="4000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„This is a quote!“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7AB620D-E28D-4723-B954-93517545D3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52854" y="4653136"/>
            <a:ext cx="3687762" cy="288256"/>
          </a:xfrm>
          <a:prstGeom prst="rect">
            <a:avLst/>
          </a:prstGeom>
        </p:spPr>
        <p:txBody>
          <a:bodyPr/>
          <a:lstStyle>
            <a:lvl1pPr algn="r" rtl="0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- John Doe 2019</a:t>
            </a:r>
          </a:p>
        </p:txBody>
      </p:sp>
      <p:sp>
        <p:nvSpPr>
          <p:cNvPr id="19" name="Text Placeholder 28">
            <a:extLst>
              <a:ext uri="{FF2B5EF4-FFF2-40B4-BE49-F238E27FC236}">
                <a16:creationId xmlns:a16="http://schemas.microsoft.com/office/drawing/2014/main" id="{557B2A78-33EA-305B-49F1-4B26D84D3A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3538830"/>
            <a:ext cx="11089752" cy="637840"/>
          </a:xfrm>
          <a:prstGeom prst="rect">
            <a:avLst/>
          </a:prstGeom>
        </p:spPr>
        <p:txBody>
          <a:bodyPr/>
          <a:lstStyle>
            <a:lvl1pPr algn="ctr" rtl="0">
              <a:defRPr sz="4000" i="1">
                <a:solidFill>
                  <a:schemeClr val="bg1"/>
                </a:solidFill>
              </a:defRPr>
            </a:lvl1pPr>
            <a:lvl2pPr>
              <a:defRPr sz="4000" i="1">
                <a:solidFill>
                  <a:schemeClr val="bg1"/>
                </a:solidFill>
              </a:defRPr>
            </a:lvl2pPr>
            <a:lvl3pPr>
              <a:defRPr sz="4000" i="1">
                <a:solidFill>
                  <a:schemeClr val="bg1"/>
                </a:solidFill>
              </a:defRPr>
            </a:lvl3pPr>
            <a:lvl4pPr>
              <a:defRPr sz="4000" i="1">
                <a:solidFill>
                  <a:schemeClr val="bg1"/>
                </a:solidFill>
              </a:defRPr>
            </a:lvl4pPr>
            <a:lvl5pPr>
              <a:defRPr sz="4000" i="1">
                <a:solidFill>
                  <a:schemeClr val="bg1"/>
                </a:solidFill>
              </a:defRPr>
            </a:lvl5pPr>
          </a:lstStyle>
          <a:p>
            <a:r>
              <a:rPr lang="en-US" sz="4000" i="1" noProof="0">
                <a:latin typeface="Poppins Light" panose="00000400000000000000" pitchFamily="2" charset="0"/>
                <a:cs typeface="Poppins Light" panose="00000400000000000000" pitchFamily="2" charset="0"/>
              </a:rPr>
              <a:t>And maybe something add?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68F62D-0B1C-B5ED-8D4E-C36A59A678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3EC9B86F-0D4A-FA98-96F6-A5968E85157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273089" y="6706186"/>
            <a:ext cx="3382336" cy="1077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indent="0" algn="r">
              <a:spcBef>
                <a:spcPts val="1500"/>
              </a:spcBef>
              <a:buFontTx/>
              <a:buNone/>
              <a:defRPr sz="700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  <a:lvl2pPr marL="270000" indent="-268288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>
                <a:latin typeface="Arial" pitchFamily="34" charset="0"/>
                <a:cs typeface="Arial" pitchFamily="34" charset="0"/>
              </a:defRPr>
            </a:lvl2pPr>
            <a:lvl3pPr marL="540000" indent="-268288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>
                <a:latin typeface="Arial" pitchFamily="34" charset="0"/>
                <a:cs typeface="Arial" pitchFamily="34" charset="0"/>
              </a:defRPr>
            </a:lvl3pPr>
            <a:lvl4pPr marL="810000" indent="-270000">
              <a:spcBef>
                <a:spcPts val="500"/>
              </a:spcBef>
              <a:buFont typeface="Arial" pitchFamily="34" charset="0"/>
              <a:buChar char="–"/>
              <a:defRPr sz="1400">
                <a:latin typeface="Arial" pitchFamily="34" charset="0"/>
                <a:cs typeface="Arial" pitchFamily="34" charset="0"/>
              </a:defRPr>
            </a:lvl4pPr>
            <a:lvl5pPr marL="810000" indent="0">
              <a:spcBef>
                <a:spcPts val="500"/>
              </a:spcBef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en-US" noProof="0" dirty="0">
                <a:sym typeface="Segoe UI" panose="020B0502040204020203" pitchFamily="34" charset="0"/>
              </a:rPr>
              <a:t>© by FEV – all rights reserved. Confidential – no passing on to third parties  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05BC56B-D53C-496E-744E-3D628AD94A9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38508" y="840326"/>
            <a:ext cx="702000" cy="267011"/>
            <a:chOff x="5975501" y="3608175"/>
            <a:chExt cx="3050378" cy="1160231"/>
          </a:xfrm>
          <a:solidFill>
            <a:schemeClr val="bg1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CD547B8-0696-6CAB-AB1D-CDDC913951FB}"/>
                </a:ext>
              </a:extLst>
            </p:cNvPr>
            <p:cNvSpPr/>
            <p:nvPr/>
          </p:nvSpPr>
          <p:spPr>
            <a:xfrm>
              <a:off x="7098250" y="3614987"/>
              <a:ext cx="608847" cy="620768"/>
            </a:xfrm>
            <a:custGeom>
              <a:avLst/>
              <a:gdLst>
                <a:gd name="connsiteX0" fmla="*/ 369141 w 608847"/>
                <a:gd name="connsiteY0" fmla="*/ 620769 h 620768"/>
                <a:gd name="connsiteX1" fmla="*/ 608848 w 608847"/>
                <a:gd name="connsiteY1" fmla="*/ 0 h 620768"/>
                <a:gd name="connsiteX2" fmla="*/ 485375 w 608847"/>
                <a:gd name="connsiteY2" fmla="*/ 0 h 620768"/>
                <a:gd name="connsiteX3" fmla="*/ 304424 w 608847"/>
                <a:gd name="connsiteY3" fmla="*/ 467493 h 620768"/>
                <a:gd name="connsiteX4" fmla="*/ 123473 w 608847"/>
                <a:gd name="connsiteY4" fmla="*/ 0 h 620768"/>
                <a:gd name="connsiteX5" fmla="*/ 0 w 608847"/>
                <a:gd name="connsiteY5" fmla="*/ 0 h 620768"/>
                <a:gd name="connsiteX6" fmla="*/ 240133 w 608847"/>
                <a:gd name="connsiteY6" fmla="*/ 620769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8847" h="620768">
                  <a:moveTo>
                    <a:pt x="369141" y="620769"/>
                  </a:moveTo>
                  <a:lnTo>
                    <a:pt x="608848" y="0"/>
                  </a:lnTo>
                  <a:lnTo>
                    <a:pt x="485375" y="0"/>
                  </a:lnTo>
                  <a:lnTo>
                    <a:pt x="304424" y="467493"/>
                  </a:lnTo>
                  <a:lnTo>
                    <a:pt x="123473" y="0"/>
                  </a:lnTo>
                  <a:lnTo>
                    <a:pt x="0" y="0"/>
                  </a:lnTo>
                  <a:lnTo>
                    <a:pt x="240133" y="620769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9058D89-580B-B526-622D-A42F6951E4E2}"/>
                </a:ext>
              </a:extLst>
            </p:cNvPr>
            <p:cNvSpPr/>
            <p:nvPr/>
          </p:nvSpPr>
          <p:spPr>
            <a:xfrm>
              <a:off x="5975501" y="3614987"/>
              <a:ext cx="505386" cy="620768"/>
            </a:xfrm>
            <a:custGeom>
              <a:avLst/>
              <a:gdLst>
                <a:gd name="connsiteX0" fmla="*/ 505386 w 505386"/>
                <a:gd name="connsiteY0" fmla="*/ 114957 h 620768"/>
                <a:gd name="connsiteX1" fmla="*/ 505386 w 505386"/>
                <a:gd name="connsiteY1" fmla="*/ 0 h 620768"/>
                <a:gd name="connsiteX2" fmla="*/ 144335 w 505386"/>
                <a:gd name="connsiteY2" fmla="*/ 0 h 620768"/>
                <a:gd name="connsiteX3" fmla="*/ 0 w 505386"/>
                <a:gd name="connsiteY3" fmla="*/ 144335 h 620768"/>
                <a:gd name="connsiteX4" fmla="*/ 0 w 505386"/>
                <a:gd name="connsiteY4" fmla="*/ 620769 h 620768"/>
                <a:gd name="connsiteX5" fmla="*/ 115809 w 505386"/>
                <a:gd name="connsiteY5" fmla="*/ 620769 h 620768"/>
                <a:gd name="connsiteX6" fmla="*/ 115809 w 505386"/>
                <a:gd name="connsiteY6" fmla="*/ 389577 h 620768"/>
                <a:gd name="connsiteX7" fmla="*/ 389577 w 505386"/>
                <a:gd name="connsiteY7" fmla="*/ 389577 h 620768"/>
                <a:gd name="connsiteX8" fmla="*/ 389577 w 505386"/>
                <a:gd name="connsiteY8" fmla="*/ 288670 h 620768"/>
                <a:gd name="connsiteX9" fmla="*/ 115383 w 505386"/>
                <a:gd name="connsiteY9" fmla="*/ 288670 h 620768"/>
                <a:gd name="connsiteX10" fmla="*/ 115383 w 505386"/>
                <a:gd name="connsiteY10" fmla="*/ 144335 h 620768"/>
                <a:gd name="connsiteX11" fmla="*/ 143909 w 505386"/>
                <a:gd name="connsiteY11" fmla="*/ 115809 h 620768"/>
                <a:gd name="connsiteX12" fmla="*/ 504960 w 505386"/>
                <a:gd name="connsiteY12" fmla="*/ 115809 h 620768"/>
                <a:gd name="connsiteX13" fmla="*/ 504960 w 505386"/>
                <a:gd name="connsiteY13" fmla="*/ 114957 h 620768"/>
                <a:gd name="connsiteX14" fmla="*/ 505386 w 505386"/>
                <a:gd name="connsiteY14" fmla="*/ 114957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5386" h="620768">
                  <a:moveTo>
                    <a:pt x="505386" y="114957"/>
                  </a:moveTo>
                  <a:lnTo>
                    <a:pt x="505386" y="0"/>
                  </a:lnTo>
                  <a:lnTo>
                    <a:pt x="144335" y="0"/>
                  </a:lnTo>
                  <a:cubicBezTo>
                    <a:pt x="64717" y="0"/>
                    <a:pt x="0" y="64717"/>
                    <a:pt x="0" y="144335"/>
                  </a:cubicBezTo>
                  <a:lnTo>
                    <a:pt x="0" y="620769"/>
                  </a:lnTo>
                  <a:lnTo>
                    <a:pt x="115809" y="620769"/>
                  </a:lnTo>
                  <a:lnTo>
                    <a:pt x="115809" y="389577"/>
                  </a:lnTo>
                  <a:lnTo>
                    <a:pt x="389577" y="389577"/>
                  </a:lnTo>
                  <a:lnTo>
                    <a:pt x="389577" y="288670"/>
                  </a:lnTo>
                  <a:lnTo>
                    <a:pt x="115383" y="288670"/>
                  </a:lnTo>
                  <a:lnTo>
                    <a:pt x="115383" y="144335"/>
                  </a:lnTo>
                  <a:cubicBezTo>
                    <a:pt x="115383" y="128582"/>
                    <a:pt x="128156" y="115809"/>
                    <a:pt x="143909" y="115809"/>
                  </a:cubicBezTo>
                  <a:lnTo>
                    <a:pt x="504960" y="115809"/>
                  </a:lnTo>
                  <a:lnTo>
                    <a:pt x="504960" y="114957"/>
                  </a:lnTo>
                  <a:lnTo>
                    <a:pt x="505386" y="114957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5B923567-CB7B-E78E-EFCC-3E53F810D15A}"/>
                </a:ext>
              </a:extLst>
            </p:cNvPr>
            <p:cNvSpPr/>
            <p:nvPr/>
          </p:nvSpPr>
          <p:spPr>
            <a:xfrm>
              <a:off x="6487699" y="3608175"/>
              <a:ext cx="625452" cy="635245"/>
            </a:xfrm>
            <a:custGeom>
              <a:avLst/>
              <a:gdLst>
                <a:gd name="connsiteX0" fmla="*/ 503257 w 625452"/>
                <a:gd name="connsiteY0" fmla="*/ 395964 h 635245"/>
                <a:gd name="connsiteX1" fmla="*/ 317197 w 625452"/>
                <a:gd name="connsiteY1" fmla="*/ 518585 h 635245"/>
                <a:gd name="connsiteX2" fmla="*/ 172862 w 625452"/>
                <a:gd name="connsiteY2" fmla="*/ 458126 h 635245"/>
                <a:gd name="connsiteX3" fmla="*/ 512198 w 625452"/>
                <a:gd name="connsiteY3" fmla="*/ 262699 h 635245"/>
                <a:gd name="connsiteX4" fmla="*/ 614383 w 625452"/>
                <a:gd name="connsiteY4" fmla="*/ 203943 h 635245"/>
                <a:gd name="connsiteX5" fmla="*/ 563716 w 625452"/>
                <a:gd name="connsiteY5" fmla="*/ 116660 h 635245"/>
                <a:gd name="connsiteX6" fmla="*/ 317623 w 625452"/>
                <a:gd name="connsiteY6" fmla="*/ 0 h 635245"/>
                <a:gd name="connsiteX7" fmla="*/ 0 w 625452"/>
                <a:gd name="connsiteY7" fmla="*/ 317623 h 635245"/>
                <a:gd name="connsiteX8" fmla="*/ 20863 w 625452"/>
                <a:gd name="connsiteY8" fmla="*/ 430877 h 635245"/>
                <a:gd name="connsiteX9" fmla="*/ 71529 w 625452"/>
                <a:gd name="connsiteY9" fmla="*/ 518159 h 635245"/>
                <a:gd name="connsiteX10" fmla="*/ 317623 w 625452"/>
                <a:gd name="connsiteY10" fmla="*/ 635245 h 635245"/>
                <a:gd name="connsiteX11" fmla="*/ 625453 w 625452"/>
                <a:gd name="connsiteY11" fmla="*/ 397241 h 635245"/>
                <a:gd name="connsiteX12" fmla="*/ 503257 w 625452"/>
                <a:gd name="connsiteY12" fmla="*/ 395964 h 635245"/>
                <a:gd name="connsiteX13" fmla="*/ 503257 w 625452"/>
                <a:gd name="connsiteY13" fmla="*/ 395964 h 635245"/>
                <a:gd name="connsiteX14" fmla="*/ 115383 w 625452"/>
                <a:gd name="connsiteY14" fmla="*/ 316771 h 635245"/>
                <a:gd name="connsiteX15" fmla="*/ 317623 w 625452"/>
                <a:gd name="connsiteY15" fmla="*/ 114531 h 635245"/>
                <a:gd name="connsiteX16" fmla="*/ 461958 w 625452"/>
                <a:gd name="connsiteY16" fmla="*/ 174990 h 635245"/>
                <a:gd name="connsiteX17" fmla="*/ 123047 w 625452"/>
                <a:gd name="connsiteY17" fmla="*/ 370844 h 635245"/>
                <a:gd name="connsiteX18" fmla="*/ 115383 w 625452"/>
                <a:gd name="connsiteY18" fmla="*/ 316771 h 63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5452" h="635245">
                  <a:moveTo>
                    <a:pt x="503257" y="395964"/>
                  </a:moveTo>
                  <a:cubicBezTo>
                    <a:pt x="472602" y="467918"/>
                    <a:pt x="401073" y="518585"/>
                    <a:pt x="317197" y="518585"/>
                  </a:cubicBezTo>
                  <a:cubicBezTo>
                    <a:pt x="260570" y="518585"/>
                    <a:pt x="209478" y="495593"/>
                    <a:pt x="172862" y="458126"/>
                  </a:cubicBezTo>
                  <a:lnTo>
                    <a:pt x="512198" y="262699"/>
                  </a:lnTo>
                  <a:lnTo>
                    <a:pt x="614383" y="203943"/>
                  </a:lnTo>
                  <a:cubicBezTo>
                    <a:pt x="602035" y="172010"/>
                    <a:pt x="585005" y="142632"/>
                    <a:pt x="563716" y="116660"/>
                  </a:cubicBezTo>
                  <a:cubicBezTo>
                    <a:pt x="505812" y="45131"/>
                    <a:pt x="417252" y="0"/>
                    <a:pt x="317623" y="0"/>
                  </a:cubicBezTo>
                  <a:cubicBezTo>
                    <a:pt x="142206" y="0"/>
                    <a:pt x="0" y="142206"/>
                    <a:pt x="0" y="317623"/>
                  </a:cubicBezTo>
                  <a:cubicBezTo>
                    <a:pt x="0" y="357219"/>
                    <a:pt x="7238" y="395538"/>
                    <a:pt x="20863" y="430877"/>
                  </a:cubicBezTo>
                  <a:cubicBezTo>
                    <a:pt x="33210" y="462809"/>
                    <a:pt x="50241" y="492187"/>
                    <a:pt x="71529" y="518159"/>
                  </a:cubicBezTo>
                  <a:cubicBezTo>
                    <a:pt x="129859" y="589688"/>
                    <a:pt x="218419" y="635245"/>
                    <a:pt x="317623" y="635245"/>
                  </a:cubicBezTo>
                  <a:cubicBezTo>
                    <a:pt x="465790" y="635245"/>
                    <a:pt x="589688" y="534338"/>
                    <a:pt x="625453" y="397241"/>
                  </a:cubicBezTo>
                  <a:lnTo>
                    <a:pt x="503257" y="395964"/>
                  </a:lnTo>
                  <a:lnTo>
                    <a:pt x="503257" y="395964"/>
                  </a:lnTo>
                  <a:close/>
                  <a:moveTo>
                    <a:pt x="115383" y="316771"/>
                  </a:moveTo>
                  <a:cubicBezTo>
                    <a:pt x="115383" y="205220"/>
                    <a:pt x="206072" y="114531"/>
                    <a:pt x="317623" y="114531"/>
                  </a:cubicBezTo>
                  <a:cubicBezTo>
                    <a:pt x="374250" y="114531"/>
                    <a:pt x="425342" y="137523"/>
                    <a:pt x="461958" y="174990"/>
                  </a:cubicBezTo>
                  <a:lnTo>
                    <a:pt x="123047" y="370844"/>
                  </a:lnTo>
                  <a:cubicBezTo>
                    <a:pt x="118363" y="353813"/>
                    <a:pt x="115383" y="335931"/>
                    <a:pt x="115383" y="316771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16EDC95-CA6D-EBA5-8693-FD6C13E86D28}"/>
                </a:ext>
              </a:extLst>
            </p:cNvPr>
            <p:cNvSpPr/>
            <p:nvPr/>
          </p:nvSpPr>
          <p:spPr>
            <a:xfrm>
              <a:off x="8659524" y="4396917"/>
              <a:ext cx="366355" cy="371489"/>
            </a:xfrm>
            <a:custGeom>
              <a:avLst/>
              <a:gdLst>
                <a:gd name="connsiteX0" fmla="*/ 242704 w 366355"/>
                <a:gd name="connsiteY0" fmla="*/ 64921 h 371489"/>
                <a:gd name="connsiteX1" fmla="*/ 180542 w 366355"/>
                <a:gd name="connsiteY1" fmla="*/ 44059 h 371489"/>
                <a:gd name="connsiteX2" fmla="*/ 114122 w 366355"/>
                <a:gd name="connsiteY2" fmla="*/ 61941 h 371489"/>
                <a:gd name="connsiteX3" fmla="*/ 63881 w 366355"/>
                <a:gd name="connsiteY3" fmla="*/ 111330 h 371489"/>
                <a:gd name="connsiteX4" fmla="*/ 47702 w 366355"/>
                <a:gd name="connsiteY4" fmla="*/ 178601 h 371489"/>
                <a:gd name="connsiteX5" fmla="*/ 70268 w 366355"/>
                <a:gd name="connsiteY5" fmla="*/ 252259 h 371489"/>
                <a:gd name="connsiteX6" fmla="*/ 122637 w 366355"/>
                <a:gd name="connsiteY6" fmla="*/ 308460 h 371489"/>
                <a:gd name="connsiteX7" fmla="*/ 188631 w 366355"/>
                <a:gd name="connsiteY7" fmla="*/ 327620 h 371489"/>
                <a:gd name="connsiteX8" fmla="*/ 256328 w 366355"/>
                <a:gd name="connsiteY8" fmla="*/ 308460 h 371489"/>
                <a:gd name="connsiteX9" fmla="*/ 315936 w 366355"/>
                <a:gd name="connsiteY9" fmla="*/ 237357 h 371489"/>
                <a:gd name="connsiteX10" fmla="*/ 307420 w 366355"/>
                <a:gd name="connsiteY10" fmla="*/ 143262 h 371489"/>
                <a:gd name="connsiteX11" fmla="*/ 182245 w 366355"/>
                <a:gd name="connsiteY11" fmla="*/ 215643 h 371489"/>
                <a:gd name="connsiteX12" fmla="*/ 163085 w 366355"/>
                <a:gd name="connsiteY12" fmla="*/ 182433 h 371489"/>
                <a:gd name="connsiteX13" fmla="*/ 331689 w 366355"/>
                <a:gd name="connsiteY13" fmla="*/ 84932 h 371489"/>
                <a:gd name="connsiteX14" fmla="*/ 349571 w 366355"/>
                <a:gd name="connsiteY14" fmla="*/ 116439 h 371489"/>
                <a:gd name="connsiteX15" fmla="*/ 366176 w 366355"/>
                <a:gd name="connsiteY15" fmla="*/ 201167 h 371489"/>
                <a:gd name="connsiteX16" fmla="*/ 341056 w 366355"/>
                <a:gd name="connsiteY16" fmla="*/ 283766 h 371489"/>
                <a:gd name="connsiteX17" fmla="*/ 276765 w 366355"/>
                <a:gd name="connsiteY17" fmla="*/ 345928 h 371489"/>
                <a:gd name="connsiteX18" fmla="*/ 185225 w 366355"/>
                <a:gd name="connsiteY18" fmla="*/ 371474 h 371489"/>
                <a:gd name="connsiteX19" fmla="*/ 95388 w 366355"/>
                <a:gd name="connsiteY19" fmla="*/ 347631 h 371489"/>
                <a:gd name="connsiteX20" fmla="*/ 26840 w 366355"/>
                <a:gd name="connsiteY20" fmla="*/ 277379 h 371489"/>
                <a:gd name="connsiteX21" fmla="*/ 16 w 366355"/>
                <a:gd name="connsiteY21" fmla="*/ 182859 h 371489"/>
                <a:gd name="connsiteX22" fmla="*/ 23859 w 366355"/>
                <a:gd name="connsiteY22" fmla="*/ 93022 h 371489"/>
                <a:gd name="connsiteX23" fmla="*/ 91556 w 366355"/>
                <a:gd name="connsiteY23" fmla="*/ 26602 h 371489"/>
                <a:gd name="connsiteX24" fmla="*/ 194166 w 366355"/>
                <a:gd name="connsiteY24" fmla="*/ 205 h 371489"/>
                <a:gd name="connsiteX25" fmla="*/ 290390 w 366355"/>
                <a:gd name="connsiteY25" fmla="*/ 37672 h 371489"/>
                <a:gd name="connsiteX26" fmla="*/ 242704 w 366355"/>
                <a:gd name="connsiteY26" fmla="*/ 64921 h 371489"/>
                <a:gd name="connsiteX27" fmla="*/ 242704 w 366355"/>
                <a:gd name="connsiteY27" fmla="*/ 64921 h 37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6355" h="371489">
                  <a:moveTo>
                    <a:pt x="242704" y="64921"/>
                  </a:moveTo>
                  <a:cubicBezTo>
                    <a:pt x="223544" y="51722"/>
                    <a:pt x="202682" y="44910"/>
                    <a:pt x="180542" y="44059"/>
                  </a:cubicBezTo>
                  <a:cubicBezTo>
                    <a:pt x="158402" y="43633"/>
                    <a:pt x="135836" y="49594"/>
                    <a:pt x="114122" y="61941"/>
                  </a:cubicBezTo>
                  <a:cubicBezTo>
                    <a:pt x="92408" y="74288"/>
                    <a:pt x="75377" y="91319"/>
                    <a:pt x="63881" y="111330"/>
                  </a:cubicBezTo>
                  <a:cubicBezTo>
                    <a:pt x="52386" y="131341"/>
                    <a:pt x="46425" y="153907"/>
                    <a:pt x="47702" y="178601"/>
                  </a:cubicBezTo>
                  <a:cubicBezTo>
                    <a:pt x="48554" y="203296"/>
                    <a:pt x="56217" y="227564"/>
                    <a:pt x="70268" y="252259"/>
                  </a:cubicBezTo>
                  <a:cubicBezTo>
                    <a:pt x="84318" y="276953"/>
                    <a:pt x="101775" y="295687"/>
                    <a:pt x="122637" y="308460"/>
                  </a:cubicBezTo>
                  <a:cubicBezTo>
                    <a:pt x="143500" y="321233"/>
                    <a:pt x="165214" y="327620"/>
                    <a:pt x="188631" y="327620"/>
                  </a:cubicBezTo>
                  <a:cubicBezTo>
                    <a:pt x="212048" y="327620"/>
                    <a:pt x="234614" y="321233"/>
                    <a:pt x="256328" y="308460"/>
                  </a:cubicBezTo>
                  <a:cubicBezTo>
                    <a:pt x="286983" y="290578"/>
                    <a:pt x="306569" y="267161"/>
                    <a:pt x="315936" y="237357"/>
                  </a:cubicBezTo>
                  <a:cubicBezTo>
                    <a:pt x="325303" y="207979"/>
                    <a:pt x="322322" y="176047"/>
                    <a:pt x="307420" y="143262"/>
                  </a:cubicBezTo>
                  <a:lnTo>
                    <a:pt x="182245" y="215643"/>
                  </a:lnTo>
                  <a:lnTo>
                    <a:pt x="163085" y="182433"/>
                  </a:lnTo>
                  <a:lnTo>
                    <a:pt x="331689" y="84932"/>
                  </a:lnTo>
                  <a:lnTo>
                    <a:pt x="349571" y="116439"/>
                  </a:lnTo>
                  <a:cubicBezTo>
                    <a:pt x="361918" y="143688"/>
                    <a:pt x="367454" y="172215"/>
                    <a:pt x="366176" y="201167"/>
                  </a:cubicBezTo>
                  <a:cubicBezTo>
                    <a:pt x="364899" y="230545"/>
                    <a:pt x="356384" y="258220"/>
                    <a:pt x="341056" y="283766"/>
                  </a:cubicBezTo>
                  <a:cubicBezTo>
                    <a:pt x="325728" y="309312"/>
                    <a:pt x="304014" y="330174"/>
                    <a:pt x="276765" y="345928"/>
                  </a:cubicBezTo>
                  <a:cubicBezTo>
                    <a:pt x="247387" y="362533"/>
                    <a:pt x="217157" y="371474"/>
                    <a:pt x="185225" y="371474"/>
                  </a:cubicBezTo>
                  <a:cubicBezTo>
                    <a:pt x="153292" y="371900"/>
                    <a:pt x="123489" y="363810"/>
                    <a:pt x="95388" y="347631"/>
                  </a:cubicBezTo>
                  <a:cubicBezTo>
                    <a:pt x="67287" y="331452"/>
                    <a:pt x="44722" y="308034"/>
                    <a:pt x="26840" y="277379"/>
                  </a:cubicBezTo>
                  <a:cubicBezTo>
                    <a:pt x="8957" y="246724"/>
                    <a:pt x="442" y="215217"/>
                    <a:pt x="16" y="182859"/>
                  </a:cubicBezTo>
                  <a:cubicBezTo>
                    <a:pt x="-410" y="150500"/>
                    <a:pt x="7680" y="120271"/>
                    <a:pt x="23859" y="93022"/>
                  </a:cubicBezTo>
                  <a:cubicBezTo>
                    <a:pt x="40038" y="65773"/>
                    <a:pt x="62604" y="43207"/>
                    <a:pt x="91556" y="26602"/>
                  </a:cubicBezTo>
                  <a:cubicBezTo>
                    <a:pt x="124766" y="7443"/>
                    <a:pt x="158828" y="-1499"/>
                    <a:pt x="194166" y="205"/>
                  </a:cubicBezTo>
                  <a:cubicBezTo>
                    <a:pt x="229505" y="1908"/>
                    <a:pt x="261437" y="14681"/>
                    <a:pt x="290390" y="37672"/>
                  </a:cubicBezTo>
                  <a:lnTo>
                    <a:pt x="242704" y="64921"/>
                  </a:lnTo>
                  <a:lnTo>
                    <a:pt x="242704" y="64921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ED9ED49-A469-3634-03E9-4E727A049D5D}"/>
                </a:ext>
              </a:extLst>
            </p:cNvPr>
            <p:cNvSpPr/>
            <p:nvPr/>
          </p:nvSpPr>
          <p:spPr>
            <a:xfrm>
              <a:off x="6794252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9 w 284838"/>
                <a:gd name="connsiteY8" fmla="*/ 362754 h 362753"/>
                <a:gd name="connsiteX9" fmla="*/ 284839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9" y="362754"/>
                  </a:lnTo>
                  <a:lnTo>
                    <a:pt x="284839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D2F0E5A-901E-E207-1A38-D8E7E6441841}"/>
                </a:ext>
              </a:extLst>
            </p:cNvPr>
            <p:cNvSpPr/>
            <p:nvPr/>
          </p:nvSpPr>
          <p:spPr>
            <a:xfrm>
              <a:off x="7762873" y="4402657"/>
              <a:ext cx="173713" cy="362328"/>
            </a:xfrm>
            <a:custGeom>
              <a:avLst/>
              <a:gdLst>
                <a:gd name="connsiteX0" fmla="*/ 0 w 173713"/>
                <a:gd name="connsiteY0" fmla="*/ 0 h 362328"/>
                <a:gd name="connsiteX1" fmla="*/ 0 w 173713"/>
                <a:gd name="connsiteY1" fmla="*/ 362328 h 362328"/>
                <a:gd name="connsiteX2" fmla="*/ 173713 w 173713"/>
                <a:gd name="connsiteY2" fmla="*/ 362328 h 362328"/>
                <a:gd name="connsiteX3" fmla="*/ 173713 w 173713"/>
                <a:gd name="connsiteY3" fmla="*/ 323583 h 362328"/>
                <a:gd name="connsiteX4" fmla="*/ 47260 w 173713"/>
                <a:gd name="connsiteY4" fmla="*/ 323583 h 362328"/>
                <a:gd name="connsiteX5" fmla="*/ 47260 w 173713"/>
                <a:gd name="connsiteY5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13" h="362328">
                  <a:moveTo>
                    <a:pt x="0" y="0"/>
                  </a:moveTo>
                  <a:lnTo>
                    <a:pt x="0" y="362328"/>
                  </a:lnTo>
                  <a:lnTo>
                    <a:pt x="173713" y="362328"/>
                  </a:lnTo>
                  <a:lnTo>
                    <a:pt x="173713" y="323583"/>
                  </a:lnTo>
                  <a:lnTo>
                    <a:pt x="47260" y="323583"/>
                  </a:lnTo>
                  <a:lnTo>
                    <a:pt x="47260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9BE6034-DC1D-FB3B-9C51-41CC81099116}"/>
                </a:ext>
              </a:extLst>
            </p:cNvPr>
            <p:cNvSpPr/>
            <p:nvPr/>
          </p:nvSpPr>
          <p:spPr>
            <a:xfrm>
              <a:off x="7909337" y="4402657"/>
              <a:ext cx="245667" cy="362328"/>
            </a:xfrm>
            <a:custGeom>
              <a:avLst/>
              <a:gdLst>
                <a:gd name="connsiteX0" fmla="*/ 0 w 245667"/>
                <a:gd name="connsiteY0" fmla="*/ 0 h 362328"/>
                <a:gd name="connsiteX1" fmla="*/ 0 w 245667"/>
                <a:gd name="connsiteY1" fmla="*/ 38745 h 362328"/>
                <a:gd name="connsiteX2" fmla="*/ 99630 w 245667"/>
                <a:gd name="connsiteY2" fmla="*/ 38745 h 362328"/>
                <a:gd name="connsiteX3" fmla="*/ 99630 w 245667"/>
                <a:gd name="connsiteY3" fmla="*/ 362328 h 362328"/>
                <a:gd name="connsiteX4" fmla="*/ 146890 w 245667"/>
                <a:gd name="connsiteY4" fmla="*/ 362328 h 362328"/>
                <a:gd name="connsiteX5" fmla="*/ 146890 w 245667"/>
                <a:gd name="connsiteY5" fmla="*/ 38745 h 362328"/>
                <a:gd name="connsiteX6" fmla="*/ 245668 w 245667"/>
                <a:gd name="connsiteY6" fmla="*/ 38745 h 362328"/>
                <a:gd name="connsiteX7" fmla="*/ 245668 w 245667"/>
                <a:gd name="connsiteY7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667" h="362328">
                  <a:moveTo>
                    <a:pt x="0" y="0"/>
                  </a:moveTo>
                  <a:lnTo>
                    <a:pt x="0" y="38745"/>
                  </a:lnTo>
                  <a:lnTo>
                    <a:pt x="99630" y="38745"/>
                  </a:lnTo>
                  <a:lnTo>
                    <a:pt x="99630" y="362328"/>
                  </a:lnTo>
                  <a:lnTo>
                    <a:pt x="146890" y="362328"/>
                  </a:lnTo>
                  <a:lnTo>
                    <a:pt x="146890" y="38745"/>
                  </a:lnTo>
                  <a:lnTo>
                    <a:pt x="245668" y="38745"/>
                  </a:lnTo>
                  <a:lnTo>
                    <a:pt x="245668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DA9C1BF-32D7-9A09-7FAF-3BF6BF480AC6}"/>
                </a:ext>
              </a:extLst>
            </p:cNvPr>
            <p:cNvSpPr/>
            <p:nvPr/>
          </p:nvSpPr>
          <p:spPr>
            <a:xfrm>
              <a:off x="8212910" y="4402657"/>
              <a:ext cx="47260" cy="362328"/>
            </a:xfrm>
            <a:custGeom>
              <a:avLst/>
              <a:gdLst>
                <a:gd name="connsiteX0" fmla="*/ 0 w 47260"/>
                <a:gd name="connsiteY0" fmla="*/ 0 h 362328"/>
                <a:gd name="connsiteX1" fmla="*/ 47260 w 47260"/>
                <a:gd name="connsiteY1" fmla="*/ 0 h 362328"/>
                <a:gd name="connsiteX2" fmla="*/ 47260 w 47260"/>
                <a:gd name="connsiteY2" fmla="*/ 362328 h 362328"/>
                <a:gd name="connsiteX3" fmla="*/ 0 w 47260"/>
                <a:gd name="connsiteY3" fmla="*/ 362328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260" h="362328">
                  <a:moveTo>
                    <a:pt x="0" y="0"/>
                  </a:moveTo>
                  <a:lnTo>
                    <a:pt x="47260" y="0"/>
                  </a:lnTo>
                  <a:lnTo>
                    <a:pt x="47260" y="362328"/>
                  </a:lnTo>
                  <a:lnTo>
                    <a:pt x="0" y="362328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CA24481-C0BC-2480-5789-5E8971CAEC48}"/>
                </a:ext>
              </a:extLst>
            </p:cNvPr>
            <p:cNvSpPr/>
            <p:nvPr/>
          </p:nvSpPr>
          <p:spPr>
            <a:xfrm>
              <a:off x="7432478" y="4402657"/>
              <a:ext cx="272065" cy="365734"/>
            </a:xfrm>
            <a:custGeom>
              <a:avLst/>
              <a:gdLst>
                <a:gd name="connsiteX0" fmla="*/ 46834 w 272065"/>
                <a:gd name="connsiteY0" fmla="*/ 0 h 365734"/>
                <a:gd name="connsiteX1" fmla="*/ 46834 w 272065"/>
                <a:gd name="connsiteY1" fmla="*/ 229063 h 365734"/>
                <a:gd name="connsiteX2" fmla="*/ 70252 w 272065"/>
                <a:gd name="connsiteY2" fmla="*/ 300592 h 365734"/>
                <a:gd name="connsiteX3" fmla="*/ 135820 w 272065"/>
                <a:gd name="connsiteY3" fmla="*/ 324009 h 365734"/>
                <a:gd name="connsiteX4" fmla="*/ 201388 w 272065"/>
                <a:gd name="connsiteY4" fmla="*/ 300592 h 365734"/>
                <a:gd name="connsiteX5" fmla="*/ 224805 w 272065"/>
                <a:gd name="connsiteY5" fmla="*/ 229063 h 365734"/>
                <a:gd name="connsiteX6" fmla="*/ 224805 w 272065"/>
                <a:gd name="connsiteY6" fmla="*/ 0 h 365734"/>
                <a:gd name="connsiteX7" fmla="*/ 272066 w 272065"/>
                <a:gd name="connsiteY7" fmla="*/ 0 h 365734"/>
                <a:gd name="connsiteX8" fmla="*/ 272066 w 272065"/>
                <a:gd name="connsiteY8" fmla="*/ 228637 h 365734"/>
                <a:gd name="connsiteX9" fmla="*/ 254183 w 272065"/>
                <a:gd name="connsiteY9" fmla="*/ 304850 h 365734"/>
                <a:gd name="connsiteX10" fmla="*/ 205220 w 272065"/>
                <a:gd name="connsiteY10" fmla="*/ 350832 h 365734"/>
                <a:gd name="connsiteX11" fmla="*/ 135820 w 272065"/>
                <a:gd name="connsiteY11" fmla="*/ 365734 h 365734"/>
                <a:gd name="connsiteX12" fmla="*/ 66420 w 272065"/>
                <a:gd name="connsiteY12" fmla="*/ 350832 h 365734"/>
                <a:gd name="connsiteX13" fmla="*/ 17882 w 272065"/>
                <a:gd name="connsiteY13" fmla="*/ 304850 h 365734"/>
                <a:gd name="connsiteX14" fmla="*/ 0 w 272065"/>
                <a:gd name="connsiteY14" fmla="*/ 228637 h 365734"/>
                <a:gd name="connsiteX15" fmla="*/ 0 w 272065"/>
                <a:gd name="connsiteY15" fmla="*/ 0 h 365734"/>
                <a:gd name="connsiteX16" fmla="*/ 46834 w 272065"/>
                <a:gd name="connsiteY16" fmla="*/ 0 h 365734"/>
                <a:gd name="connsiteX17" fmla="*/ 46834 w 272065"/>
                <a:gd name="connsiteY17" fmla="*/ 0 h 36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2065" h="365734">
                  <a:moveTo>
                    <a:pt x="46834" y="0"/>
                  </a:moveTo>
                  <a:lnTo>
                    <a:pt x="46834" y="229063"/>
                  </a:lnTo>
                  <a:cubicBezTo>
                    <a:pt x="46834" y="261421"/>
                    <a:pt x="54924" y="285264"/>
                    <a:pt x="70252" y="300592"/>
                  </a:cubicBezTo>
                  <a:cubicBezTo>
                    <a:pt x="86005" y="316345"/>
                    <a:pt x="107719" y="324009"/>
                    <a:pt x="135820" y="324009"/>
                  </a:cubicBezTo>
                  <a:cubicBezTo>
                    <a:pt x="163921" y="324009"/>
                    <a:pt x="185209" y="316345"/>
                    <a:pt x="201388" y="300592"/>
                  </a:cubicBezTo>
                  <a:cubicBezTo>
                    <a:pt x="217141" y="284838"/>
                    <a:pt x="224805" y="260995"/>
                    <a:pt x="224805" y="229063"/>
                  </a:cubicBezTo>
                  <a:lnTo>
                    <a:pt x="224805" y="0"/>
                  </a:lnTo>
                  <a:lnTo>
                    <a:pt x="272066" y="0"/>
                  </a:lnTo>
                  <a:lnTo>
                    <a:pt x="272066" y="228637"/>
                  </a:lnTo>
                  <a:cubicBezTo>
                    <a:pt x="272066" y="258867"/>
                    <a:pt x="266105" y="284413"/>
                    <a:pt x="254183" y="304850"/>
                  </a:cubicBezTo>
                  <a:cubicBezTo>
                    <a:pt x="241836" y="325286"/>
                    <a:pt x="225657" y="340614"/>
                    <a:pt x="205220" y="350832"/>
                  </a:cubicBezTo>
                  <a:cubicBezTo>
                    <a:pt x="184783" y="361051"/>
                    <a:pt x="161366" y="365734"/>
                    <a:pt x="135820" y="365734"/>
                  </a:cubicBezTo>
                  <a:cubicBezTo>
                    <a:pt x="110274" y="365734"/>
                    <a:pt x="87282" y="361051"/>
                    <a:pt x="66420" y="350832"/>
                  </a:cubicBezTo>
                  <a:cubicBezTo>
                    <a:pt x="45983" y="340614"/>
                    <a:pt x="29804" y="325286"/>
                    <a:pt x="17882" y="304850"/>
                  </a:cubicBezTo>
                  <a:cubicBezTo>
                    <a:pt x="5961" y="284413"/>
                    <a:pt x="0" y="258867"/>
                    <a:pt x="0" y="228637"/>
                  </a:cubicBezTo>
                  <a:lnTo>
                    <a:pt x="0" y="0"/>
                  </a:lnTo>
                  <a:lnTo>
                    <a:pt x="46834" y="0"/>
                  </a:lnTo>
                  <a:lnTo>
                    <a:pt x="46834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3B8ED59-6126-2FA8-14EC-E18CFE6BD019}"/>
                </a:ext>
              </a:extLst>
            </p:cNvPr>
            <p:cNvSpPr/>
            <p:nvPr/>
          </p:nvSpPr>
          <p:spPr>
            <a:xfrm>
              <a:off x="7136995" y="4398399"/>
              <a:ext cx="245667" cy="369595"/>
            </a:xfrm>
            <a:custGeom>
              <a:avLst/>
              <a:gdLst>
                <a:gd name="connsiteX0" fmla="*/ 61311 w 245667"/>
                <a:gd name="connsiteY0" fmla="*/ 357645 h 369595"/>
                <a:gd name="connsiteX1" fmla="*/ 16605 w 245667"/>
                <a:gd name="connsiteY1" fmla="*/ 322306 h 369595"/>
                <a:gd name="connsiteX2" fmla="*/ 0 w 245667"/>
                <a:gd name="connsiteY2" fmla="*/ 269937 h 369595"/>
                <a:gd name="connsiteX3" fmla="*/ 50241 w 245667"/>
                <a:gd name="connsiteY3" fmla="*/ 269937 h 369595"/>
                <a:gd name="connsiteX4" fmla="*/ 71103 w 245667"/>
                <a:gd name="connsiteY4" fmla="*/ 312513 h 369595"/>
                <a:gd name="connsiteX5" fmla="*/ 124750 w 245667"/>
                <a:gd name="connsiteY5" fmla="*/ 329970 h 369595"/>
                <a:gd name="connsiteX6" fmla="*/ 177971 w 245667"/>
                <a:gd name="connsiteY6" fmla="*/ 312939 h 369595"/>
                <a:gd name="connsiteX7" fmla="*/ 197556 w 245667"/>
                <a:gd name="connsiteY7" fmla="*/ 269511 h 369595"/>
                <a:gd name="connsiteX8" fmla="*/ 186061 w 245667"/>
                <a:gd name="connsiteY8" fmla="*/ 235875 h 369595"/>
                <a:gd name="connsiteX9" fmla="*/ 157534 w 245667"/>
                <a:gd name="connsiteY9" fmla="*/ 216290 h 369595"/>
                <a:gd name="connsiteX10" fmla="*/ 111125 w 245667"/>
                <a:gd name="connsiteY10" fmla="*/ 201814 h 369595"/>
                <a:gd name="connsiteX11" fmla="*/ 53647 w 245667"/>
                <a:gd name="connsiteY11" fmla="*/ 183080 h 369595"/>
                <a:gd name="connsiteX12" fmla="*/ 17031 w 245667"/>
                <a:gd name="connsiteY12" fmla="*/ 153702 h 369595"/>
                <a:gd name="connsiteX13" fmla="*/ 1703 w 245667"/>
                <a:gd name="connsiteY13" fmla="*/ 100055 h 369595"/>
                <a:gd name="connsiteX14" fmla="*/ 16605 w 245667"/>
                <a:gd name="connsiteY14" fmla="*/ 47686 h 369595"/>
                <a:gd name="connsiteX15" fmla="*/ 59182 w 245667"/>
                <a:gd name="connsiteY15" fmla="*/ 12347 h 369595"/>
                <a:gd name="connsiteX16" fmla="*/ 121770 w 245667"/>
                <a:gd name="connsiteY16" fmla="*/ 0 h 369595"/>
                <a:gd name="connsiteX17" fmla="*/ 205220 w 245667"/>
                <a:gd name="connsiteY17" fmla="*/ 25546 h 369595"/>
                <a:gd name="connsiteX18" fmla="*/ 241836 w 245667"/>
                <a:gd name="connsiteY18" fmla="*/ 92817 h 369595"/>
                <a:gd name="connsiteX19" fmla="*/ 189892 w 245667"/>
                <a:gd name="connsiteY19" fmla="*/ 92817 h 369595"/>
                <a:gd name="connsiteX20" fmla="*/ 168178 w 245667"/>
                <a:gd name="connsiteY20" fmla="*/ 56201 h 369595"/>
                <a:gd name="connsiteX21" fmla="*/ 117512 w 245667"/>
                <a:gd name="connsiteY21" fmla="*/ 40022 h 369595"/>
                <a:gd name="connsiteX22" fmla="*/ 68974 w 245667"/>
                <a:gd name="connsiteY22" fmla="*/ 55350 h 369595"/>
                <a:gd name="connsiteX23" fmla="*/ 50241 w 245667"/>
                <a:gd name="connsiteY23" fmla="*/ 97927 h 369595"/>
                <a:gd name="connsiteX24" fmla="*/ 61311 w 245667"/>
                <a:gd name="connsiteY24" fmla="*/ 130285 h 369595"/>
                <a:gd name="connsiteX25" fmla="*/ 88985 w 245667"/>
                <a:gd name="connsiteY25" fmla="*/ 149444 h 369595"/>
                <a:gd name="connsiteX26" fmla="*/ 134968 w 245667"/>
                <a:gd name="connsiteY26" fmla="*/ 164346 h 369595"/>
                <a:gd name="connsiteX27" fmla="*/ 192447 w 245667"/>
                <a:gd name="connsiteY27" fmla="*/ 183932 h 369595"/>
                <a:gd name="connsiteX28" fmla="*/ 229915 w 245667"/>
                <a:gd name="connsiteY28" fmla="*/ 213310 h 369595"/>
                <a:gd name="connsiteX29" fmla="*/ 245668 w 245667"/>
                <a:gd name="connsiteY29" fmla="*/ 267382 h 369595"/>
                <a:gd name="connsiteX30" fmla="*/ 231618 w 245667"/>
                <a:gd name="connsiteY30" fmla="*/ 317197 h 369595"/>
                <a:gd name="connsiteX31" fmla="*/ 189892 w 245667"/>
                <a:gd name="connsiteY31" fmla="*/ 355090 h 369595"/>
                <a:gd name="connsiteX32" fmla="*/ 124750 w 245667"/>
                <a:gd name="connsiteY32" fmla="*/ 369566 h 369595"/>
                <a:gd name="connsiteX33" fmla="*/ 61311 w 245667"/>
                <a:gd name="connsiteY33" fmla="*/ 357645 h 369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45667" h="369595">
                  <a:moveTo>
                    <a:pt x="61311" y="357645"/>
                  </a:moveTo>
                  <a:cubicBezTo>
                    <a:pt x="42577" y="349129"/>
                    <a:pt x="27675" y="337634"/>
                    <a:pt x="16605" y="322306"/>
                  </a:cubicBezTo>
                  <a:cubicBezTo>
                    <a:pt x="5961" y="307404"/>
                    <a:pt x="426" y="289948"/>
                    <a:pt x="0" y="269937"/>
                  </a:cubicBezTo>
                  <a:lnTo>
                    <a:pt x="50241" y="269937"/>
                  </a:lnTo>
                  <a:cubicBezTo>
                    <a:pt x="51944" y="286967"/>
                    <a:pt x="58756" y="301443"/>
                    <a:pt x="71103" y="312513"/>
                  </a:cubicBezTo>
                  <a:cubicBezTo>
                    <a:pt x="83450" y="323583"/>
                    <a:pt x="101333" y="329970"/>
                    <a:pt x="124750" y="329970"/>
                  </a:cubicBezTo>
                  <a:cubicBezTo>
                    <a:pt x="148167" y="329970"/>
                    <a:pt x="165198" y="324435"/>
                    <a:pt x="177971" y="312939"/>
                  </a:cubicBezTo>
                  <a:cubicBezTo>
                    <a:pt x="190744" y="301869"/>
                    <a:pt x="197556" y="287393"/>
                    <a:pt x="197556" y="269511"/>
                  </a:cubicBezTo>
                  <a:cubicBezTo>
                    <a:pt x="197556" y="255461"/>
                    <a:pt x="193724" y="244391"/>
                    <a:pt x="186061" y="235875"/>
                  </a:cubicBezTo>
                  <a:cubicBezTo>
                    <a:pt x="178397" y="227360"/>
                    <a:pt x="169030" y="220548"/>
                    <a:pt x="157534" y="216290"/>
                  </a:cubicBezTo>
                  <a:cubicBezTo>
                    <a:pt x="146038" y="211607"/>
                    <a:pt x="130711" y="206923"/>
                    <a:pt x="111125" y="201814"/>
                  </a:cubicBezTo>
                  <a:cubicBezTo>
                    <a:pt x="87282" y="195427"/>
                    <a:pt x="68123" y="189467"/>
                    <a:pt x="53647" y="183080"/>
                  </a:cubicBezTo>
                  <a:cubicBezTo>
                    <a:pt x="39171" y="176694"/>
                    <a:pt x="26823" y="166901"/>
                    <a:pt x="17031" y="153702"/>
                  </a:cubicBezTo>
                  <a:cubicBezTo>
                    <a:pt x="6812" y="140503"/>
                    <a:pt x="1703" y="122195"/>
                    <a:pt x="1703" y="100055"/>
                  </a:cubicBezTo>
                  <a:cubicBezTo>
                    <a:pt x="1703" y="80470"/>
                    <a:pt x="6387" y="63014"/>
                    <a:pt x="16605" y="47686"/>
                  </a:cubicBezTo>
                  <a:cubicBezTo>
                    <a:pt x="26823" y="32358"/>
                    <a:pt x="40874" y="20437"/>
                    <a:pt x="59182" y="12347"/>
                  </a:cubicBezTo>
                  <a:cubicBezTo>
                    <a:pt x="77064" y="3832"/>
                    <a:pt x="97927" y="0"/>
                    <a:pt x="121770" y="0"/>
                  </a:cubicBezTo>
                  <a:cubicBezTo>
                    <a:pt x="155831" y="0"/>
                    <a:pt x="183506" y="8515"/>
                    <a:pt x="205220" y="25546"/>
                  </a:cubicBezTo>
                  <a:cubicBezTo>
                    <a:pt x="226934" y="42577"/>
                    <a:pt x="238856" y="65142"/>
                    <a:pt x="241836" y="92817"/>
                  </a:cubicBezTo>
                  <a:lnTo>
                    <a:pt x="189892" y="92817"/>
                  </a:lnTo>
                  <a:cubicBezTo>
                    <a:pt x="188189" y="78767"/>
                    <a:pt x="180951" y="66846"/>
                    <a:pt x="168178" y="56201"/>
                  </a:cubicBezTo>
                  <a:cubicBezTo>
                    <a:pt x="155405" y="45983"/>
                    <a:pt x="138374" y="40022"/>
                    <a:pt x="117512" y="40022"/>
                  </a:cubicBezTo>
                  <a:cubicBezTo>
                    <a:pt x="96649" y="40022"/>
                    <a:pt x="81747" y="45131"/>
                    <a:pt x="68974" y="55350"/>
                  </a:cubicBezTo>
                  <a:cubicBezTo>
                    <a:pt x="56201" y="65568"/>
                    <a:pt x="50241" y="79619"/>
                    <a:pt x="50241" y="97927"/>
                  </a:cubicBezTo>
                  <a:cubicBezTo>
                    <a:pt x="50241" y="111125"/>
                    <a:pt x="54073" y="121770"/>
                    <a:pt x="61311" y="130285"/>
                  </a:cubicBezTo>
                  <a:cubicBezTo>
                    <a:pt x="68549" y="138800"/>
                    <a:pt x="77915" y="144761"/>
                    <a:pt x="88985" y="149444"/>
                  </a:cubicBezTo>
                  <a:cubicBezTo>
                    <a:pt x="99630" y="153702"/>
                    <a:pt x="115383" y="158811"/>
                    <a:pt x="134968" y="164346"/>
                  </a:cubicBezTo>
                  <a:cubicBezTo>
                    <a:pt x="158811" y="171159"/>
                    <a:pt x="177971" y="177545"/>
                    <a:pt x="192447" y="183932"/>
                  </a:cubicBezTo>
                  <a:cubicBezTo>
                    <a:pt x="206923" y="190318"/>
                    <a:pt x="219696" y="200111"/>
                    <a:pt x="229915" y="213310"/>
                  </a:cubicBezTo>
                  <a:cubicBezTo>
                    <a:pt x="240133" y="226508"/>
                    <a:pt x="245668" y="244816"/>
                    <a:pt x="245668" y="267382"/>
                  </a:cubicBezTo>
                  <a:cubicBezTo>
                    <a:pt x="245668" y="285264"/>
                    <a:pt x="240985" y="301869"/>
                    <a:pt x="231618" y="317197"/>
                  </a:cubicBezTo>
                  <a:cubicBezTo>
                    <a:pt x="222251" y="332950"/>
                    <a:pt x="208200" y="345297"/>
                    <a:pt x="189892" y="355090"/>
                  </a:cubicBezTo>
                  <a:cubicBezTo>
                    <a:pt x="171584" y="364883"/>
                    <a:pt x="149870" y="369566"/>
                    <a:pt x="124750" y="369566"/>
                  </a:cubicBezTo>
                  <a:cubicBezTo>
                    <a:pt x="100055" y="369992"/>
                    <a:pt x="79619" y="365734"/>
                    <a:pt x="61311" y="357645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C358C52-A63C-27C2-E19E-D1C17F81E0A9}"/>
                </a:ext>
              </a:extLst>
            </p:cNvPr>
            <p:cNvSpPr/>
            <p:nvPr/>
          </p:nvSpPr>
          <p:spPr>
            <a:xfrm>
              <a:off x="8318074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8 w 284838"/>
                <a:gd name="connsiteY8" fmla="*/ 362754 h 362753"/>
                <a:gd name="connsiteX9" fmla="*/ 284838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8" y="362754"/>
                  </a:lnTo>
                  <a:lnTo>
                    <a:pt x="284838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2BA052D-57CC-60DD-1B3F-48675922B00A}"/>
                </a:ext>
              </a:extLst>
            </p:cNvPr>
            <p:cNvSpPr/>
            <p:nvPr/>
          </p:nvSpPr>
          <p:spPr>
            <a:xfrm>
              <a:off x="6372742" y="4398399"/>
              <a:ext cx="363605" cy="369140"/>
            </a:xfrm>
            <a:custGeom>
              <a:avLst/>
              <a:gdLst>
                <a:gd name="connsiteX0" fmla="*/ 89837 w 363605"/>
                <a:gd name="connsiteY0" fmla="*/ 346575 h 369140"/>
                <a:gd name="connsiteX1" fmla="*/ 24269 w 363605"/>
                <a:gd name="connsiteY1" fmla="*/ 280581 h 369140"/>
                <a:gd name="connsiteX2" fmla="*/ 0 w 363605"/>
                <a:gd name="connsiteY2" fmla="*/ 185209 h 369140"/>
                <a:gd name="connsiteX3" fmla="*/ 24269 w 363605"/>
                <a:gd name="connsiteY3" fmla="*/ 89837 h 369140"/>
                <a:gd name="connsiteX4" fmla="*/ 89837 w 363605"/>
                <a:gd name="connsiteY4" fmla="*/ 23843 h 369140"/>
                <a:gd name="connsiteX5" fmla="*/ 181803 w 363605"/>
                <a:gd name="connsiteY5" fmla="*/ 0 h 369140"/>
                <a:gd name="connsiteX6" fmla="*/ 274194 w 363605"/>
                <a:gd name="connsiteY6" fmla="*/ 23843 h 369140"/>
                <a:gd name="connsiteX7" fmla="*/ 339763 w 363605"/>
                <a:gd name="connsiteY7" fmla="*/ 89411 h 369140"/>
                <a:gd name="connsiteX8" fmla="*/ 363606 w 363605"/>
                <a:gd name="connsiteY8" fmla="*/ 184783 h 369140"/>
                <a:gd name="connsiteX9" fmla="*/ 339763 w 363605"/>
                <a:gd name="connsiteY9" fmla="*/ 280155 h 369140"/>
                <a:gd name="connsiteX10" fmla="*/ 274194 w 363605"/>
                <a:gd name="connsiteY10" fmla="*/ 345723 h 369140"/>
                <a:gd name="connsiteX11" fmla="*/ 181803 w 363605"/>
                <a:gd name="connsiteY11" fmla="*/ 369140 h 369140"/>
                <a:gd name="connsiteX12" fmla="*/ 89837 w 363605"/>
                <a:gd name="connsiteY12" fmla="*/ 346575 h 369140"/>
                <a:gd name="connsiteX13" fmla="*/ 249926 w 363605"/>
                <a:gd name="connsiteY13" fmla="*/ 311236 h 369140"/>
                <a:gd name="connsiteX14" fmla="*/ 297612 w 363605"/>
                <a:gd name="connsiteY14" fmla="*/ 260995 h 369140"/>
                <a:gd name="connsiteX15" fmla="*/ 315068 w 363605"/>
                <a:gd name="connsiteY15" fmla="*/ 185209 h 369140"/>
                <a:gd name="connsiteX16" fmla="*/ 297612 w 363605"/>
                <a:gd name="connsiteY16" fmla="*/ 108997 h 369140"/>
                <a:gd name="connsiteX17" fmla="*/ 249926 w 363605"/>
                <a:gd name="connsiteY17" fmla="*/ 58756 h 369140"/>
                <a:gd name="connsiteX18" fmla="*/ 181377 w 363605"/>
                <a:gd name="connsiteY18" fmla="*/ 40874 h 369140"/>
                <a:gd name="connsiteX19" fmla="*/ 112828 w 363605"/>
                <a:gd name="connsiteY19" fmla="*/ 58756 h 369140"/>
                <a:gd name="connsiteX20" fmla="*/ 65142 w 363605"/>
                <a:gd name="connsiteY20" fmla="*/ 108997 h 369140"/>
                <a:gd name="connsiteX21" fmla="*/ 47686 w 363605"/>
                <a:gd name="connsiteY21" fmla="*/ 185209 h 369140"/>
                <a:gd name="connsiteX22" fmla="*/ 65142 w 363605"/>
                <a:gd name="connsiteY22" fmla="*/ 260995 h 369140"/>
                <a:gd name="connsiteX23" fmla="*/ 112828 w 363605"/>
                <a:gd name="connsiteY23" fmla="*/ 311236 h 369140"/>
                <a:gd name="connsiteX24" fmla="*/ 180951 w 363605"/>
                <a:gd name="connsiteY24" fmla="*/ 329118 h 369140"/>
                <a:gd name="connsiteX25" fmla="*/ 249926 w 363605"/>
                <a:gd name="connsiteY25" fmla="*/ 311236 h 369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3605" h="369140">
                  <a:moveTo>
                    <a:pt x="89837" y="346575"/>
                  </a:moveTo>
                  <a:cubicBezTo>
                    <a:pt x="62162" y="330821"/>
                    <a:pt x="40022" y="308681"/>
                    <a:pt x="24269" y="280581"/>
                  </a:cubicBezTo>
                  <a:cubicBezTo>
                    <a:pt x="8090" y="252480"/>
                    <a:pt x="0" y="220548"/>
                    <a:pt x="0" y="185209"/>
                  </a:cubicBezTo>
                  <a:cubicBezTo>
                    <a:pt x="0" y="149870"/>
                    <a:pt x="8090" y="117938"/>
                    <a:pt x="24269" y="89837"/>
                  </a:cubicBezTo>
                  <a:cubicBezTo>
                    <a:pt x="40448" y="61736"/>
                    <a:pt x="62162" y="39596"/>
                    <a:pt x="89837" y="23843"/>
                  </a:cubicBezTo>
                  <a:cubicBezTo>
                    <a:pt x="117512" y="8090"/>
                    <a:pt x="148167" y="0"/>
                    <a:pt x="181803" y="0"/>
                  </a:cubicBezTo>
                  <a:cubicBezTo>
                    <a:pt x="215438" y="0"/>
                    <a:pt x="246519" y="8090"/>
                    <a:pt x="274194" y="23843"/>
                  </a:cubicBezTo>
                  <a:cubicBezTo>
                    <a:pt x="301869" y="39596"/>
                    <a:pt x="323583" y="61311"/>
                    <a:pt x="339763" y="89411"/>
                  </a:cubicBezTo>
                  <a:cubicBezTo>
                    <a:pt x="355942" y="117512"/>
                    <a:pt x="363606" y="149444"/>
                    <a:pt x="363606" y="184783"/>
                  </a:cubicBezTo>
                  <a:cubicBezTo>
                    <a:pt x="363606" y="220122"/>
                    <a:pt x="355516" y="252054"/>
                    <a:pt x="339763" y="280155"/>
                  </a:cubicBezTo>
                  <a:cubicBezTo>
                    <a:pt x="324009" y="308256"/>
                    <a:pt x="301869" y="330396"/>
                    <a:pt x="274194" y="345723"/>
                  </a:cubicBezTo>
                  <a:cubicBezTo>
                    <a:pt x="246519" y="361477"/>
                    <a:pt x="215864" y="369140"/>
                    <a:pt x="181803" y="369140"/>
                  </a:cubicBezTo>
                  <a:cubicBezTo>
                    <a:pt x="147741" y="369140"/>
                    <a:pt x="117086" y="362328"/>
                    <a:pt x="89837" y="346575"/>
                  </a:cubicBezTo>
                  <a:moveTo>
                    <a:pt x="249926" y="311236"/>
                  </a:moveTo>
                  <a:cubicBezTo>
                    <a:pt x="269937" y="299315"/>
                    <a:pt x="286116" y="282710"/>
                    <a:pt x="297612" y="260995"/>
                  </a:cubicBezTo>
                  <a:cubicBezTo>
                    <a:pt x="309107" y="239281"/>
                    <a:pt x="315068" y="213735"/>
                    <a:pt x="315068" y="185209"/>
                  </a:cubicBezTo>
                  <a:cubicBezTo>
                    <a:pt x="315068" y="156682"/>
                    <a:pt x="309107" y="130711"/>
                    <a:pt x="297612" y="108997"/>
                  </a:cubicBezTo>
                  <a:cubicBezTo>
                    <a:pt x="286116" y="87282"/>
                    <a:pt x="270362" y="70677"/>
                    <a:pt x="249926" y="58756"/>
                  </a:cubicBezTo>
                  <a:cubicBezTo>
                    <a:pt x="229489" y="46834"/>
                    <a:pt x="206923" y="40874"/>
                    <a:pt x="181377" y="40874"/>
                  </a:cubicBezTo>
                  <a:cubicBezTo>
                    <a:pt x="155831" y="40874"/>
                    <a:pt x="132839" y="46834"/>
                    <a:pt x="112828" y="58756"/>
                  </a:cubicBezTo>
                  <a:cubicBezTo>
                    <a:pt x="92817" y="70677"/>
                    <a:pt x="77064" y="87282"/>
                    <a:pt x="65142" y="108997"/>
                  </a:cubicBezTo>
                  <a:cubicBezTo>
                    <a:pt x="53647" y="130711"/>
                    <a:pt x="47686" y="155831"/>
                    <a:pt x="47686" y="185209"/>
                  </a:cubicBezTo>
                  <a:cubicBezTo>
                    <a:pt x="47686" y="214587"/>
                    <a:pt x="53647" y="238856"/>
                    <a:pt x="65142" y="260995"/>
                  </a:cubicBezTo>
                  <a:cubicBezTo>
                    <a:pt x="76638" y="282710"/>
                    <a:pt x="92392" y="299740"/>
                    <a:pt x="112828" y="311236"/>
                  </a:cubicBezTo>
                  <a:cubicBezTo>
                    <a:pt x="132839" y="323158"/>
                    <a:pt x="155831" y="329118"/>
                    <a:pt x="180951" y="329118"/>
                  </a:cubicBezTo>
                  <a:cubicBezTo>
                    <a:pt x="206072" y="329118"/>
                    <a:pt x="229489" y="323158"/>
                    <a:pt x="249926" y="311236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438CF34-10B8-1711-9797-93334580D6B7}"/>
                </a:ext>
              </a:extLst>
            </p:cNvPr>
            <p:cNvSpPr/>
            <p:nvPr/>
          </p:nvSpPr>
          <p:spPr>
            <a:xfrm>
              <a:off x="5978481" y="4397973"/>
              <a:ext cx="348703" cy="369991"/>
            </a:xfrm>
            <a:custGeom>
              <a:avLst/>
              <a:gdLst>
                <a:gd name="connsiteX0" fmla="*/ 24269 w 348703"/>
                <a:gd name="connsiteY0" fmla="*/ 90263 h 369991"/>
                <a:gd name="connsiteX1" fmla="*/ 89411 w 348703"/>
                <a:gd name="connsiteY1" fmla="*/ 23843 h 369991"/>
                <a:gd name="connsiteX2" fmla="*/ 181377 w 348703"/>
                <a:gd name="connsiteY2" fmla="*/ 0 h 369991"/>
                <a:gd name="connsiteX3" fmla="*/ 284413 w 348703"/>
                <a:gd name="connsiteY3" fmla="*/ 28526 h 369991"/>
                <a:gd name="connsiteX4" fmla="*/ 348704 w 348703"/>
                <a:gd name="connsiteY4" fmla="*/ 109422 h 369991"/>
                <a:gd name="connsiteX5" fmla="*/ 292077 w 348703"/>
                <a:gd name="connsiteY5" fmla="*/ 109422 h 369991"/>
                <a:gd name="connsiteX6" fmla="*/ 248648 w 348703"/>
                <a:gd name="connsiteY6" fmla="*/ 59182 h 369991"/>
                <a:gd name="connsiteX7" fmla="*/ 180951 w 348703"/>
                <a:gd name="connsiteY7" fmla="*/ 41299 h 369991"/>
                <a:gd name="connsiteX8" fmla="*/ 112828 w 348703"/>
                <a:gd name="connsiteY8" fmla="*/ 59182 h 369991"/>
                <a:gd name="connsiteX9" fmla="*/ 65568 w 348703"/>
                <a:gd name="connsiteY9" fmla="*/ 109422 h 369991"/>
                <a:gd name="connsiteX10" fmla="*/ 48538 w 348703"/>
                <a:gd name="connsiteY10" fmla="*/ 185635 h 369991"/>
                <a:gd name="connsiteX11" fmla="*/ 65568 w 348703"/>
                <a:gd name="connsiteY11" fmla="*/ 260995 h 369991"/>
                <a:gd name="connsiteX12" fmla="*/ 112828 w 348703"/>
                <a:gd name="connsiteY12" fmla="*/ 311236 h 369991"/>
                <a:gd name="connsiteX13" fmla="*/ 180951 w 348703"/>
                <a:gd name="connsiteY13" fmla="*/ 329118 h 369991"/>
                <a:gd name="connsiteX14" fmla="*/ 248648 w 348703"/>
                <a:gd name="connsiteY14" fmla="*/ 311662 h 369991"/>
                <a:gd name="connsiteX15" fmla="*/ 292077 w 348703"/>
                <a:gd name="connsiteY15" fmla="*/ 261421 h 369991"/>
                <a:gd name="connsiteX16" fmla="*/ 348704 w 348703"/>
                <a:gd name="connsiteY16" fmla="*/ 261421 h 369991"/>
                <a:gd name="connsiteX17" fmla="*/ 284413 w 348703"/>
                <a:gd name="connsiteY17" fmla="*/ 341891 h 369991"/>
                <a:gd name="connsiteX18" fmla="*/ 181377 w 348703"/>
                <a:gd name="connsiteY18" fmla="*/ 369992 h 369991"/>
                <a:gd name="connsiteX19" fmla="*/ 89411 w 348703"/>
                <a:gd name="connsiteY19" fmla="*/ 346575 h 369991"/>
                <a:gd name="connsiteX20" fmla="*/ 23843 w 348703"/>
                <a:gd name="connsiteY20" fmla="*/ 281007 h 369991"/>
                <a:gd name="connsiteX21" fmla="*/ 0 w 348703"/>
                <a:gd name="connsiteY21" fmla="*/ 186060 h 369991"/>
                <a:gd name="connsiteX22" fmla="*/ 24269 w 348703"/>
                <a:gd name="connsiteY22" fmla="*/ 90263 h 36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8703" h="369991">
                  <a:moveTo>
                    <a:pt x="24269" y="90263"/>
                  </a:moveTo>
                  <a:cubicBezTo>
                    <a:pt x="40448" y="62162"/>
                    <a:pt x="61736" y="40022"/>
                    <a:pt x="89411" y="23843"/>
                  </a:cubicBezTo>
                  <a:cubicBezTo>
                    <a:pt x="117086" y="7664"/>
                    <a:pt x="147316" y="0"/>
                    <a:pt x="181377" y="0"/>
                  </a:cubicBezTo>
                  <a:cubicBezTo>
                    <a:pt x="220973" y="0"/>
                    <a:pt x="255461" y="9367"/>
                    <a:pt x="284413" y="28526"/>
                  </a:cubicBezTo>
                  <a:cubicBezTo>
                    <a:pt x="313791" y="47686"/>
                    <a:pt x="335079" y="74935"/>
                    <a:pt x="348704" y="109422"/>
                  </a:cubicBezTo>
                  <a:lnTo>
                    <a:pt x="292077" y="109422"/>
                  </a:lnTo>
                  <a:cubicBezTo>
                    <a:pt x="281858" y="87708"/>
                    <a:pt x="267808" y="70677"/>
                    <a:pt x="248648" y="59182"/>
                  </a:cubicBezTo>
                  <a:cubicBezTo>
                    <a:pt x="229915" y="47260"/>
                    <a:pt x="207349" y="41299"/>
                    <a:pt x="180951" y="41299"/>
                  </a:cubicBezTo>
                  <a:cubicBezTo>
                    <a:pt x="154554" y="41299"/>
                    <a:pt x="132839" y="47260"/>
                    <a:pt x="112828" y="59182"/>
                  </a:cubicBezTo>
                  <a:cubicBezTo>
                    <a:pt x="92817" y="71103"/>
                    <a:pt x="77064" y="87708"/>
                    <a:pt x="65568" y="109422"/>
                  </a:cubicBezTo>
                  <a:cubicBezTo>
                    <a:pt x="54072" y="131136"/>
                    <a:pt x="48538" y="156257"/>
                    <a:pt x="48538" y="185635"/>
                  </a:cubicBezTo>
                  <a:cubicBezTo>
                    <a:pt x="48538" y="215013"/>
                    <a:pt x="54072" y="239281"/>
                    <a:pt x="65568" y="260995"/>
                  </a:cubicBezTo>
                  <a:cubicBezTo>
                    <a:pt x="77064" y="282710"/>
                    <a:pt x="92817" y="299315"/>
                    <a:pt x="112828" y="311236"/>
                  </a:cubicBezTo>
                  <a:cubicBezTo>
                    <a:pt x="132839" y="323158"/>
                    <a:pt x="155405" y="329118"/>
                    <a:pt x="180951" y="329118"/>
                  </a:cubicBezTo>
                  <a:cubicBezTo>
                    <a:pt x="206497" y="329118"/>
                    <a:pt x="229915" y="323158"/>
                    <a:pt x="248648" y="311662"/>
                  </a:cubicBezTo>
                  <a:cubicBezTo>
                    <a:pt x="267382" y="300166"/>
                    <a:pt x="281858" y="283561"/>
                    <a:pt x="292077" y="261421"/>
                  </a:cubicBezTo>
                  <a:lnTo>
                    <a:pt x="348704" y="261421"/>
                  </a:lnTo>
                  <a:cubicBezTo>
                    <a:pt x="335079" y="296334"/>
                    <a:pt x="313791" y="323158"/>
                    <a:pt x="284413" y="341891"/>
                  </a:cubicBezTo>
                  <a:cubicBezTo>
                    <a:pt x="255035" y="360625"/>
                    <a:pt x="220548" y="369992"/>
                    <a:pt x="181377" y="369992"/>
                  </a:cubicBezTo>
                  <a:cubicBezTo>
                    <a:pt x="147741" y="369992"/>
                    <a:pt x="117086" y="361902"/>
                    <a:pt x="89411" y="346575"/>
                  </a:cubicBezTo>
                  <a:cubicBezTo>
                    <a:pt x="62162" y="330821"/>
                    <a:pt x="40022" y="309107"/>
                    <a:pt x="23843" y="281007"/>
                  </a:cubicBezTo>
                  <a:cubicBezTo>
                    <a:pt x="7664" y="252906"/>
                    <a:pt x="0" y="221399"/>
                    <a:pt x="0" y="186060"/>
                  </a:cubicBezTo>
                  <a:cubicBezTo>
                    <a:pt x="0" y="150722"/>
                    <a:pt x="8090" y="118363"/>
                    <a:pt x="24269" y="90263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23802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Highligh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7AB38E-449C-4362-AC3F-A7867C0D69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65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7AB38E-449C-4362-AC3F-A7867C0D6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15491930-573F-E23A-703C-B0717A560D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4754"/>
              </a:gs>
              <a:gs pos="100000">
                <a:srgbClr val="29BBCE"/>
              </a:gs>
              <a:gs pos="50000">
                <a:srgbClr val="0087A0"/>
              </a:gs>
            </a:gsLst>
            <a:lin ang="19800000" scaled="1"/>
            <a:tileRect/>
          </a:gradFill>
          <a:ln w="6350">
            <a:noFill/>
          </a:ln>
          <a:effectLst/>
        </p:spPr>
        <p:txBody>
          <a:bodyPr rot="0" spcFirstLastPara="0" vertOverflow="overflow" horzOverflow="overflow" vert="horz" wrap="square" lIns="108109" tIns="108109" rIns="108109" bIns="108109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lvl="0" algn="ctr" defTabSz="1083747">
              <a:spcBef>
                <a:spcPts val="1200"/>
              </a:spcBef>
            </a:pPr>
            <a:endParaRPr lang="en-US" sz="1400" dirty="0">
              <a:solidFill>
                <a:srgbClr val="FFFFFF"/>
              </a:solidFill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6839FCC-2CE5-4BE8-A47D-F64FBB8EA7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de-DE" sz="3200" b="1" i="0" baseline="0" dirty="0">
              <a:latin typeface="Poppins" panose="00000500000000000000" pitchFamily="2" charset="0"/>
              <a:ea typeface="+mj-ea"/>
              <a:cs typeface="Poppins" panose="00000500000000000000" pitchFamily="2" charset="0"/>
              <a:sym typeface="Segoe UI Semibold" panose="020B07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9F32A0-D26D-4F19-B473-2E0AA456A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2634405"/>
            <a:ext cx="11089753" cy="855917"/>
          </a:xfrm>
        </p:spPr>
        <p:txBody>
          <a:bodyPr vert="horz" lIns="0" tIns="0" rIns="216000" bIns="0" rtlCol="0" anchor="ctr">
            <a:noAutofit/>
          </a:bodyPr>
          <a:lstStyle>
            <a:lvl1pPr algn="ctr">
              <a:defRPr lang="en-US" sz="4000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Here is a BOLD statement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7AB620D-E28D-4723-B954-93517545D3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52854" y="4653136"/>
            <a:ext cx="3687762" cy="288256"/>
          </a:xfrm>
          <a:prstGeom prst="rect">
            <a:avLst/>
          </a:prstGeom>
        </p:spPr>
        <p:txBody>
          <a:bodyPr/>
          <a:lstStyle>
            <a:lvl1pPr algn="r" rtl="0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- John Doe 2019</a:t>
            </a:r>
          </a:p>
        </p:txBody>
      </p:sp>
      <p:sp>
        <p:nvSpPr>
          <p:cNvPr id="19" name="Text Placeholder 28">
            <a:extLst>
              <a:ext uri="{FF2B5EF4-FFF2-40B4-BE49-F238E27FC236}">
                <a16:creationId xmlns:a16="http://schemas.microsoft.com/office/drawing/2014/main" id="{557B2A78-33EA-305B-49F1-4B26D84D3A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3538830"/>
            <a:ext cx="11089752" cy="637840"/>
          </a:xfrm>
          <a:prstGeom prst="rect">
            <a:avLst/>
          </a:prstGeom>
        </p:spPr>
        <p:txBody>
          <a:bodyPr/>
          <a:lstStyle>
            <a:lvl1pPr algn="ctr">
              <a:defRPr sz="4000" i="1">
                <a:solidFill>
                  <a:schemeClr val="bg1"/>
                </a:solidFill>
              </a:defRPr>
            </a:lvl1pPr>
            <a:lvl2pPr>
              <a:defRPr sz="4000" i="1">
                <a:solidFill>
                  <a:schemeClr val="bg1"/>
                </a:solidFill>
              </a:defRPr>
            </a:lvl2pPr>
            <a:lvl3pPr>
              <a:defRPr sz="4000" i="1">
                <a:solidFill>
                  <a:schemeClr val="bg1"/>
                </a:solidFill>
              </a:defRPr>
            </a:lvl3pPr>
            <a:lvl4pPr>
              <a:defRPr sz="4000" i="1">
                <a:solidFill>
                  <a:schemeClr val="bg1"/>
                </a:solidFill>
              </a:defRPr>
            </a:lvl4pPr>
            <a:lvl5pPr>
              <a:defRPr sz="4000" i="1">
                <a:solidFill>
                  <a:schemeClr val="bg1"/>
                </a:solidFill>
              </a:defRPr>
            </a:lvl5pPr>
          </a:lstStyle>
          <a:p>
            <a:r>
              <a:rPr lang="en-US" sz="4000" i="1" noProof="0" dirty="0">
                <a:latin typeface="Poppins Light" panose="00000400000000000000" pitchFamily="2" charset="0"/>
                <a:cs typeface="Poppins Light" panose="00000400000000000000" pitchFamily="2" charset="0"/>
              </a:rPr>
              <a:t>And maybe something add?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01752A-E93E-C7CC-E4D0-D513E1678F2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9FA0180-30A6-C2AD-3B2F-80D2B729F3E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273089" y="6706186"/>
            <a:ext cx="3382336" cy="1077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indent="0" algn="r">
              <a:spcBef>
                <a:spcPts val="1500"/>
              </a:spcBef>
              <a:buFontTx/>
              <a:buNone/>
              <a:defRPr sz="700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  <a:lvl2pPr marL="270000" indent="-268288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>
                <a:latin typeface="Arial" pitchFamily="34" charset="0"/>
                <a:cs typeface="Arial" pitchFamily="34" charset="0"/>
              </a:defRPr>
            </a:lvl2pPr>
            <a:lvl3pPr marL="540000" indent="-268288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>
                <a:latin typeface="Arial" pitchFamily="34" charset="0"/>
                <a:cs typeface="Arial" pitchFamily="34" charset="0"/>
              </a:defRPr>
            </a:lvl3pPr>
            <a:lvl4pPr marL="810000" indent="-270000">
              <a:spcBef>
                <a:spcPts val="500"/>
              </a:spcBef>
              <a:buFont typeface="Arial" pitchFamily="34" charset="0"/>
              <a:buChar char="–"/>
              <a:defRPr sz="1400">
                <a:latin typeface="Arial" pitchFamily="34" charset="0"/>
                <a:cs typeface="Arial" pitchFamily="34" charset="0"/>
              </a:defRPr>
            </a:lvl4pPr>
            <a:lvl5pPr marL="810000" indent="0">
              <a:spcBef>
                <a:spcPts val="500"/>
              </a:spcBef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en-US" noProof="0" dirty="0">
                <a:sym typeface="Segoe UI" panose="020B0502040204020203" pitchFamily="34" charset="0"/>
              </a:rPr>
              <a:t>© by FEV – all rights reserved. Confidential – no passing on to third parties  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FA3C992-E94A-93DD-5442-20F9D5852EF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38508" y="840326"/>
            <a:ext cx="702000" cy="267011"/>
            <a:chOff x="5975501" y="3608175"/>
            <a:chExt cx="3050378" cy="1160231"/>
          </a:xfrm>
          <a:solidFill>
            <a:schemeClr val="bg1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79B6804-1253-82BC-5595-8AC585515E0E}"/>
                </a:ext>
              </a:extLst>
            </p:cNvPr>
            <p:cNvSpPr/>
            <p:nvPr/>
          </p:nvSpPr>
          <p:spPr>
            <a:xfrm>
              <a:off x="7098250" y="3614987"/>
              <a:ext cx="608847" cy="620768"/>
            </a:xfrm>
            <a:custGeom>
              <a:avLst/>
              <a:gdLst>
                <a:gd name="connsiteX0" fmla="*/ 369141 w 608847"/>
                <a:gd name="connsiteY0" fmla="*/ 620769 h 620768"/>
                <a:gd name="connsiteX1" fmla="*/ 608848 w 608847"/>
                <a:gd name="connsiteY1" fmla="*/ 0 h 620768"/>
                <a:gd name="connsiteX2" fmla="*/ 485375 w 608847"/>
                <a:gd name="connsiteY2" fmla="*/ 0 h 620768"/>
                <a:gd name="connsiteX3" fmla="*/ 304424 w 608847"/>
                <a:gd name="connsiteY3" fmla="*/ 467493 h 620768"/>
                <a:gd name="connsiteX4" fmla="*/ 123473 w 608847"/>
                <a:gd name="connsiteY4" fmla="*/ 0 h 620768"/>
                <a:gd name="connsiteX5" fmla="*/ 0 w 608847"/>
                <a:gd name="connsiteY5" fmla="*/ 0 h 620768"/>
                <a:gd name="connsiteX6" fmla="*/ 240133 w 608847"/>
                <a:gd name="connsiteY6" fmla="*/ 620769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8847" h="620768">
                  <a:moveTo>
                    <a:pt x="369141" y="620769"/>
                  </a:moveTo>
                  <a:lnTo>
                    <a:pt x="608848" y="0"/>
                  </a:lnTo>
                  <a:lnTo>
                    <a:pt x="485375" y="0"/>
                  </a:lnTo>
                  <a:lnTo>
                    <a:pt x="304424" y="467493"/>
                  </a:lnTo>
                  <a:lnTo>
                    <a:pt x="123473" y="0"/>
                  </a:lnTo>
                  <a:lnTo>
                    <a:pt x="0" y="0"/>
                  </a:lnTo>
                  <a:lnTo>
                    <a:pt x="240133" y="620769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7FB785A-AC93-70F5-CA86-7931373DAB73}"/>
                </a:ext>
              </a:extLst>
            </p:cNvPr>
            <p:cNvSpPr/>
            <p:nvPr/>
          </p:nvSpPr>
          <p:spPr>
            <a:xfrm>
              <a:off x="5975501" y="3614987"/>
              <a:ext cx="505386" cy="620768"/>
            </a:xfrm>
            <a:custGeom>
              <a:avLst/>
              <a:gdLst>
                <a:gd name="connsiteX0" fmla="*/ 505386 w 505386"/>
                <a:gd name="connsiteY0" fmla="*/ 114957 h 620768"/>
                <a:gd name="connsiteX1" fmla="*/ 505386 w 505386"/>
                <a:gd name="connsiteY1" fmla="*/ 0 h 620768"/>
                <a:gd name="connsiteX2" fmla="*/ 144335 w 505386"/>
                <a:gd name="connsiteY2" fmla="*/ 0 h 620768"/>
                <a:gd name="connsiteX3" fmla="*/ 0 w 505386"/>
                <a:gd name="connsiteY3" fmla="*/ 144335 h 620768"/>
                <a:gd name="connsiteX4" fmla="*/ 0 w 505386"/>
                <a:gd name="connsiteY4" fmla="*/ 620769 h 620768"/>
                <a:gd name="connsiteX5" fmla="*/ 115809 w 505386"/>
                <a:gd name="connsiteY5" fmla="*/ 620769 h 620768"/>
                <a:gd name="connsiteX6" fmla="*/ 115809 w 505386"/>
                <a:gd name="connsiteY6" fmla="*/ 389577 h 620768"/>
                <a:gd name="connsiteX7" fmla="*/ 389577 w 505386"/>
                <a:gd name="connsiteY7" fmla="*/ 389577 h 620768"/>
                <a:gd name="connsiteX8" fmla="*/ 389577 w 505386"/>
                <a:gd name="connsiteY8" fmla="*/ 288670 h 620768"/>
                <a:gd name="connsiteX9" fmla="*/ 115383 w 505386"/>
                <a:gd name="connsiteY9" fmla="*/ 288670 h 620768"/>
                <a:gd name="connsiteX10" fmla="*/ 115383 w 505386"/>
                <a:gd name="connsiteY10" fmla="*/ 144335 h 620768"/>
                <a:gd name="connsiteX11" fmla="*/ 143909 w 505386"/>
                <a:gd name="connsiteY11" fmla="*/ 115809 h 620768"/>
                <a:gd name="connsiteX12" fmla="*/ 504960 w 505386"/>
                <a:gd name="connsiteY12" fmla="*/ 115809 h 620768"/>
                <a:gd name="connsiteX13" fmla="*/ 504960 w 505386"/>
                <a:gd name="connsiteY13" fmla="*/ 114957 h 620768"/>
                <a:gd name="connsiteX14" fmla="*/ 505386 w 505386"/>
                <a:gd name="connsiteY14" fmla="*/ 114957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5386" h="620768">
                  <a:moveTo>
                    <a:pt x="505386" y="114957"/>
                  </a:moveTo>
                  <a:lnTo>
                    <a:pt x="505386" y="0"/>
                  </a:lnTo>
                  <a:lnTo>
                    <a:pt x="144335" y="0"/>
                  </a:lnTo>
                  <a:cubicBezTo>
                    <a:pt x="64717" y="0"/>
                    <a:pt x="0" y="64717"/>
                    <a:pt x="0" y="144335"/>
                  </a:cubicBezTo>
                  <a:lnTo>
                    <a:pt x="0" y="620769"/>
                  </a:lnTo>
                  <a:lnTo>
                    <a:pt x="115809" y="620769"/>
                  </a:lnTo>
                  <a:lnTo>
                    <a:pt x="115809" y="389577"/>
                  </a:lnTo>
                  <a:lnTo>
                    <a:pt x="389577" y="389577"/>
                  </a:lnTo>
                  <a:lnTo>
                    <a:pt x="389577" y="288670"/>
                  </a:lnTo>
                  <a:lnTo>
                    <a:pt x="115383" y="288670"/>
                  </a:lnTo>
                  <a:lnTo>
                    <a:pt x="115383" y="144335"/>
                  </a:lnTo>
                  <a:cubicBezTo>
                    <a:pt x="115383" y="128582"/>
                    <a:pt x="128156" y="115809"/>
                    <a:pt x="143909" y="115809"/>
                  </a:cubicBezTo>
                  <a:lnTo>
                    <a:pt x="504960" y="115809"/>
                  </a:lnTo>
                  <a:lnTo>
                    <a:pt x="504960" y="114957"/>
                  </a:lnTo>
                  <a:lnTo>
                    <a:pt x="505386" y="114957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888F61F-3B21-5C58-1E72-A4D94110A5A6}"/>
                </a:ext>
              </a:extLst>
            </p:cNvPr>
            <p:cNvSpPr/>
            <p:nvPr/>
          </p:nvSpPr>
          <p:spPr>
            <a:xfrm>
              <a:off x="6487699" y="3608175"/>
              <a:ext cx="625452" cy="635245"/>
            </a:xfrm>
            <a:custGeom>
              <a:avLst/>
              <a:gdLst>
                <a:gd name="connsiteX0" fmla="*/ 503257 w 625452"/>
                <a:gd name="connsiteY0" fmla="*/ 395964 h 635245"/>
                <a:gd name="connsiteX1" fmla="*/ 317197 w 625452"/>
                <a:gd name="connsiteY1" fmla="*/ 518585 h 635245"/>
                <a:gd name="connsiteX2" fmla="*/ 172862 w 625452"/>
                <a:gd name="connsiteY2" fmla="*/ 458126 h 635245"/>
                <a:gd name="connsiteX3" fmla="*/ 512198 w 625452"/>
                <a:gd name="connsiteY3" fmla="*/ 262699 h 635245"/>
                <a:gd name="connsiteX4" fmla="*/ 614383 w 625452"/>
                <a:gd name="connsiteY4" fmla="*/ 203943 h 635245"/>
                <a:gd name="connsiteX5" fmla="*/ 563716 w 625452"/>
                <a:gd name="connsiteY5" fmla="*/ 116660 h 635245"/>
                <a:gd name="connsiteX6" fmla="*/ 317623 w 625452"/>
                <a:gd name="connsiteY6" fmla="*/ 0 h 635245"/>
                <a:gd name="connsiteX7" fmla="*/ 0 w 625452"/>
                <a:gd name="connsiteY7" fmla="*/ 317623 h 635245"/>
                <a:gd name="connsiteX8" fmla="*/ 20863 w 625452"/>
                <a:gd name="connsiteY8" fmla="*/ 430877 h 635245"/>
                <a:gd name="connsiteX9" fmla="*/ 71529 w 625452"/>
                <a:gd name="connsiteY9" fmla="*/ 518159 h 635245"/>
                <a:gd name="connsiteX10" fmla="*/ 317623 w 625452"/>
                <a:gd name="connsiteY10" fmla="*/ 635245 h 635245"/>
                <a:gd name="connsiteX11" fmla="*/ 625453 w 625452"/>
                <a:gd name="connsiteY11" fmla="*/ 397241 h 635245"/>
                <a:gd name="connsiteX12" fmla="*/ 503257 w 625452"/>
                <a:gd name="connsiteY12" fmla="*/ 395964 h 635245"/>
                <a:gd name="connsiteX13" fmla="*/ 503257 w 625452"/>
                <a:gd name="connsiteY13" fmla="*/ 395964 h 635245"/>
                <a:gd name="connsiteX14" fmla="*/ 115383 w 625452"/>
                <a:gd name="connsiteY14" fmla="*/ 316771 h 635245"/>
                <a:gd name="connsiteX15" fmla="*/ 317623 w 625452"/>
                <a:gd name="connsiteY15" fmla="*/ 114531 h 635245"/>
                <a:gd name="connsiteX16" fmla="*/ 461958 w 625452"/>
                <a:gd name="connsiteY16" fmla="*/ 174990 h 635245"/>
                <a:gd name="connsiteX17" fmla="*/ 123047 w 625452"/>
                <a:gd name="connsiteY17" fmla="*/ 370844 h 635245"/>
                <a:gd name="connsiteX18" fmla="*/ 115383 w 625452"/>
                <a:gd name="connsiteY18" fmla="*/ 316771 h 63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5452" h="635245">
                  <a:moveTo>
                    <a:pt x="503257" y="395964"/>
                  </a:moveTo>
                  <a:cubicBezTo>
                    <a:pt x="472602" y="467918"/>
                    <a:pt x="401073" y="518585"/>
                    <a:pt x="317197" y="518585"/>
                  </a:cubicBezTo>
                  <a:cubicBezTo>
                    <a:pt x="260570" y="518585"/>
                    <a:pt x="209478" y="495593"/>
                    <a:pt x="172862" y="458126"/>
                  </a:cubicBezTo>
                  <a:lnTo>
                    <a:pt x="512198" y="262699"/>
                  </a:lnTo>
                  <a:lnTo>
                    <a:pt x="614383" y="203943"/>
                  </a:lnTo>
                  <a:cubicBezTo>
                    <a:pt x="602035" y="172010"/>
                    <a:pt x="585005" y="142632"/>
                    <a:pt x="563716" y="116660"/>
                  </a:cubicBezTo>
                  <a:cubicBezTo>
                    <a:pt x="505812" y="45131"/>
                    <a:pt x="417252" y="0"/>
                    <a:pt x="317623" y="0"/>
                  </a:cubicBezTo>
                  <a:cubicBezTo>
                    <a:pt x="142206" y="0"/>
                    <a:pt x="0" y="142206"/>
                    <a:pt x="0" y="317623"/>
                  </a:cubicBezTo>
                  <a:cubicBezTo>
                    <a:pt x="0" y="357219"/>
                    <a:pt x="7238" y="395538"/>
                    <a:pt x="20863" y="430877"/>
                  </a:cubicBezTo>
                  <a:cubicBezTo>
                    <a:pt x="33210" y="462809"/>
                    <a:pt x="50241" y="492187"/>
                    <a:pt x="71529" y="518159"/>
                  </a:cubicBezTo>
                  <a:cubicBezTo>
                    <a:pt x="129859" y="589688"/>
                    <a:pt x="218419" y="635245"/>
                    <a:pt x="317623" y="635245"/>
                  </a:cubicBezTo>
                  <a:cubicBezTo>
                    <a:pt x="465790" y="635245"/>
                    <a:pt x="589688" y="534338"/>
                    <a:pt x="625453" y="397241"/>
                  </a:cubicBezTo>
                  <a:lnTo>
                    <a:pt x="503257" y="395964"/>
                  </a:lnTo>
                  <a:lnTo>
                    <a:pt x="503257" y="395964"/>
                  </a:lnTo>
                  <a:close/>
                  <a:moveTo>
                    <a:pt x="115383" y="316771"/>
                  </a:moveTo>
                  <a:cubicBezTo>
                    <a:pt x="115383" y="205220"/>
                    <a:pt x="206072" y="114531"/>
                    <a:pt x="317623" y="114531"/>
                  </a:cubicBezTo>
                  <a:cubicBezTo>
                    <a:pt x="374250" y="114531"/>
                    <a:pt x="425342" y="137523"/>
                    <a:pt x="461958" y="174990"/>
                  </a:cubicBezTo>
                  <a:lnTo>
                    <a:pt x="123047" y="370844"/>
                  </a:lnTo>
                  <a:cubicBezTo>
                    <a:pt x="118363" y="353813"/>
                    <a:pt x="115383" y="335931"/>
                    <a:pt x="115383" y="316771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D726744-F533-3B4A-400B-BAD5B378C6DE}"/>
                </a:ext>
              </a:extLst>
            </p:cNvPr>
            <p:cNvSpPr/>
            <p:nvPr/>
          </p:nvSpPr>
          <p:spPr>
            <a:xfrm>
              <a:off x="8659524" y="4396917"/>
              <a:ext cx="366355" cy="371489"/>
            </a:xfrm>
            <a:custGeom>
              <a:avLst/>
              <a:gdLst>
                <a:gd name="connsiteX0" fmla="*/ 242704 w 366355"/>
                <a:gd name="connsiteY0" fmla="*/ 64921 h 371489"/>
                <a:gd name="connsiteX1" fmla="*/ 180542 w 366355"/>
                <a:gd name="connsiteY1" fmla="*/ 44059 h 371489"/>
                <a:gd name="connsiteX2" fmla="*/ 114122 w 366355"/>
                <a:gd name="connsiteY2" fmla="*/ 61941 h 371489"/>
                <a:gd name="connsiteX3" fmla="*/ 63881 w 366355"/>
                <a:gd name="connsiteY3" fmla="*/ 111330 h 371489"/>
                <a:gd name="connsiteX4" fmla="*/ 47702 w 366355"/>
                <a:gd name="connsiteY4" fmla="*/ 178601 h 371489"/>
                <a:gd name="connsiteX5" fmla="*/ 70268 w 366355"/>
                <a:gd name="connsiteY5" fmla="*/ 252259 h 371489"/>
                <a:gd name="connsiteX6" fmla="*/ 122637 w 366355"/>
                <a:gd name="connsiteY6" fmla="*/ 308460 h 371489"/>
                <a:gd name="connsiteX7" fmla="*/ 188631 w 366355"/>
                <a:gd name="connsiteY7" fmla="*/ 327620 h 371489"/>
                <a:gd name="connsiteX8" fmla="*/ 256328 w 366355"/>
                <a:gd name="connsiteY8" fmla="*/ 308460 h 371489"/>
                <a:gd name="connsiteX9" fmla="*/ 315936 w 366355"/>
                <a:gd name="connsiteY9" fmla="*/ 237357 h 371489"/>
                <a:gd name="connsiteX10" fmla="*/ 307420 w 366355"/>
                <a:gd name="connsiteY10" fmla="*/ 143262 h 371489"/>
                <a:gd name="connsiteX11" fmla="*/ 182245 w 366355"/>
                <a:gd name="connsiteY11" fmla="*/ 215643 h 371489"/>
                <a:gd name="connsiteX12" fmla="*/ 163085 w 366355"/>
                <a:gd name="connsiteY12" fmla="*/ 182433 h 371489"/>
                <a:gd name="connsiteX13" fmla="*/ 331689 w 366355"/>
                <a:gd name="connsiteY13" fmla="*/ 84932 h 371489"/>
                <a:gd name="connsiteX14" fmla="*/ 349571 w 366355"/>
                <a:gd name="connsiteY14" fmla="*/ 116439 h 371489"/>
                <a:gd name="connsiteX15" fmla="*/ 366176 w 366355"/>
                <a:gd name="connsiteY15" fmla="*/ 201167 h 371489"/>
                <a:gd name="connsiteX16" fmla="*/ 341056 w 366355"/>
                <a:gd name="connsiteY16" fmla="*/ 283766 h 371489"/>
                <a:gd name="connsiteX17" fmla="*/ 276765 w 366355"/>
                <a:gd name="connsiteY17" fmla="*/ 345928 h 371489"/>
                <a:gd name="connsiteX18" fmla="*/ 185225 w 366355"/>
                <a:gd name="connsiteY18" fmla="*/ 371474 h 371489"/>
                <a:gd name="connsiteX19" fmla="*/ 95388 w 366355"/>
                <a:gd name="connsiteY19" fmla="*/ 347631 h 371489"/>
                <a:gd name="connsiteX20" fmla="*/ 26840 w 366355"/>
                <a:gd name="connsiteY20" fmla="*/ 277379 h 371489"/>
                <a:gd name="connsiteX21" fmla="*/ 16 w 366355"/>
                <a:gd name="connsiteY21" fmla="*/ 182859 h 371489"/>
                <a:gd name="connsiteX22" fmla="*/ 23859 w 366355"/>
                <a:gd name="connsiteY22" fmla="*/ 93022 h 371489"/>
                <a:gd name="connsiteX23" fmla="*/ 91556 w 366355"/>
                <a:gd name="connsiteY23" fmla="*/ 26602 h 371489"/>
                <a:gd name="connsiteX24" fmla="*/ 194166 w 366355"/>
                <a:gd name="connsiteY24" fmla="*/ 205 h 371489"/>
                <a:gd name="connsiteX25" fmla="*/ 290390 w 366355"/>
                <a:gd name="connsiteY25" fmla="*/ 37672 h 371489"/>
                <a:gd name="connsiteX26" fmla="*/ 242704 w 366355"/>
                <a:gd name="connsiteY26" fmla="*/ 64921 h 371489"/>
                <a:gd name="connsiteX27" fmla="*/ 242704 w 366355"/>
                <a:gd name="connsiteY27" fmla="*/ 64921 h 37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6355" h="371489">
                  <a:moveTo>
                    <a:pt x="242704" y="64921"/>
                  </a:moveTo>
                  <a:cubicBezTo>
                    <a:pt x="223544" y="51722"/>
                    <a:pt x="202682" y="44910"/>
                    <a:pt x="180542" y="44059"/>
                  </a:cubicBezTo>
                  <a:cubicBezTo>
                    <a:pt x="158402" y="43633"/>
                    <a:pt x="135836" y="49594"/>
                    <a:pt x="114122" y="61941"/>
                  </a:cubicBezTo>
                  <a:cubicBezTo>
                    <a:pt x="92408" y="74288"/>
                    <a:pt x="75377" y="91319"/>
                    <a:pt x="63881" y="111330"/>
                  </a:cubicBezTo>
                  <a:cubicBezTo>
                    <a:pt x="52386" y="131341"/>
                    <a:pt x="46425" y="153907"/>
                    <a:pt x="47702" y="178601"/>
                  </a:cubicBezTo>
                  <a:cubicBezTo>
                    <a:pt x="48554" y="203296"/>
                    <a:pt x="56217" y="227564"/>
                    <a:pt x="70268" y="252259"/>
                  </a:cubicBezTo>
                  <a:cubicBezTo>
                    <a:pt x="84318" y="276953"/>
                    <a:pt x="101775" y="295687"/>
                    <a:pt x="122637" y="308460"/>
                  </a:cubicBezTo>
                  <a:cubicBezTo>
                    <a:pt x="143500" y="321233"/>
                    <a:pt x="165214" y="327620"/>
                    <a:pt x="188631" y="327620"/>
                  </a:cubicBezTo>
                  <a:cubicBezTo>
                    <a:pt x="212048" y="327620"/>
                    <a:pt x="234614" y="321233"/>
                    <a:pt x="256328" y="308460"/>
                  </a:cubicBezTo>
                  <a:cubicBezTo>
                    <a:pt x="286983" y="290578"/>
                    <a:pt x="306569" y="267161"/>
                    <a:pt x="315936" y="237357"/>
                  </a:cubicBezTo>
                  <a:cubicBezTo>
                    <a:pt x="325303" y="207979"/>
                    <a:pt x="322322" y="176047"/>
                    <a:pt x="307420" y="143262"/>
                  </a:cubicBezTo>
                  <a:lnTo>
                    <a:pt x="182245" y="215643"/>
                  </a:lnTo>
                  <a:lnTo>
                    <a:pt x="163085" y="182433"/>
                  </a:lnTo>
                  <a:lnTo>
                    <a:pt x="331689" y="84932"/>
                  </a:lnTo>
                  <a:lnTo>
                    <a:pt x="349571" y="116439"/>
                  </a:lnTo>
                  <a:cubicBezTo>
                    <a:pt x="361918" y="143688"/>
                    <a:pt x="367454" y="172215"/>
                    <a:pt x="366176" y="201167"/>
                  </a:cubicBezTo>
                  <a:cubicBezTo>
                    <a:pt x="364899" y="230545"/>
                    <a:pt x="356384" y="258220"/>
                    <a:pt x="341056" y="283766"/>
                  </a:cubicBezTo>
                  <a:cubicBezTo>
                    <a:pt x="325728" y="309312"/>
                    <a:pt x="304014" y="330174"/>
                    <a:pt x="276765" y="345928"/>
                  </a:cubicBezTo>
                  <a:cubicBezTo>
                    <a:pt x="247387" y="362533"/>
                    <a:pt x="217157" y="371474"/>
                    <a:pt x="185225" y="371474"/>
                  </a:cubicBezTo>
                  <a:cubicBezTo>
                    <a:pt x="153292" y="371900"/>
                    <a:pt x="123489" y="363810"/>
                    <a:pt x="95388" y="347631"/>
                  </a:cubicBezTo>
                  <a:cubicBezTo>
                    <a:pt x="67287" y="331452"/>
                    <a:pt x="44722" y="308034"/>
                    <a:pt x="26840" y="277379"/>
                  </a:cubicBezTo>
                  <a:cubicBezTo>
                    <a:pt x="8957" y="246724"/>
                    <a:pt x="442" y="215217"/>
                    <a:pt x="16" y="182859"/>
                  </a:cubicBezTo>
                  <a:cubicBezTo>
                    <a:pt x="-410" y="150500"/>
                    <a:pt x="7680" y="120271"/>
                    <a:pt x="23859" y="93022"/>
                  </a:cubicBezTo>
                  <a:cubicBezTo>
                    <a:pt x="40038" y="65773"/>
                    <a:pt x="62604" y="43207"/>
                    <a:pt x="91556" y="26602"/>
                  </a:cubicBezTo>
                  <a:cubicBezTo>
                    <a:pt x="124766" y="7443"/>
                    <a:pt x="158828" y="-1499"/>
                    <a:pt x="194166" y="205"/>
                  </a:cubicBezTo>
                  <a:cubicBezTo>
                    <a:pt x="229505" y="1908"/>
                    <a:pt x="261437" y="14681"/>
                    <a:pt x="290390" y="37672"/>
                  </a:cubicBezTo>
                  <a:lnTo>
                    <a:pt x="242704" y="64921"/>
                  </a:lnTo>
                  <a:lnTo>
                    <a:pt x="242704" y="64921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82C5C2F-0F97-26FC-636E-C421109249EE}"/>
                </a:ext>
              </a:extLst>
            </p:cNvPr>
            <p:cNvSpPr/>
            <p:nvPr/>
          </p:nvSpPr>
          <p:spPr>
            <a:xfrm>
              <a:off x="6794252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9 w 284838"/>
                <a:gd name="connsiteY8" fmla="*/ 362754 h 362753"/>
                <a:gd name="connsiteX9" fmla="*/ 284839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9" y="362754"/>
                  </a:lnTo>
                  <a:lnTo>
                    <a:pt x="284839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525152B-B5FA-9C14-6008-B4EC06CA0787}"/>
                </a:ext>
              </a:extLst>
            </p:cNvPr>
            <p:cNvSpPr/>
            <p:nvPr/>
          </p:nvSpPr>
          <p:spPr>
            <a:xfrm>
              <a:off x="7762873" y="4402657"/>
              <a:ext cx="173713" cy="362328"/>
            </a:xfrm>
            <a:custGeom>
              <a:avLst/>
              <a:gdLst>
                <a:gd name="connsiteX0" fmla="*/ 0 w 173713"/>
                <a:gd name="connsiteY0" fmla="*/ 0 h 362328"/>
                <a:gd name="connsiteX1" fmla="*/ 0 w 173713"/>
                <a:gd name="connsiteY1" fmla="*/ 362328 h 362328"/>
                <a:gd name="connsiteX2" fmla="*/ 173713 w 173713"/>
                <a:gd name="connsiteY2" fmla="*/ 362328 h 362328"/>
                <a:gd name="connsiteX3" fmla="*/ 173713 w 173713"/>
                <a:gd name="connsiteY3" fmla="*/ 323583 h 362328"/>
                <a:gd name="connsiteX4" fmla="*/ 47260 w 173713"/>
                <a:gd name="connsiteY4" fmla="*/ 323583 h 362328"/>
                <a:gd name="connsiteX5" fmla="*/ 47260 w 173713"/>
                <a:gd name="connsiteY5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13" h="362328">
                  <a:moveTo>
                    <a:pt x="0" y="0"/>
                  </a:moveTo>
                  <a:lnTo>
                    <a:pt x="0" y="362328"/>
                  </a:lnTo>
                  <a:lnTo>
                    <a:pt x="173713" y="362328"/>
                  </a:lnTo>
                  <a:lnTo>
                    <a:pt x="173713" y="323583"/>
                  </a:lnTo>
                  <a:lnTo>
                    <a:pt x="47260" y="323583"/>
                  </a:lnTo>
                  <a:lnTo>
                    <a:pt x="47260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58B7199-50C7-AF4B-A67D-C676A2607284}"/>
                </a:ext>
              </a:extLst>
            </p:cNvPr>
            <p:cNvSpPr/>
            <p:nvPr/>
          </p:nvSpPr>
          <p:spPr>
            <a:xfrm>
              <a:off x="7909337" y="4402657"/>
              <a:ext cx="245667" cy="362328"/>
            </a:xfrm>
            <a:custGeom>
              <a:avLst/>
              <a:gdLst>
                <a:gd name="connsiteX0" fmla="*/ 0 w 245667"/>
                <a:gd name="connsiteY0" fmla="*/ 0 h 362328"/>
                <a:gd name="connsiteX1" fmla="*/ 0 w 245667"/>
                <a:gd name="connsiteY1" fmla="*/ 38745 h 362328"/>
                <a:gd name="connsiteX2" fmla="*/ 99630 w 245667"/>
                <a:gd name="connsiteY2" fmla="*/ 38745 h 362328"/>
                <a:gd name="connsiteX3" fmla="*/ 99630 w 245667"/>
                <a:gd name="connsiteY3" fmla="*/ 362328 h 362328"/>
                <a:gd name="connsiteX4" fmla="*/ 146890 w 245667"/>
                <a:gd name="connsiteY4" fmla="*/ 362328 h 362328"/>
                <a:gd name="connsiteX5" fmla="*/ 146890 w 245667"/>
                <a:gd name="connsiteY5" fmla="*/ 38745 h 362328"/>
                <a:gd name="connsiteX6" fmla="*/ 245668 w 245667"/>
                <a:gd name="connsiteY6" fmla="*/ 38745 h 362328"/>
                <a:gd name="connsiteX7" fmla="*/ 245668 w 245667"/>
                <a:gd name="connsiteY7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667" h="362328">
                  <a:moveTo>
                    <a:pt x="0" y="0"/>
                  </a:moveTo>
                  <a:lnTo>
                    <a:pt x="0" y="38745"/>
                  </a:lnTo>
                  <a:lnTo>
                    <a:pt x="99630" y="38745"/>
                  </a:lnTo>
                  <a:lnTo>
                    <a:pt x="99630" y="362328"/>
                  </a:lnTo>
                  <a:lnTo>
                    <a:pt x="146890" y="362328"/>
                  </a:lnTo>
                  <a:lnTo>
                    <a:pt x="146890" y="38745"/>
                  </a:lnTo>
                  <a:lnTo>
                    <a:pt x="245668" y="38745"/>
                  </a:lnTo>
                  <a:lnTo>
                    <a:pt x="245668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DEB7E2F-6404-AD33-425A-983F9307D3D2}"/>
                </a:ext>
              </a:extLst>
            </p:cNvPr>
            <p:cNvSpPr/>
            <p:nvPr/>
          </p:nvSpPr>
          <p:spPr>
            <a:xfrm>
              <a:off x="8212910" y="4402657"/>
              <a:ext cx="47260" cy="362328"/>
            </a:xfrm>
            <a:custGeom>
              <a:avLst/>
              <a:gdLst>
                <a:gd name="connsiteX0" fmla="*/ 0 w 47260"/>
                <a:gd name="connsiteY0" fmla="*/ 0 h 362328"/>
                <a:gd name="connsiteX1" fmla="*/ 47260 w 47260"/>
                <a:gd name="connsiteY1" fmla="*/ 0 h 362328"/>
                <a:gd name="connsiteX2" fmla="*/ 47260 w 47260"/>
                <a:gd name="connsiteY2" fmla="*/ 362328 h 362328"/>
                <a:gd name="connsiteX3" fmla="*/ 0 w 47260"/>
                <a:gd name="connsiteY3" fmla="*/ 362328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260" h="362328">
                  <a:moveTo>
                    <a:pt x="0" y="0"/>
                  </a:moveTo>
                  <a:lnTo>
                    <a:pt x="47260" y="0"/>
                  </a:lnTo>
                  <a:lnTo>
                    <a:pt x="47260" y="362328"/>
                  </a:lnTo>
                  <a:lnTo>
                    <a:pt x="0" y="362328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A0DDF08-A5D4-A61D-FF5F-735487785FD0}"/>
                </a:ext>
              </a:extLst>
            </p:cNvPr>
            <p:cNvSpPr/>
            <p:nvPr/>
          </p:nvSpPr>
          <p:spPr>
            <a:xfrm>
              <a:off x="7432478" y="4402657"/>
              <a:ext cx="272065" cy="365734"/>
            </a:xfrm>
            <a:custGeom>
              <a:avLst/>
              <a:gdLst>
                <a:gd name="connsiteX0" fmla="*/ 46834 w 272065"/>
                <a:gd name="connsiteY0" fmla="*/ 0 h 365734"/>
                <a:gd name="connsiteX1" fmla="*/ 46834 w 272065"/>
                <a:gd name="connsiteY1" fmla="*/ 229063 h 365734"/>
                <a:gd name="connsiteX2" fmla="*/ 70252 w 272065"/>
                <a:gd name="connsiteY2" fmla="*/ 300592 h 365734"/>
                <a:gd name="connsiteX3" fmla="*/ 135820 w 272065"/>
                <a:gd name="connsiteY3" fmla="*/ 324009 h 365734"/>
                <a:gd name="connsiteX4" fmla="*/ 201388 w 272065"/>
                <a:gd name="connsiteY4" fmla="*/ 300592 h 365734"/>
                <a:gd name="connsiteX5" fmla="*/ 224805 w 272065"/>
                <a:gd name="connsiteY5" fmla="*/ 229063 h 365734"/>
                <a:gd name="connsiteX6" fmla="*/ 224805 w 272065"/>
                <a:gd name="connsiteY6" fmla="*/ 0 h 365734"/>
                <a:gd name="connsiteX7" fmla="*/ 272066 w 272065"/>
                <a:gd name="connsiteY7" fmla="*/ 0 h 365734"/>
                <a:gd name="connsiteX8" fmla="*/ 272066 w 272065"/>
                <a:gd name="connsiteY8" fmla="*/ 228637 h 365734"/>
                <a:gd name="connsiteX9" fmla="*/ 254183 w 272065"/>
                <a:gd name="connsiteY9" fmla="*/ 304850 h 365734"/>
                <a:gd name="connsiteX10" fmla="*/ 205220 w 272065"/>
                <a:gd name="connsiteY10" fmla="*/ 350832 h 365734"/>
                <a:gd name="connsiteX11" fmla="*/ 135820 w 272065"/>
                <a:gd name="connsiteY11" fmla="*/ 365734 h 365734"/>
                <a:gd name="connsiteX12" fmla="*/ 66420 w 272065"/>
                <a:gd name="connsiteY12" fmla="*/ 350832 h 365734"/>
                <a:gd name="connsiteX13" fmla="*/ 17882 w 272065"/>
                <a:gd name="connsiteY13" fmla="*/ 304850 h 365734"/>
                <a:gd name="connsiteX14" fmla="*/ 0 w 272065"/>
                <a:gd name="connsiteY14" fmla="*/ 228637 h 365734"/>
                <a:gd name="connsiteX15" fmla="*/ 0 w 272065"/>
                <a:gd name="connsiteY15" fmla="*/ 0 h 365734"/>
                <a:gd name="connsiteX16" fmla="*/ 46834 w 272065"/>
                <a:gd name="connsiteY16" fmla="*/ 0 h 365734"/>
                <a:gd name="connsiteX17" fmla="*/ 46834 w 272065"/>
                <a:gd name="connsiteY17" fmla="*/ 0 h 36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2065" h="365734">
                  <a:moveTo>
                    <a:pt x="46834" y="0"/>
                  </a:moveTo>
                  <a:lnTo>
                    <a:pt x="46834" y="229063"/>
                  </a:lnTo>
                  <a:cubicBezTo>
                    <a:pt x="46834" y="261421"/>
                    <a:pt x="54924" y="285264"/>
                    <a:pt x="70252" y="300592"/>
                  </a:cubicBezTo>
                  <a:cubicBezTo>
                    <a:pt x="86005" y="316345"/>
                    <a:pt x="107719" y="324009"/>
                    <a:pt x="135820" y="324009"/>
                  </a:cubicBezTo>
                  <a:cubicBezTo>
                    <a:pt x="163921" y="324009"/>
                    <a:pt x="185209" y="316345"/>
                    <a:pt x="201388" y="300592"/>
                  </a:cubicBezTo>
                  <a:cubicBezTo>
                    <a:pt x="217141" y="284838"/>
                    <a:pt x="224805" y="260995"/>
                    <a:pt x="224805" y="229063"/>
                  </a:cubicBezTo>
                  <a:lnTo>
                    <a:pt x="224805" y="0"/>
                  </a:lnTo>
                  <a:lnTo>
                    <a:pt x="272066" y="0"/>
                  </a:lnTo>
                  <a:lnTo>
                    <a:pt x="272066" y="228637"/>
                  </a:lnTo>
                  <a:cubicBezTo>
                    <a:pt x="272066" y="258867"/>
                    <a:pt x="266105" y="284413"/>
                    <a:pt x="254183" y="304850"/>
                  </a:cubicBezTo>
                  <a:cubicBezTo>
                    <a:pt x="241836" y="325286"/>
                    <a:pt x="225657" y="340614"/>
                    <a:pt x="205220" y="350832"/>
                  </a:cubicBezTo>
                  <a:cubicBezTo>
                    <a:pt x="184783" y="361051"/>
                    <a:pt x="161366" y="365734"/>
                    <a:pt x="135820" y="365734"/>
                  </a:cubicBezTo>
                  <a:cubicBezTo>
                    <a:pt x="110274" y="365734"/>
                    <a:pt x="87282" y="361051"/>
                    <a:pt x="66420" y="350832"/>
                  </a:cubicBezTo>
                  <a:cubicBezTo>
                    <a:pt x="45983" y="340614"/>
                    <a:pt x="29804" y="325286"/>
                    <a:pt x="17882" y="304850"/>
                  </a:cubicBezTo>
                  <a:cubicBezTo>
                    <a:pt x="5961" y="284413"/>
                    <a:pt x="0" y="258867"/>
                    <a:pt x="0" y="228637"/>
                  </a:cubicBezTo>
                  <a:lnTo>
                    <a:pt x="0" y="0"/>
                  </a:lnTo>
                  <a:lnTo>
                    <a:pt x="46834" y="0"/>
                  </a:lnTo>
                  <a:lnTo>
                    <a:pt x="46834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BC27055-2F71-5802-C3FB-E450ED0E127F}"/>
                </a:ext>
              </a:extLst>
            </p:cNvPr>
            <p:cNvSpPr/>
            <p:nvPr/>
          </p:nvSpPr>
          <p:spPr>
            <a:xfrm>
              <a:off x="7136995" y="4398399"/>
              <a:ext cx="245667" cy="369595"/>
            </a:xfrm>
            <a:custGeom>
              <a:avLst/>
              <a:gdLst>
                <a:gd name="connsiteX0" fmla="*/ 61311 w 245667"/>
                <a:gd name="connsiteY0" fmla="*/ 357645 h 369595"/>
                <a:gd name="connsiteX1" fmla="*/ 16605 w 245667"/>
                <a:gd name="connsiteY1" fmla="*/ 322306 h 369595"/>
                <a:gd name="connsiteX2" fmla="*/ 0 w 245667"/>
                <a:gd name="connsiteY2" fmla="*/ 269937 h 369595"/>
                <a:gd name="connsiteX3" fmla="*/ 50241 w 245667"/>
                <a:gd name="connsiteY3" fmla="*/ 269937 h 369595"/>
                <a:gd name="connsiteX4" fmla="*/ 71103 w 245667"/>
                <a:gd name="connsiteY4" fmla="*/ 312513 h 369595"/>
                <a:gd name="connsiteX5" fmla="*/ 124750 w 245667"/>
                <a:gd name="connsiteY5" fmla="*/ 329970 h 369595"/>
                <a:gd name="connsiteX6" fmla="*/ 177971 w 245667"/>
                <a:gd name="connsiteY6" fmla="*/ 312939 h 369595"/>
                <a:gd name="connsiteX7" fmla="*/ 197556 w 245667"/>
                <a:gd name="connsiteY7" fmla="*/ 269511 h 369595"/>
                <a:gd name="connsiteX8" fmla="*/ 186061 w 245667"/>
                <a:gd name="connsiteY8" fmla="*/ 235875 h 369595"/>
                <a:gd name="connsiteX9" fmla="*/ 157534 w 245667"/>
                <a:gd name="connsiteY9" fmla="*/ 216290 h 369595"/>
                <a:gd name="connsiteX10" fmla="*/ 111125 w 245667"/>
                <a:gd name="connsiteY10" fmla="*/ 201814 h 369595"/>
                <a:gd name="connsiteX11" fmla="*/ 53647 w 245667"/>
                <a:gd name="connsiteY11" fmla="*/ 183080 h 369595"/>
                <a:gd name="connsiteX12" fmla="*/ 17031 w 245667"/>
                <a:gd name="connsiteY12" fmla="*/ 153702 h 369595"/>
                <a:gd name="connsiteX13" fmla="*/ 1703 w 245667"/>
                <a:gd name="connsiteY13" fmla="*/ 100055 h 369595"/>
                <a:gd name="connsiteX14" fmla="*/ 16605 w 245667"/>
                <a:gd name="connsiteY14" fmla="*/ 47686 h 369595"/>
                <a:gd name="connsiteX15" fmla="*/ 59182 w 245667"/>
                <a:gd name="connsiteY15" fmla="*/ 12347 h 369595"/>
                <a:gd name="connsiteX16" fmla="*/ 121770 w 245667"/>
                <a:gd name="connsiteY16" fmla="*/ 0 h 369595"/>
                <a:gd name="connsiteX17" fmla="*/ 205220 w 245667"/>
                <a:gd name="connsiteY17" fmla="*/ 25546 h 369595"/>
                <a:gd name="connsiteX18" fmla="*/ 241836 w 245667"/>
                <a:gd name="connsiteY18" fmla="*/ 92817 h 369595"/>
                <a:gd name="connsiteX19" fmla="*/ 189892 w 245667"/>
                <a:gd name="connsiteY19" fmla="*/ 92817 h 369595"/>
                <a:gd name="connsiteX20" fmla="*/ 168178 w 245667"/>
                <a:gd name="connsiteY20" fmla="*/ 56201 h 369595"/>
                <a:gd name="connsiteX21" fmla="*/ 117512 w 245667"/>
                <a:gd name="connsiteY21" fmla="*/ 40022 h 369595"/>
                <a:gd name="connsiteX22" fmla="*/ 68974 w 245667"/>
                <a:gd name="connsiteY22" fmla="*/ 55350 h 369595"/>
                <a:gd name="connsiteX23" fmla="*/ 50241 w 245667"/>
                <a:gd name="connsiteY23" fmla="*/ 97927 h 369595"/>
                <a:gd name="connsiteX24" fmla="*/ 61311 w 245667"/>
                <a:gd name="connsiteY24" fmla="*/ 130285 h 369595"/>
                <a:gd name="connsiteX25" fmla="*/ 88985 w 245667"/>
                <a:gd name="connsiteY25" fmla="*/ 149444 h 369595"/>
                <a:gd name="connsiteX26" fmla="*/ 134968 w 245667"/>
                <a:gd name="connsiteY26" fmla="*/ 164346 h 369595"/>
                <a:gd name="connsiteX27" fmla="*/ 192447 w 245667"/>
                <a:gd name="connsiteY27" fmla="*/ 183932 h 369595"/>
                <a:gd name="connsiteX28" fmla="*/ 229915 w 245667"/>
                <a:gd name="connsiteY28" fmla="*/ 213310 h 369595"/>
                <a:gd name="connsiteX29" fmla="*/ 245668 w 245667"/>
                <a:gd name="connsiteY29" fmla="*/ 267382 h 369595"/>
                <a:gd name="connsiteX30" fmla="*/ 231618 w 245667"/>
                <a:gd name="connsiteY30" fmla="*/ 317197 h 369595"/>
                <a:gd name="connsiteX31" fmla="*/ 189892 w 245667"/>
                <a:gd name="connsiteY31" fmla="*/ 355090 h 369595"/>
                <a:gd name="connsiteX32" fmla="*/ 124750 w 245667"/>
                <a:gd name="connsiteY32" fmla="*/ 369566 h 369595"/>
                <a:gd name="connsiteX33" fmla="*/ 61311 w 245667"/>
                <a:gd name="connsiteY33" fmla="*/ 357645 h 369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45667" h="369595">
                  <a:moveTo>
                    <a:pt x="61311" y="357645"/>
                  </a:moveTo>
                  <a:cubicBezTo>
                    <a:pt x="42577" y="349129"/>
                    <a:pt x="27675" y="337634"/>
                    <a:pt x="16605" y="322306"/>
                  </a:cubicBezTo>
                  <a:cubicBezTo>
                    <a:pt x="5961" y="307404"/>
                    <a:pt x="426" y="289948"/>
                    <a:pt x="0" y="269937"/>
                  </a:cubicBezTo>
                  <a:lnTo>
                    <a:pt x="50241" y="269937"/>
                  </a:lnTo>
                  <a:cubicBezTo>
                    <a:pt x="51944" y="286967"/>
                    <a:pt x="58756" y="301443"/>
                    <a:pt x="71103" y="312513"/>
                  </a:cubicBezTo>
                  <a:cubicBezTo>
                    <a:pt x="83450" y="323583"/>
                    <a:pt x="101333" y="329970"/>
                    <a:pt x="124750" y="329970"/>
                  </a:cubicBezTo>
                  <a:cubicBezTo>
                    <a:pt x="148167" y="329970"/>
                    <a:pt x="165198" y="324435"/>
                    <a:pt x="177971" y="312939"/>
                  </a:cubicBezTo>
                  <a:cubicBezTo>
                    <a:pt x="190744" y="301869"/>
                    <a:pt x="197556" y="287393"/>
                    <a:pt x="197556" y="269511"/>
                  </a:cubicBezTo>
                  <a:cubicBezTo>
                    <a:pt x="197556" y="255461"/>
                    <a:pt x="193724" y="244391"/>
                    <a:pt x="186061" y="235875"/>
                  </a:cubicBezTo>
                  <a:cubicBezTo>
                    <a:pt x="178397" y="227360"/>
                    <a:pt x="169030" y="220548"/>
                    <a:pt x="157534" y="216290"/>
                  </a:cubicBezTo>
                  <a:cubicBezTo>
                    <a:pt x="146038" y="211607"/>
                    <a:pt x="130711" y="206923"/>
                    <a:pt x="111125" y="201814"/>
                  </a:cubicBezTo>
                  <a:cubicBezTo>
                    <a:pt x="87282" y="195427"/>
                    <a:pt x="68123" y="189467"/>
                    <a:pt x="53647" y="183080"/>
                  </a:cubicBezTo>
                  <a:cubicBezTo>
                    <a:pt x="39171" y="176694"/>
                    <a:pt x="26823" y="166901"/>
                    <a:pt x="17031" y="153702"/>
                  </a:cubicBezTo>
                  <a:cubicBezTo>
                    <a:pt x="6812" y="140503"/>
                    <a:pt x="1703" y="122195"/>
                    <a:pt x="1703" y="100055"/>
                  </a:cubicBezTo>
                  <a:cubicBezTo>
                    <a:pt x="1703" y="80470"/>
                    <a:pt x="6387" y="63014"/>
                    <a:pt x="16605" y="47686"/>
                  </a:cubicBezTo>
                  <a:cubicBezTo>
                    <a:pt x="26823" y="32358"/>
                    <a:pt x="40874" y="20437"/>
                    <a:pt x="59182" y="12347"/>
                  </a:cubicBezTo>
                  <a:cubicBezTo>
                    <a:pt x="77064" y="3832"/>
                    <a:pt x="97927" y="0"/>
                    <a:pt x="121770" y="0"/>
                  </a:cubicBezTo>
                  <a:cubicBezTo>
                    <a:pt x="155831" y="0"/>
                    <a:pt x="183506" y="8515"/>
                    <a:pt x="205220" y="25546"/>
                  </a:cubicBezTo>
                  <a:cubicBezTo>
                    <a:pt x="226934" y="42577"/>
                    <a:pt x="238856" y="65142"/>
                    <a:pt x="241836" y="92817"/>
                  </a:cubicBezTo>
                  <a:lnTo>
                    <a:pt x="189892" y="92817"/>
                  </a:lnTo>
                  <a:cubicBezTo>
                    <a:pt x="188189" y="78767"/>
                    <a:pt x="180951" y="66846"/>
                    <a:pt x="168178" y="56201"/>
                  </a:cubicBezTo>
                  <a:cubicBezTo>
                    <a:pt x="155405" y="45983"/>
                    <a:pt x="138374" y="40022"/>
                    <a:pt x="117512" y="40022"/>
                  </a:cubicBezTo>
                  <a:cubicBezTo>
                    <a:pt x="96649" y="40022"/>
                    <a:pt x="81747" y="45131"/>
                    <a:pt x="68974" y="55350"/>
                  </a:cubicBezTo>
                  <a:cubicBezTo>
                    <a:pt x="56201" y="65568"/>
                    <a:pt x="50241" y="79619"/>
                    <a:pt x="50241" y="97927"/>
                  </a:cubicBezTo>
                  <a:cubicBezTo>
                    <a:pt x="50241" y="111125"/>
                    <a:pt x="54073" y="121770"/>
                    <a:pt x="61311" y="130285"/>
                  </a:cubicBezTo>
                  <a:cubicBezTo>
                    <a:pt x="68549" y="138800"/>
                    <a:pt x="77915" y="144761"/>
                    <a:pt x="88985" y="149444"/>
                  </a:cubicBezTo>
                  <a:cubicBezTo>
                    <a:pt x="99630" y="153702"/>
                    <a:pt x="115383" y="158811"/>
                    <a:pt x="134968" y="164346"/>
                  </a:cubicBezTo>
                  <a:cubicBezTo>
                    <a:pt x="158811" y="171159"/>
                    <a:pt x="177971" y="177545"/>
                    <a:pt x="192447" y="183932"/>
                  </a:cubicBezTo>
                  <a:cubicBezTo>
                    <a:pt x="206923" y="190318"/>
                    <a:pt x="219696" y="200111"/>
                    <a:pt x="229915" y="213310"/>
                  </a:cubicBezTo>
                  <a:cubicBezTo>
                    <a:pt x="240133" y="226508"/>
                    <a:pt x="245668" y="244816"/>
                    <a:pt x="245668" y="267382"/>
                  </a:cubicBezTo>
                  <a:cubicBezTo>
                    <a:pt x="245668" y="285264"/>
                    <a:pt x="240985" y="301869"/>
                    <a:pt x="231618" y="317197"/>
                  </a:cubicBezTo>
                  <a:cubicBezTo>
                    <a:pt x="222251" y="332950"/>
                    <a:pt x="208200" y="345297"/>
                    <a:pt x="189892" y="355090"/>
                  </a:cubicBezTo>
                  <a:cubicBezTo>
                    <a:pt x="171584" y="364883"/>
                    <a:pt x="149870" y="369566"/>
                    <a:pt x="124750" y="369566"/>
                  </a:cubicBezTo>
                  <a:cubicBezTo>
                    <a:pt x="100055" y="369992"/>
                    <a:pt x="79619" y="365734"/>
                    <a:pt x="61311" y="357645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C18F434-1C6C-A1C2-ED9E-FE0C0D3FDCC8}"/>
                </a:ext>
              </a:extLst>
            </p:cNvPr>
            <p:cNvSpPr/>
            <p:nvPr/>
          </p:nvSpPr>
          <p:spPr>
            <a:xfrm>
              <a:off x="8318074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8 w 284838"/>
                <a:gd name="connsiteY8" fmla="*/ 362754 h 362753"/>
                <a:gd name="connsiteX9" fmla="*/ 284838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8" y="362754"/>
                  </a:lnTo>
                  <a:lnTo>
                    <a:pt x="284838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7F40AF6-35CF-C1A9-82CF-D4DAA7B614CD}"/>
                </a:ext>
              </a:extLst>
            </p:cNvPr>
            <p:cNvSpPr/>
            <p:nvPr/>
          </p:nvSpPr>
          <p:spPr>
            <a:xfrm>
              <a:off x="6372742" y="4398399"/>
              <a:ext cx="363605" cy="369140"/>
            </a:xfrm>
            <a:custGeom>
              <a:avLst/>
              <a:gdLst>
                <a:gd name="connsiteX0" fmla="*/ 89837 w 363605"/>
                <a:gd name="connsiteY0" fmla="*/ 346575 h 369140"/>
                <a:gd name="connsiteX1" fmla="*/ 24269 w 363605"/>
                <a:gd name="connsiteY1" fmla="*/ 280581 h 369140"/>
                <a:gd name="connsiteX2" fmla="*/ 0 w 363605"/>
                <a:gd name="connsiteY2" fmla="*/ 185209 h 369140"/>
                <a:gd name="connsiteX3" fmla="*/ 24269 w 363605"/>
                <a:gd name="connsiteY3" fmla="*/ 89837 h 369140"/>
                <a:gd name="connsiteX4" fmla="*/ 89837 w 363605"/>
                <a:gd name="connsiteY4" fmla="*/ 23843 h 369140"/>
                <a:gd name="connsiteX5" fmla="*/ 181803 w 363605"/>
                <a:gd name="connsiteY5" fmla="*/ 0 h 369140"/>
                <a:gd name="connsiteX6" fmla="*/ 274194 w 363605"/>
                <a:gd name="connsiteY6" fmla="*/ 23843 h 369140"/>
                <a:gd name="connsiteX7" fmla="*/ 339763 w 363605"/>
                <a:gd name="connsiteY7" fmla="*/ 89411 h 369140"/>
                <a:gd name="connsiteX8" fmla="*/ 363606 w 363605"/>
                <a:gd name="connsiteY8" fmla="*/ 184783 h 369140"/>
                <a:gd name="connsiteX9" fmla="*/ 339763 w 363605"/>
                <a:gd name="connsiteY9" fmla="*/ 280155 h 369140"/>
                <a:gd name="connsiteX10" fmla="*/ 274194 w 363605"/>
                <a:gd name="connsiteY10" fmla="*/ 345723 h 369140"/>
                <a:gd name="connsiteX11" fmla="*/ 181803 w 363605"/>
                <a:gd name="connsiteY11" fmla="*/ 369140 h 369140"/>
                <a:gd name="connsiteX12" fmla="*/ 89837 w 363605"/>
                <a:gd name="connsiteY12" fmla="*/ 346575 h 369140"/>
                <a:gd name="connsiteX13" fmla="*/ 249926 w 363605"/>
                <a:gd name="connsiteY13" fmla="*/ 311236 h 369140"/>
                <a:gd name="connsiteX14" fmla="*/ 297612 w 363605"/>
                <a:gd name="connsiteY14" fmla="*/ 260995 h 369140"/>
                <a:gd name="connsiteX15" fmla="*/ 315068 w 363605"/>
                <a:gd name="connsiteY15" fmla="*/ 185209 h 369140"/>
                <a:gd name="connsiteX16" fmla="*/ 297612 w 363605"/>
                <a:gd name="connsiteY16" fmla="*/ 108997 h 369140"/>
                <a:gd name="connsiteX17" fmla="*/ 249926 w 363605"/>
                <a:gd name="connsiteY17" fmla="*/ 58756 h 369140"/>
                <a:gd name="connsiteX18" fmla="*/ 181377 w 363605"/>
                <a:gd name="connsiteY18" fmla="*/ 40874 h 369140"/>
                <a:gd name="connsiteX19" fmla="*/ 112828 w 363605"/>
                <a:gd name="connsiteY19" fmla="*/ 58756 h 369140"/>
                <a:gd name="connsiteX20" fmla="*/ 65142 w 363605"/>
                <a:gd name="connsiteY20" fmla="*/ 108997 h 369140"/>
                <a:gd name="connsiteX21" fmla="*/ 47686 w 363605"/>
                <a:gd name="connsiteY21" fmla="*/ 185209 h 369140"/>
                <a:gd name="connsiteX22" fmla="*/ 65142 w 363605"/>
                <a:gd name="connsiteY22" fmla="*/ 260995 h 369140"/>
                <a:gd name="connsiteX23" fmla="*/ 112828 w 363605"/>
                <a:gd name="connsiteY23" fmla="*/ 311236 h 369140"/>
                <a:gd name="connsiteX24" fmla="*/ 180951 w 363605"/>
                <a:gd name="connsiteY24" fmla="*/ 329118 h 369140"/>
                <a:gd name="connsiteX25" fmla="*/ 249926 w 363605"/>
                <a:gd name="connsiteY25" fmla="*/ 311236 h 369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3605" h="369140">
                  <a:moveTo>
                    <a:pt x="89837" y="346575"/>
                  </a:moveTo>
                  <a:cubicBezTo>
                    <a:pt x="62162" y="330821"/>
                    <a:pt x="40022" y="308681"/>
                    <a:pt x="24269" y="280581"/>
                  </a:cubicBezTo>
                  <a:cubicBezTo>
                    <a:pt x="8090" y="252480"/>
                    <a:pt x="0" y="220548"/>
                    <a:pt x="0" y="185209"/>
                  </a:cubicBezTo>
                  <a:cubicBezTo>
                    <a:pt x="0" y="149870"/>
                    <a:pt x="8090" y="117938"/>
                    <a:pt x="24269" y="89837"/>
                  </a:cubicBezTo>
                  <a:cubicBezTo>
                    <a:pt x="40448" y="61736"/>
                    <a:pt x="62162" y="39596"/>
                    <a:pt x="89837" y="23843"/>
                  </a:cubicBezTo>
                  <a:cubicBezTo>
                    <a:pt x="117512" y="8090"/>
                    <a:pt x="148167" y="0"/>
                    <a:pt x="181803" y="0"/>
                  </a:cubicBezTo>
                  <a:cubicBezTo>
                    <a:pt x="215438" y="0"/>
                    <a:pt x="246519" y="8090"/>
                    <a:pt x="274194" y="23843"/>
                  </a:cubicBezTo>
                  <a:cubicBezTo>
                    <a:pt x="301869" y="39596"/>
                    <a:pt x="323583" y="61311"/>
                    <a:pt x="339763" y="89411"/>
                  </a:cubicBezTo>
                  <a:cubicBezTo>
                    <a:pt x="355942" y="117512"/>
                    <a:pt x="363606" y="149444"/>
                    <a:pt x="363606" y="184783"/>
                  </a:cubicBezTo>
                  <a:cubicBezTo>
                    <a:pt x="363606" y="220122"/>
                    <a:pt x="355516" y="252054"/>
                    <a:pt x="339763" y="280155"/>
                  </a:cubicBezTo>
                  <a:cubicBezTo>
                    <a:pt x="324009" y="308256"/>
                    <a:pt x="301869" y="330396"/>
                    <a:pt x="274194" y="345723"/>
                  </a:cubicBezTo>
                  <a:cubicBezTo>
                    <a:pt x="246519" y="361477"/>
                    <a:pt x="215864" y="369140"/>
                    <a:pt x="181803" y="369140"/>
                  </a:cubicBezTo>
                  <a:cubicBezTo>
                    <a:pt x="147741" y="369140"/>
                    <a:pt x="117086" y="362328"/>
                    <a:pt x="89837" y="346575"/>
                  </a:cubicBezTo>
                  <a:moveTo>
                    <a:pt x="249926" y="311236"/>
                  </a:moveTo>
                  <a:cubicBezTo>
                    <a:pt x="269937" y="299315"/>
                    <a:pt x="286116" y="282710"/>
                    <a:pt x="297612" y="260995"/>
                  </a:cubicBezTo>
                  <a:cubicBezTo>
                    <a:pt x="309107" y="239281"/>
                    <a:pt x="315068" y="213735"/>
                    <a:pt x="315068" y="185209"/>
                  </a:cubicBezTo>
                  <a:cubicBezTo>
                    <a:pt x="315068" y="156682"/>
                    <a:pt x="309107" y="130711"/>
                    <a:pt x="297612" y="108997"/>
                  </a:cubicBezTo>
                  <a:cubicBezTo>
                    <a:pt x="286116" y="87282"/>
                    <a:pt x="270362" y="70677"/>
                    <a:pt x="249926" y="58756"/>
                  </a:cubicBezTo>
                  <a:cubicBezTo>
                    <a:pt x="229489" y="46834"/>
                    <a:pt x="206923" y="40874"/>
                    <a:pt x="181377" y="40874"/>
                  </a:cubicBezTo>
                  <a:cubicBezTo>
                    <a:pt x="155831" y="40874"/>
                    <a:pt x="132839" y="46834"/>
                    <a:pt x="112828" y="58756"/>
                  </a:cubicBezTo>
                  <a:cubicBezTo>
                    <a:pt x="92817" y="70677"/>
                    <a:pt x="77064" y="87282"/>
                    <a:pt x="65142" y="108997"/>
                  </a:cubicBezTo>
                  <a:cubicBezTo>
                    <a:pt x="53647" y="130711"/>
                    <a:pt x="47686" y="155831"/>
                    <a:pt x="47686" y="185209"/>
                  </a:cubicBezTo>
                  <a:cubicBezTo>
                    <a:pt x="47686" y="214587"/>
                    <a:pt x="53647" y="238856"/>
                    <a:pt x="65142" y="260995"/>
                  </a:cubicBezTo>
                  <a:cubicBezTo>
                    <a:pt x="76638" y="282710"/>
                    <a:pt x="92392" y="299740"/>
                    <a:pt x="112828" y="311236"/>
                  </a:cubicBezTo>
                  <a:cubicBezTo>
                    <a:pt x="132839" y="323158"/>
                    <a:pt x="155831" y="329118"/>
                    <a:pt x="180951" y="329118"/>
                  </a:cubicBezTo>
                  <a:cubicBezTo>
                    <a:pt x="206072" y="329118"/>
                    <a:pt x="229489" y="323158"/>
                    <a:pt x="249926" y="311236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28395EA8-7ABE-6DDA-1360-5E5F9818DBEF}"/>
                </a:ext>
              </a:extLst>
            </p:cNvPr>
            <p:cNvSpPr/>
            <p:nvPr/>
          </p:nvSpPr>
          <p:spPr>
            <a:xfrm>
              <a:off x="5978481" y="4397973"/>
              <a:ext cx="348703" cy="369991"/>
            </a:xfrm>
            <a:custGeom>
              <a:avLst/>
              <a:gdLst>
                <a:gd name="connsiteX0" fmla="*/ 24269 w 348703"/>
                <a:gd name="connsiteY0" fmla="*/ 90263 h 369991"/>
                <a:gd name="connsiteX1" fmla="*/ 89411 w 348703"/>
                <a:gd name="connsiteY1" fmla="*/ 23843 h 369991"/>
                <a:gd name="connsiteX2" fmla="*/ 181377 w 348703"/>
                <a:gd name="connsiteY2" fmla="*/ 0 h 369991"/>
                <a:gd name="connsiteX3" fmla="*/ 284413 w 348703"/>
                <a:gd name="connsiteY3" fmla="*/ 28526 h 369991"/>
                <a:gd name="connsiteX4" fmla="*/ 348704 w 348703"/>
                <a:gd name="connsiteY4" fmla="*/ 109422 h 369991"/>
                <a:gd name="connsiteX5" fmla="*/ 292077 w 348703"/>
                <a:gd name="connsiteY5" fmla="*/ 109422 h 369991"/>
                <a:gd name="connsiteX6" fmla="*/ 248648 w 348703"/>
                <a:gd name="connsiteY6" fmla="*/ 59182 h 369991"/>
                <a:gd name="connsiteX7" fmla="*/ 180951 w 348703"/>
                <a:gd name="connsiteY7" fmla="*/ 41299 h 369991"/>
                <a:gd name="connsiteX8" fmla="*/ 112828 w 348703"/>
                <a:gd name="connsiteY8" fmla="*/ 59182 h 369991"/>
                <a:gd name="connsiteX9" fmla="*/ 65568 w 348703"/>
                <a:gd name="connsiteY9" fmla="*/ 109422 h 369991"/>
                <a:gd name="connsiteX10" fmla="*/ 48538 w 348703"/>
                <a:gd name="connsiteY10" fmla="*/ 185635 h 369991"/>
                <a:gd name="connsiteX11" fmla="*/ 65568 w 348703"/>
                <a:gd name="connsiteY11" fmla="*/ 260995 h 369991"/>
                <a:gd name="connsiteX12" fmla="*/ 112828 w 348703"/>
                <a:gd name="connsiteY12" fmla="*/ 311236 h 369991"/>
                <a:gd name="connsiteX13" fmla="*/ 180951 w 348703"/>
                <a:gd name="connsiteY13" fmla="*/ 329118 h 369991"/>
                <a:gd name="connsiteX14" fmla="*/ 248648 w 348703"/>
                <a:gd name="connsiteY14" fmla="*/ 311662 h 369991"/>
                <a:gd name="connsiteX15" fmla="*/ 292077 w 348703"/>
                <a:gd name="connsiteY15" fmla="*/ 261421 h 369991"/>
                <a:gd name="connsiteX16" fmla="*/ 348704 w 348703"/>
                <a:gd name="connsiteY16" fmla="*/ 261421 h 369991"/>
                <a:gd name="connsiteX17" fmla="*/ 284413 w 348703"/>
                <a:gd name="connsiteY17" fmla="*/ 341891 h 369991"/>
                <a:gd name="connsiteX18" fmla="*/ 181377 w 348703"/>
                <a:gd name="connsiteY18" fmla="*/ 369992 h 369991"/>
                <a:gd name="connsiteX19" fmla="*/ 89411 w 348703"/>
                <a:gd name="connsiteY19" fmla="*/ 346575 h 369991"/>
                <a:gd name="connsiteX20" fmla="*/ 23843 w 348703"/>
                <a:gd name="connsiteY20" fmla="*/ 281007 h 369991"/>
                <a:gd name="connsiteX21" fmla="*/ 0 w 348703"/>
                <a:gd name="connsiteY21" fmla="*/ 186060 h 369991"/>
                <a:gd name="connsiteX22" fmla="*/ 24269 w 348703"/>
                <a:gd name="connsiteY22" fmla="*/ 90263 h 36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8703" h="369991">
                  <a:moveTo>
                    <a:pt x="24269" y="90263"/>
                  </a:moveTo>
                  <a:cubicBezTo>
                    <a:pt x="40448" y="62162"/>
                    <a:pt x="61736" y="40022"/>
                    <a:pt x="89411" y="23843"/>
                  </a:cubicBezTo>
                  <a:cubicBezTo>
                    <a:pt x="117086" y="7664"/>
                    <a:pt x="147316" y="0"/>
                    <a:pt x="181377" y="0"/>
                  </a:cubicBezTo>
                  <a:cubicBezTo>
                    <a:pt x="220973" y="0"/>
                    <a:pt x="255461" y="9367"/>
                    <a:pt x="284413" y="28526"/>
                  </a:cubicBezTo>
                  <a:cubicBezTo>
                    <a:pt x="313791" y="47686"/>
                    <a:pt x="335079" y="74935"/>
                    <a:pt x="348704" y="109422"/>
                  </a:cubicBezTo>
                  <a:lnTo>
                    <a:pt x="292077" y="109422"/>
                  </a:lnTo>
                  <a:cubicBezTo>
                    <a:pt x="281858" y="87708"/>
                    <a:pt x="267808" y="70677"/>
                    <a:pt x="248648" y="59182"/>
                  </a:cubicBezTo>
                  <a:cubicBezTo>
                    <a:pt x="229915" y="47260"/>
                    <a:pt x="207349" y="41299"/>
                    <a:pt x="180951" y="41299"/>
                  </a:cubicBezTo>
                  <a:cubicBezTo>
                    <a:pt x="154554" y="41299"/>
                    <a:pt x="132839" y="47260"/>
                    <a:pt x="112828" y="59182"/>
                  </a:cubicBezTo>
                  <a:cubicBezTo>
                    <a:pt x="92817" y="71103"/>
                    <a:pt x="77064" y="87708"/>
                    <a:pt x="65568" y="109422"/>
                  </a:cubicBezTo>
                  <a:cubicBezTo>
                    <a:pt x="54072" y="131136"/>
                    <a:pt x="48538" y="156257"/>
                    <a:pt x="48538" y="185635"/>
                  </a:cubicBezTo>
                  <a:cubicBezTo>
                    <a:pt x="48538" y="215013"/>
                    <a:pt x="54072" y="239281"/>
                    <a:pt x="65568" y="260995"/>
                  </a:cubicBezTo>
                  <a:cubicBezTo>
                    <a:pt x="77064" y="282710"/>
                    <a:pt x="92817" y="299315"/>
                    <a:pt x="112828" y="311236"/>
                  </a:cubicBezTo>
                  <a:cubicBezTo>
                    <a:pt x="132839" y="323158"/>
                    <a:pt x="155405" y="329118"/>
                    <a:pt x="180951" y="329118"/>
                  </a:cubicBezTo>
                  <a:cubicBezTo>
                    <a:pt x="206497" y="329118"/>
                    <a:pt x="229915" y="323158"/>
                    <a:pt x="248648" y="311662"/>
                  </a:cubicBezTo>
                  <a:cubicBezTo>
                    <a:pt x="267382" y="300166"/>
                    <a:pt x="281858" y="283561"/>
                    <a:pt x="292077" y="261421"/>
                  </a:cubicBezTo>
                  <a:lnTo>
                    <a:pt x="348704" y="261421"/>
                  </a:lnTo>
                  <a:cubicBezTo>
                    <a:pt x="335079" y="296334"/>
                    <a:pt x="313791" y="323158"/>
                    <a:pt x="284413" y="341891"/>
                  </a:cubicBezTo>
                  <a:cubicBezTo>
                    <a:pt x="255035" y="360625"/>
                    <a:pt x="220548" y="369992"/>
                    <a:pt x="181377" y="369992"/>
                  </a:cubicBezTo>
                  <a:cubicBezTo>
                    <a:pt x="147741" y="369992"/>
                    <a:pt x="117086" y="361902"/>
                    <a:pt x="89411" y="346575"/>
                  </a:cubicBezTo>
                  <a:cubicBezTo>
                    <a:pt x="62162" y="330821"/>
                    <a:pt x="40022" y="309107"/>
                    <a:pt x="23843" y="281007"/>
                  </a:cubicBezTo>
                  <a:cubicBezTo>
                    <a:pt x="7664" y="252906"/>
                    <a:pt x="0" y="221399"/>
                    <a:pt x="0" y="186060"/>
                  </a:cubicBezTo>
                  <a:cubicBezTo>
                    <a:pt x="0" y="150722"/>
                    <a:pt x="8090" y="118363"/>
                    <a:pt x="24269" y="90263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3939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_Red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62BCC7-16BE-7DC8-9502-D8C1BF93C7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64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62BCC7-16BE-7DC8-9502-D8C1BF93C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C53212-15FB-B691-7374-7583B3B298D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0863" y="432000"/>
            <a:ext cx="4945062" cy="738000"/>
          </a:xfrm>
        </p:spPr>
        <p:txBody>
          <a:bodyPr vert="horz"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166C33DF-F8F4-B901-5C7E-F154694E53A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D8ECBF9B-21F6-D62A-4BBD-F018945052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ource/Note: 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7D3EBD59-ED38-4873-B4B5-5BDBE19E0532}"/>
              </a:ext>
            </a:extLst>
          </p:cNvPr>
          <p:cNvSpPr/>
          <p:nvPr userDrawn="1"/>
        </p:nvSpPr>
        <p:spPr>
          <a:xfrm rot="1599265" flipH="1">
            <a:off x="6168771" y="3146502"/>
            <a:ext cx="299416" cy="3990707"/>
          </a:xfrm>
          <a:custGeom>
            <a:avLst/>
            <a:gdLst>
              <a:gd name="connsiteX0" fmla="*/ 299416 w 299416"/>
              <a:gd name="connsiteY0" fmla="*/ 0 h 3990707"/>
              <a:gd name="connsiteX1" fmla="*/ 0 w 299416"/>
              <a:gd name="connsiteY1" fmla="*/ 0 h 3990707"/>
              <a:gd name="connsiteX2" fmla="*/ 0 w 299416"/>
              <a:gd name="connsiteY2" fmla="*/ 3840415 h 3990707"/>
              <a:gd name="connsiteX3" fmla="*/ 299416 w 299416"/>
              <a:gd name="connsiteY3" fmla="*/ 3990707 h 3990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416" h="3990707">
                <a:moveTo>
                  <a:pt x="299416" y="0"/>
                </a:moveTo>
                <a:lnTo>
                  <a:pt x="0" y="0"/>
                </a:lnTo>
                <a:lnTo>
                  <a:pt x="0" y="3840415"/>
                </a:lnTo>
                <a:lnTo>
                  <a:pt x="299416" y="3990707"/>
                </a:lnTo>
                <a:close/>
              </a:path>
            </a:pathLst>
          </a:custGeom>
          <a:gradFill flip="none" rotWithShape="1">
            <a:gsLst>
              <a:gs pos="0">
                <a:schemeClr val="bg2">
                  <a:alpha val="43000"/>
                </a:schemeClr>
              </a:gs>
              <a:gs pos="30000">
                <a:schemeClr val="bg2">
                  <a:alpha val="0"/>
                </a:schemeClr>
              </a:gs>
            </a:gsLst>
            <a:lin ang="10920000" scaled="0"/>
            <a:tileRect/>
          </a:gradFill>
          <a:ln w="6350">
            <a:noFill/>
          </a:ln>
        </p:spPr>
        <p:txBody>
          <a:bodyPr vert="horz" wrap="square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C50B0EA-9FF8-92F7-64F9-CFE162501D03}"/>
              </a:ext>
            </a:extLst>
          </p:cNvPr>
          <p:cNvSpPr/>
          <p:nvPr userDrawn="1"/>
        </p:nvSpPr>
        <p:spPr>
          <a:xfrm>
            <a:off x="0" y="1"/>
            <a:ext cx="6833024" cy="6858000"/>
          </a:xfrm>
          <a:custGeom>
            <a:avLst/>
            <a:gdLst>
              <a:gd name="connsiteX0" fmla="*/ 0 w 6833024"/>
              <a:gd name="connsiteY0" fmla="*/ 0 h 6858000"/>
              <a:gd name="connsiteX1" fmla="*/ 5294185 w 6833024"/>
              <a:gd name="connsiteY1" fmla="*/ 0 h 6858000"/>
              <a:gd name="connsiteX2" fmla="*/ 6700967 w 6833024"/>
              <a:gd name="connsiteY2" fmla="*/ 2796994 h 6858000"/>
              <a:gd name="connsiteX3" fmla="*/ 6700967 w 6833024"/>
              <a:gd name="connsiteY3" fmla="*/ 4061059 h 6858000"/>
              <a:gd name="connsiteX4" fmla="*/ 5294210 w 6833024"/>
              <a:gd name="connsiteY4" fmla="*/ 6858000 h 6858000"/>
              <a:gd name="connsiteX5" fmla="*/ 0 w 6833024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33024" h="6858000">
                <a:moveTo>
                  <a:pt x="0" y="0"/>
                </a:moveTo>
                <a:lnTo>
                  <a:pt x="5294185" y="0"/>
                </a:lnTo>
                <a:lnTo>
                  <a:pt x="6700967" y="2796994"/>
                </a:lnTo>
                <a:cubicBezTo>
                  <a:pt x="6877044" y="3147078"/>
                  <a:pt x="6877044" y="3713633"/>
                  <a:pt x="6700967" y="4061059"/>
                </a:cubicBezTo>
                <a:lnTo>
                  <a:pt x="529421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45000">
                <a:srgbClr val="AF052D"/>
              </a:gs>
              <a:gs pos="0">
                <a:srgbClr val="80041F"/>
              </a:gs>
              <a:gs pos="100000">
                <a:srgbClr val="DD0036"/>
              </a:gs>
            </a:gsLst>
            <a:lin ang="19200000" scaled="0"/>
          </a:gradFill>
          <a:ln w="6350">
            <a:noFill/>
          </a:ln>
        </p:spPr>
        <p:txBody>
          <a:bodyPr vert="horz" wrap="square" lIns="108109" tIns="108109" rIns="108109" bIns="108109" rtlCol="0" anchor="ctr">
            <a:noAutofit/>
          </a:bodyPr>
          <a:lstStyle/>
          <a:p>
            <a:pPr lvl="0" algn="ctr" defTabSz="1083747">
              <a:spcBef>
                <a:spcPts val="1200"/>
              </a:spcBef>
            </a:pPr>
            <a:endParaRPr lang="en-US" dirty="0">
              <a:solidFill>
                <a:schemeClr val="bg1"/>
              </a:solidFill>
              <a:latin typeface="Poppins Light" panose="00000400000000000000" pitchFamily="2" charset="0"/>
              <a:cs typeface="Poppins Light" panose="00000400000000000000" pitchFamily="2" charset="0"/>
              <a:sym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7525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4254753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0679078-84A7-42A0-B49C-C1B2B04859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>
              <a:latin typeface="Poppins" panose="00000500000000000000" pitchFamily="2" charset="0"/>
              <a:ea typeface="+mj-ea"/>
              <a:cs typeface="Poppins" panose="00000500000000000000" pitchFamily="2" charset="0"/>
              <a:sym typeface="Segoe UI Semibold" panose="020B0702040204020203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51384" y="1340768"/>
            <a:ext cx="11088021" cy="288000"/>
          </a:xfrm>
          <a:prstGeom prst="rect">
            <a:avLst/>
          </a:prstGeom>
          <a:noFill/>
        </p:spPr>
        <p:txBody>
          <a:bodyPr vert="horz" wrap="square" lIns="0" tIns="0" rIns="0" bIns="97200" rtlCol="0" anchor="b">
            <a:noAutofit/>
          </a:bodyPr>
          <a:lstStyle>
            <a:lvl1pPr>
              <a:defRPr lang="en-US" sz="1400" cap="all" baseline="0" dirty="0"/>
            </a:lvl1pPr>
          </a:lstStyle>
          <a:p>
            <a:pPr lvl="0"/>
            <a:r>
              <a:rPr lang="en-US" dirty="0"/>
              <a:t>SUBTITLE - max one line!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 marL="0" indent="0">
              <a:spcBef>
                <a:spcPts val="0"/>
              </a:spcBef>
              <a:defRPr sz="800">
                <a:solidFill>
                  <a:schemeClr val="accent2"/>
                </a:solidFill>
                <a:latin typeface="+mn-lt"/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>
              <a:defRPr sz="1067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</a:lstStyle>
          <a:p>
            <a:pPr lvl="0"/>
            <a:r>
              <a:rPr lang="en-US" dirty="0"/>
              <a:t>Source/Note: 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16893A9-8A8C-49AC-B2FA-A71BCEA943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action title</a:t>
            </a:r>
            <a:br>
              <a:rPr lang="en-US" dirty="0"/>
            </a:br>
            <a:r>
              <a:rPr lang="en-US" dirty="0"/>
              <a:t>max. two lines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B4221156-3988-4853-B946-82EF82D12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+mn-lt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4993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:v="urn:schemas-microsoft-com:vml" xmlns:a16="http://schemas.microsoft.com/office/drawing/2014/main" xmlns:p15="http://schemas.microsoft.com/office/powerpoint/2012/main"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_Red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62BCC7-16BE-7DC8-9502-D8C1BF93C7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7899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62BCC7-16BE-7DC8-9502-D8C1BF93C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C53212-15FB-B691-7374-7583B3B298D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0863" y="432000"/>
            <a:ext cx="4954587" cy="738000"/>
          </a:xfrm>
        </p:spPr>
        <p:txBody>
          <a:bodyPr vert="horz" r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83397A8-7285-192D-200C-2827C57917F5}"/>
              </a:ext>
            </a:extLst>
          </p:cNvPr>
          <p:cNvSpPr/>
          <p:nvPr userDrawn="1"/>
        </p:nvSpPr>
        <p:spPr>
          <a:xfrm rot="5400000">
            <a:off x="5314090" y="-19909"/>
            <a:ext cx="6858002" cy="6897817"/>
          </a:xfrm>
          <a:custGeom>
            <a:avLst/>
            <a:gdLst>
              <a:gd name="connsiteX0" fmla="*/ 0 w 6858002"/>
              <a:gd name="connsiteY0" fmla="*/ 3164241 h 6897817"/>
              <a:gd name="connsiteX1" fmla="*/ 0 w 6858002"/>
              <a:gd name="connsiteY1" fmla="*/ 0 h 6897817"/>
              <a:gd name="connsiteX2" fmla="*/ 6858002 w 6858002"/>
              <a:gd name="connsiteY2" fmla="*/ 0 h 6897817"/>
              <a:gd name="connsiteX3" fmla="*/ 6858002 w 6858002"/>
              <a:gd name="connsiteY3" fmla="*/ 3164241 h 6897817"/>
              <a:gd name="connsiteX4" fmla="*/ 6858001 w 6858002"/>
              <a:gd name="connsiteY4" fmla="*/ 3164241 h 6897817"/>
              <a:gd name="connsiteX5" fmla="*/ 6858000 w 6858002"/>
              <a:gd name="connsiteY5" fmla="*/ 6897792 h 6897817"/>
              <a:gd name="connsiteX6" fmla="*/ 4061059 w 6858002"/>
              <a:gd name="connsiteY6" fmla="*/ 5491034 h 6897817"/>
              <a:gd name="connsiteX7" fmla="*/ 2796994 w 6858002"/>
              <a:gd name="connsiteY7" fmla="*/ 5491034 h 6897817"/>
              <a:gd name="connsiteX8" fmla="*/ 1 w 6858002"/>
              <a:gd name="connsiteY8" fmla="*/ 6897817 h 6897817"/>
              <a:gd name="connsiteX9" fmla="*/ 1 w 6858002"/>
              <a:gd name="connsiteY9" fmla="*/ 3164241 h 6897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858002" h="6897817">
                <a:moveTo>
                  <a:pt x="0" y="3164241"/>
                </a:moveTo>
                <a:lnTo>
                  <a:pt x="0" y="0"/>
                </a:lnTo>
                <a:lnTo>
                  <a:pt x="6858002" y="0"/>
                </a:lnTo>
                <a:lnTo>
                  <a:pt x="6858002" y="3164241"/>
                </a:lnTo>
                <a:lnTo>
                  <a:pt x="6858001" y="3164241"/>
                </a:lnTo>
                <a:lnTo>
                  <a:pt x="6858000" y="6897792"/>
                </a:lnTo>
                <a:lnTo>
                  <a:pt x="4061059" y="5491034"/>
                </a:lnTo>
                <a:cubicBezTo>
                  <a:pt x="3713633" y="5314957"/>
                  <a:pt x="3147078" y="5314957"/>
                  <a:pt x="2796994" y="5491034"/>
                </a:cubicBezTo>
                <a:lnTo>
                  <a:pt x="1" y="6897817"/>
                </a:lnTo>
                <a:lnTo>
                  <a:pt x="1" y="3164241"/>
                </a:lnTo>
                <a:close/>
              </a:path>
            </a:pathLst>
          </a:custGeom>
          <a:gradFill>
            <a:gsLst>
              <a:gs pos="45000">
                <a:srgbClr val="AF052D"/>
              </a:gs>
              <a:gs pos="0">
                <a:srgbClr val="80041F"/>
              </a:gs>
              <a:gs pos="100000">
                <a:srgbClr val="DD0036"/>
              </a:gs>
            </a:gsLst>
            <a:lin ang="19200000" scaled="0"/>
          </a:gradFill>
          <a:ln w="6350">
            <a:noFill/>
          </a:ln>
        </p:spPr>
        <p:txBody>
          <a:bodyPr vert="horz" lIns="108109" tIns="108109" rIns="108109" bIns="108109" rtlCol="0" anchor="ctr">
            <a:noAutofit/>
          </a:bodyPr>
          <a:lstStyle/>
          <a:p>
            <a:pPr lvl="0" algn="ctr" defTabSz="1083747">
              <a:spcBef>
                <a:spcPts val="1200"/>
              </a:spcBef>
            </a:pPr>
            <a:endParaRPr lang="en-US" dirty="0">
              <a:solidFill>
                <a:schemeClr val="bg1"/>
              </a:solidFill>
              <a:latin typeface="Poppins Light" panose="00000400000000000000" pitchFamily="2" charset="0"/>
              <a:cs typeface="Poppins Light" panose="00000400000000000000" pitchFamily="2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6723024-EC53-6450-BF60-C6A201D4C560}"/>
              </a:ext>
            </a:extLst>
          </p:cNvPr>
          <p:cNvSpPr/>
          <p:nvPr userDrawn="1"/>
        </p:nvSpPr>
        <p:spPr>
          <a:xfrm rot="1599265" flipH="1">
            <a:off x="6168771" y="3146502"/>
            <a:ext cx="299416" cy="3990707"/>
          </a:xfrm>
          <a:custGeom>
            <a:avLst/>
            <a:gdLst>
              <a:gd name="connsiteX0" fmla="*/ 299416 w 299416"/>
              <a:gd name="connsiteY0" fmla="*/ 0 h 3990707"/>
              <a:gd name="connsiteX1" fmla="*/ 0 w 299416"/>
              <a:gd name="connsiteY1" fmla="*/ 0 h 3990707"/>
              <a:gd name="connsiteX2" fmla="*/ 0 w 299416"/>
              <a:gd name="connsiteY2" fmla="*/ 3840415 h 3990707"/>
              <a:gd name="connsiteX3" fmla="*/ 299416 w 299416"/>
              <a:gd name="connsiteY3" fmla="*/ 3990707 h 3990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416" h="3990707">
                <a:moveTo>
                  <a:pt x="299416" y="0"/>
                </a:moveTo>
                <a:lnTo>
                  <a:pt x="0" y="0"/>
                </a:lnTo>
                <a:lnTo>
                  <a:pt x="0" y="3840415"/>
                </a:lnTo>
                <a:lnTo>
                  <a:pt x="299416" y="3990707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50000"/>
                </a:schemeClr>
              </a:gs>
              <a:gs pos="30000">
                <a:schemeClr val="tx2">
                  <a:alpha val="0"/>
                </a:schemeClr>
              </a:gs>
            </a:gsLst>
            <a:lin ang="10920000" scaled="0"/>
            <a:tileRect/>
          </a:gradFill>
          <a:ln w="6350">
            <a:noFill/>
          </a:ln>
        </p:spPr>
        <p:txBody>
          <a:bodyPr vert="horz" wrap="square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0D5CD4E8-31ED-EFA1-EA80-BB3587991FB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4555794-5245-58FB-5A78-8F4C1F669B3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273089" y="6706186"/>
            <a:ext cx="3382336" cy="1077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indent="0" algn="r">
              <a:spcBef>
                <a:spcPts val="1500"/>
              </a:spcBef>
              <a:buFontTx/>
              <a:buNone/>
              <a:defRPr sz="700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  <a:lvl2pPr marL="270000" indent="-268288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>
                <a:latin typeface="Arial" pitchFamily="34" charset="0"/>
                <a:cs typeface="Arial" pitchFamily="34" charset="0"/>
              </a:defRPr>
            </a:lvl2pPr>
            <a:lvl3pPr marL="540000" indent="-268288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>
                <a:latin typeface="Arial" pitchFamily="34" charset="0"/>
                <a:cs typeface="Arial" pitchFamily="34" charset="0"/>
              </a:defRPr>
            </a:lvl3pPr>
            <a:lvl4pPr marL="810000" indent="-270000">
              <a:spcBef>
                <a:spcPts val="500"/>
              </a:spcBef>
              <a:buFont typeface="Arial" pitchFamily="34" charset="0"/>
              <a:buChar char="–"/>
              <a:defRPr sz="1400">
                <a:latin typeface="Arial" pitchFamily="34" charset="0"/>
                <a:cs typeface="Arial" pitchFamily="34" charset="0"/>
              </a:defRPr>
            </a:lvl4pPr>
            <a:lvl5pPr marL="810000" indent="0">
              <a:spcBef>
                <a:spcPts val="500"/>
              </a:spcBef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en-US" noProof="0" dirty="0">
                <a:sym typeface="Segoe UI" panose="020B0502040204020203" pitchFamily="34" charset="0"/>
              </a:rPr>
              <a:t>© by FEV – all rights reserved. Confidential – no passing on to third parties   </a:t>
            </a:r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F7621882-32F3-5BC3-4BAD-76655C5A90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ource/Note: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A6659D9-CF03-EEBD-CAD6-DB0C999820B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38508" y="840326"/>
            <a:ext cx="702000" cy="267011"/>
            <a:chOff x="5975501" y="3608175"/>
            <a:chExt cx="3050378" cy="1160231"/>
          </a:xfrm>
          <a:solidFill>
            <a:schemeClr val="bg1"/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251207F-C0A4-6187-F11F-840D6EB8538F}"/>
                </a:ext>
              </a:extLst>
            </p:cNvPr>
            <p:cNvSpPr/>
            <p:nvPr/>
          </p:nvSpPr>
          <p:spPr>
            <a:xfrm>
              <a:off x="7098250" y="3614987"/>
              <a:ext cx="608847" cy="620768"/>
            </a:xfrm>
            <a:custGeom>
              <a:avLst/>
              <a:gdLst>
                <a:gd name="connsiteX0" fmla="*/ 369141 w 608847"/>
                <a:gd name="connsiteY0" fmla="*/ 620769 h 620768"/>
                <a:gd name="connsiteX1" fmla="*/ 608848 w 608847"/>
                <a:gd name="connsiteY1" fmla="*/ 0 h 620768"/>
                <a:gd name="connsiteX2" fmla="*/ 485375 w 608847"/>
                <a:gd name="connsiteY2" fmla="*/ 0 h 620768"/>
                <a:gd name="connsiteX3" fmla="*/ 304424 w 608847"/>
                <a:gd name="connsiteY3" fmla="*/ 467493 h 620768"/>
                <a:gd name="connsiteX4" fmla="*/ 123473 w 608847"/>
                <a:gd name="connsiteY4" fmla="*/ 0 h 620768"/>
                <a:gd name="connsiteX5" fmla="*/ 0 w 608847"/>
                <a:gd name="connsiteY5" fmla="*/ 0 h 620768"/>
                <a:gd name="connsiteX6" fmla="*/ 240133 w 608847"/>
                <a:gd name="connsiteY6" fmla="*/ 620769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8847" h="620768">
                  <a:moveTo>
                    <a:pt x="369141" y="620769"/>
                  </a:moveTo>
                  <a:lnTo>
                    <a:pt x="608848" y="0"/>
                  </a:lnTo>
                  <a:lnTo>
                    <a:pt x="485375" y="0"/>
                  </a:lnTo>
                  <a:lnTo>
                    <a:pt x="304424" y="467493"/>
                  </a:lnTo>
                  <a:lnTo>
                    <a:pt x="123473" y="0"/>
                  </a:lnTo>
                  <a:lnTo>
                    <a:pt x="0" y="0"/>
                  </a:lnTo>
                  <a:lnTo>
                    <a:pt x="240133" y="620769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BBAD073-DB04-94E0-5D5A-FDF291578159}"/>
                </a:ext>
              </a:extLst>
            </p:cNvPr>
            <p:cNvSpPr/>
            <p:nvPr/>
          </p:nvSpPr>
          <p:spPr>
            <a:xfrm>
              <a:off x="5975501" y="3614987"/>
              <a:ext cx="505386" cy="620768"/>
            </a:xfrm>
            <a:custGeom>
              <a:avLst/>
              <a:gdLst>
                <a:gd name="connsiteX0" fmla="*/ 505386 w 505386"/>
                <a:gd name="connsiteY0" fmla="*/ 114957 h 620768"/>
                <a:gd name="connsiteX1" fmla="*/ 505386 w 505386"/>
                <a:gd name="connsiteY1" fmla="*/ 0 h 620768"/>
                <a:gd name="connsiteX2" fmla="*/ 144335 w 505386"/>
                <a:gd name="connsiteY2" fmla="*/ 0 h 620768"/>
                <a:gd name="connsiteX3" fmla="*/ 0 w 505386"/>
                <a:gd name="connsiteY3" fmla="*/ 144335 h 620768"/>
                <a:gd name="connsiteX4" fmla="*/ 0 w 505386"/>
                <a:gd name="connsiteY4" fmla="*/ 620769 h 620768"/>
                <a:gd name="connsiteX5" fmla="*/ 115809 w 505386"/>
                <a:gd name="connsiteY5" fmla="*/ 620769 h 620768"/>
                <a:gd name="connsiteX6" fmla="*/ 115809 w 505386"/>
                <a:gd name="connsiteY6" fmla="*/ 389577 h 620768"/>
                <a:gd name="connsiteX7" fmla="*/ 389577 w 505386"/>
                <a:gd name="connsiteY7" fmla="*/ 389577 h 620768"/>
                <a:gd name="connsiteX8" fmla="*/ 389577 w 505386"/>
                <a:gd name="connsiteY8" fmla="*/ 288670 h 620768"/>
                <a:gd name="connsiteX9" fmla="*/ 115383 w 505386"/>
                <a:gd name="connsiteY9" fmla="*/ 288670 h 620768"/>
                <a:gd name="connsiteX10" fmla="*/ 115383 w 505386"/>
                <a:gd name="connsiteY10" fmla="*/ 144335 h 620768"/>
                <a:gd name="connsiteX11" fmla="*/ 143909 w 505386"/>
                <a:gd name="connsiteY11" fmla="*/ 115809 h 620768"/>
                <a:gd name="connsiteX12" fmla="*/ 504960 w 505386"/>
                <a:gd name="connsiteY12" fmla="*/ 115809 h 620768"/>
                <a:gd name="connsiteX13" fmla="*/ 504960 w 505386"/>
                <a:gd name="connsiteY13" fmla="*/ 114957 h 620768"/>
                <a:gd name="connsiteX14" fmla="*/ 505386 w 505386"/>
                <a:gd name="connsiteY14" fmla="*/ 114957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5386" h="620768">
                  <a:moveTo>
                    <a:pt x="505386" y="114957"/>
                  </a:moveTo>
                  <a:lnTo>
                    <a:pt x="505386" y="0"/>
                  </a:lnTo>
                  <a:lnTo>
                    <a:pt x="144335" y="0"/>
                  </a:lnTo>
                  <a:cubicBezTo>
                    <a:pt x="64717" y="0"/>
                    <a:pt x="0" y="64717"/>
                    <a:pt x="0" y="144335"/>
                  </a:cubicBezTo>
                  <a:lnTo>
                    <a:pt x="0" y="620769"/>
                  </a:lnTo>
                  <a:lnTo>
                    <a:pt x="115809" y="620769"/>
                  </a:lnTo>
                  <a:lnTo>
                    <a:pt x="115809" y="389577"/>
                  </a:lnTo>
                  <a:lnTo>
                    <a:pt x="389577" y="389577"/>
                  </a:lnTo>
                  <a:lnTo>
                    <a:pt x="389577" y="288670"/>
                  </a:lnTo>
                  <a:lnTo>
                    <a:pt x="115383" y="288670"/>
                  </a:lnTo>
                  <a:lnTo>
                    <a:pt x="115383" y="144335"/>
                  </a:lnTo>
                  <a:cubicBezTo>
                    <a:pt x="115383" y="128582"/>
                    <a:pt x="128156" y="115809"/>
                    <a:pt x="143909" y="115809"/>
                  </a:cubicBezTo>
                  <a:lnTo>
                    <a:pt x="504960" y="115809"/>
                  </a:lnTo>
                  <a:lnTo>
                    <a:pt x="504960" y="114957"/>
                  </a:lnTo>
                  <a:lnTo>
                    <a:pt x="505386" y="114957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5975127-780A-C90D-0542-84139BDAF30D}"/>
                </a:ext>
              </a:extLst>
            </p:cNvPr>
            <p:cNvSpPr/>
            <p:nvPr/>
          </p:nvSpPr>
          <p:spPr>
            <a:xfrm>
              <a:off x="6487699" y="3608175"/>
              <a:ext cx="625452" cy="635245"/>
            </a:xfrm>
            <a:custGeom>
              <a:avLst/>
              <a:gdLst>
                <a:gd name="connsiteX0" fmla="*/ 503257 w 625452"/>
                <a:gd name="connsiteY0" fmla="*/ 395964 h 635245"/>
                <a:gd name="connsiteX1" fmla="*/ 317197 w 625452"/>
                <a:gd name="connsiteY1" fmla="*/ 518585 h 635245"/>
                <a:gd name="connsiteX2" fmla="*/ 172862 w 625452"/>
                <a:gd name="connsiteY2" fmla="*/ 458126 h 635245"/>
                <a:gd name="connsiteX3" fmla="*/ 512198 w 625452"/>
                <a:gd name="connsiteY3" fmla="*/ 262699 h 635245"/>
                <a:gd name="connsiteX4" fmla="*/ 614383 w 625452"/>
                <a:gd name="connsiteY4" fmla="*/ 203943 h 635245"/>
                <a:gd name="connsiteX5" fmla="*/ 563716 w 625452"/>
                <a:gd name="connsiteY5" fmla="*/ 116660 h 635245"/>
                <a:gd name="connsiteX6" fmla="*/ 317623 w 625452"/>
                <a:gd name="connsiteY6" fmla="*/ 0 h 635245"/>
                <a:gd name="connsiteX7" fmla="*/ 0 w 625452"/>
                <a:gd name="connsiteY7" fmla="*/ 317623 h 635245"/>
                <a:gd name="connsiteX8" fmla="*/ 20863 w 625452"/>
                <a:gd name="connsiteY8" fmla="*/ 430877 h 635245"/>
                <a:gd name="connsiteX9" fmla="*/ 71529 w 625452"/>
                <a:gd name="connsiteY9" fmla="*/ 518159 h 635245"/>
                <a:gd name="connsiteX10" fmla="*/ 317623 w 625452"/>
                <a:gd name="connsiteY10" fmla="*/ 635245 h 635245"/>
                <a:gd name="connsiteX11" fmla="*/ 625453 w 625452"/>
                <a:gd name="connsiteY11" fmla="*/ 397241 h 635245"/>
                <a:gd name="connsiteX12" fmla="*/ 503257 w 625452"/>
                <a:gd name="connsiteY12" fmla="*/ 395964 h 635245"/>
                <a:gd name="connsiteX13" fmla="*/ 503257 w 625452"/>
                <a:gd name="connsiteY13" fmla="*/ 395964 h 635245"/>
                <a:gd name="connsiteX14" fmla="*/ 115383 w 625452"/>
                <a:gd name="connsiteY14" fmla="*/ 316771 h 635245"/>
                <a:gd name="connsiteX15" fmla="*/ 317623 w 625452"/>
                <a:gd name="connsiteY15" fmla="*/ 114531 h 635245"/>
                <a:gd name="connsiteX16" fmla="*/ 461958 w 625452"/>
                <a:gd name="connsiteY16" fmla="*/ 174990 h 635245"/>
                <a:gd name="connsiteX17" fmla="*/ 123047 w 625452"/>
                <a:gd name="connsiteY17" fmla="*/ 370844 h 635245"/>
                <a:gd name="connsiteX18" fmla="*/ 115383 w 625452"/>
                <a:gd name="connsiteY18" fmla="*/ 316771 h 63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5452" h="635245">
                  <a:moveTo>
                    <a:pt x="503257" y="395964"/>
                  </a:moveTo>
                  <a:cubicBezTo>
                    <a:pt x="472602" y="467918"/>
                    <a:pt x="401073" y="518585"/>
                    <a:pt x="317197" y="518585"/>
                  </a:cubicBezTo>
                  <a:cubicBezTo>
                    <a:pt x="260570" y="518585"/>
                    <a:pt x="209478" y="495593"/>
                    <a:pt x="172862" y="458126"/>
                  </a:cubicBezTo>
                  <a:lnTo>
                    <a:pt x="512198" y="262699"/>
                  </a:lnTo>
                  <a:lnTo>
                    <a:pt x="614383" y="203943"/>
                  </a:lnTo>
                  <a:cubicBezTo>
                    <a:pt x="602035" y="172010"/>
                    <a:pt x="585005" y="142632"/>
                    <a:pt x="563716" y="116660"/>
                  </a:cubicBezTo>
                  <a:cubicBezTo>
                    <a:pt x="505812" y="45131"/>
                    <a:pt x="417252" y="0"/>
                    <a:pt x="317623" y="0"/>
                  </a:cubicBezTo>
                  <a:cubicBezTo>
                    <a:pt x="142206" y="0"/>
                    <a:pt x="0" y="142206"/>
                    <a:pt x="0" y="317623"/>
                  </a:cubicBezTo>
                  <a:cubicBezTo>
                    <a:pt x="0" y="357219"/>
                    <a:pt x="7238" y="395538"/>
                    <a:pt x="20863" y="430877"/>
                  </a:cubicBezTo>
                  <a:cubicBezTo>
                    <a:pt x="33210" y="462809"/>
                    <a:pt x="50241" y="492187"/>
                    <a:pt x="71529" y="518159"/>
                  </a:cubicBezTo>
                  <a:cubicBezTo>
                    <a:pt x="129859" y="589688"/>
                    <a:pt x="218419" y="635245"/>
                    <a:pt x="317623" y="635245"/>
                  </a:cubicBezTo>
                  <a:cubicBezTo>
                    <a:pt x="465790" y="635245"/>
                    <a:pt x="589688" y="534338"/>
                    <a:pt x="625453" y="397241"/>
                  </a:cubicBezTo>
                  <a:lnTo>
                    <a:pt x="503257" y="395964"/>
                  </a:lnTo>
                  <a:lnTo>
                    <a:pt x="503257" y="395964"/>
                  </a:lnTo>
                  <a:close/>
                  <a:moveTo>
                    <a:pt x="115383" y="316771"/>
                  </a:moveTo>
                  <a:cubicBezTo>
                    <a:pt x="115383" y="205220"/>
                    <a:pt x="206072" y="114531"/>
                    <a:pt x="317623" y="114531"/>
                  </a:cubicBezTo>
                  <a:cubicBezTo>
                    <a:pt x="374250" y="114531"/>
                    <a:pt x="425342" y="137523"/>
                    <a:pt x="461958" y="174990"/>
                  </a:cubicBezTo>
                  <a:lnTo>
                    <a:pt x="123047" y="370844"/>
                  </a:lnTo>
                  <a:cubicBezTo>
                    <a:pt x="118363" y="353813"/>
                    <a:pt x="115383" y="335931"/>
                    <a:pt x="115383" y="316771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1A5AA56-F5FE-0C92-45FE-76B084112B49}"/>
                </a:ext>
              </a:extLst>
            </p:cNvPr>
            <p:cNvSpPr/>
            <p:nvPr/>
          </p:nvSpPr>
          <p:spPr>
            <a:xfrm>
              <a:off x="8659524" y="4396917"/>
              <a:ext cx="366355" cy="371489"/>
            </a:xfrm>
            <a:custGeom>
              <a:avLst/>
              <a:gdLst>
                <a:gd name="connsiteX0" fmla="*/ 242704 w 366355"/>
                <a:gd name="connsiteY0" fmla="*/ 64921 h 371489"/>
                <a:gd name="connsiteX1" fmla="*/ 180542 w 366355"/>
                <a:gd name="connsiteY1" fmla="*/ 44059 h 371489"/>
                <a:gd name="connsiteX2" fmla="*/ 114122 w 366355"/>
                <a:gd name="connsiteY2" fmla="*/ 61941 h 371489"/>
                <a:gd name="connsiteX3" fmla="*/ 63881 w 366355"/>
                <a:gd name="connsiteY3" fmla="*/ 111330 h 371489"/>
                <a:gd name="connsiteX4" fmla="*/ 47702 w 366355"/>
                <a:gd name="connsiteY4" fmla="*/ 178601 h 371489"/>
                <a:gd name="connsiteX5" fmla="*/ 70268 w 366355"/>
                <a:gd name="connsiteY5" fmla="*/ 252259 h 371489"/>
                <a:gd name="connsiteX6" fmla="*/ 122637 w 366355"/>
                <a:gd name="connsiteY6" fmla="*/ 308460 h 371489"/>
                <a:gd name="connsiteX7" fmla="*/ 188631 w 366355"/>
                <a:gd name="connsiteY7" fmla="*/ 327620 h 371489"/>
                <a:gd name="connsiteX8" fmla="*/ 256328 w 366355"/>
                <a:gd name="connsiteY8" fmla="*/ 308460 h 371489"/>
                <a:gd name="connsiteX9" fmla="*/ 315936 w 366355"/>
                <a:gd name="connsiteY9" fmla="*/ 237357 h 371489"/>
                <a:gd name="connsiteX10" fmla="*/ 307420 w 366355"/>
                <a:gd name="connsiteY10" fmla="*/ 143262 h 371489"/>
                <a:gd name="connsiteX11" fmla="*/ 182245 w 366355"/>
                <a:gd name="connsiteY11" fmla="*/ 215643 h 371489"/>
                <a:gd name="connsiteX12" fmla="*/ 163085 w 366355"/>
                <a:gd name="connsiteY12" fmla="*/ 182433 h 371489"/>
                <a:gd name="connsiteX13" fmla="*/ 331689 w 366355"/>
                <a:gd name="connsiteY13" fmla="*/ 84932 h 371489"/>
                <a:gd name="connsiteX14" fmla="*/ 349571 w 366355"/>
                <a:gd name="connsiteY14" fmla="*/ 116439 h 371489"/>
                <a:gd name="connsiteX15" fmla="*/ 366176 w 366355"/>
                <a:gd name="connsiteY15" fmla="*/ 201167 h 371489"/>
                <a:gd name="connsiteX16" fmla="*/ 341056 w 366355"/>
                <a:gd name="connsiteY16" fmla="*/ 283766 h 371489"/>
                <a:gd name="connsiteX17" fmla="*/ 276765 w 366355"/>
                <a:gd name="connsiteY17" fmla="*/ 345928 h 371489"/>
                <a:gd name="connsiteX18" fmla="*/ 185225 w 366355"/>
                <a:gd name="connsiteY18" fmla="*/ 371474 h 371489"/>
                <a:gd name="connsiteX19" fmla="*/ 95388 w 366355"/>
                <a:gd name="connsiteY19" fmla="*/ 347631 h 371489"/>
                <a:gd name="connsiteX20" fmla="*/ 26840 w 366355"/>
                <a:gd name="connsiteY20" fmla="*/ 277379 h 371489"/>
                <a:gd name="connsiteX21" fmla="*/ 16 w 366355"/>
                <a:gd name="connsiteY21" fmla="*/ 182859 h 371489"/>
                <a:gd name="connsiteX22" fmla="*/ 23859 w 366355"/>
                <a:gd name="connsiteY22" fmla="*/ 93022 h 371489"/>
                <a:gd name="connsiteX23" fmla="*/ 91556 w 366355"/>
                <a:gd name="connsiteY23" fmla="*/ 26602 h 371489"/>
                <a:gd name="connsiteX24" fmla="*/ 194166 w 366355"/>
                <a:gd name="connsiteY24" fmla="*/ 205 h 371489"/>
                <a:gd name="connsiteX25" fmla="*/ 290390 w 366355"/>
                <a:gd name="connsiteY25" fmla="*/ 37672 h 371489"/>
                <a:gd name="connsiteX26" fmla="*/ 242704 w 366355"/>
                <a:gd name="connsiteY26" fmla="*/ 64921 h 371489"/>
                <a:gd name="connsiteX27" fmla="*/ 242704 w 366355"/>
                <a:gd name="connsiteY27" fmla="*/ 64921 h 37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6355" h="371489">
                  <a:moveTo>
                    <a:pt x="242704" y="64921"/>
                  </a:moveTo>
                  <a:cubicBezTo>
                    <a:pt x="223544" y="51722"/>
                    <a:pt x="202682" y="44910"/>
                    <a:pt x="180542" y="44059"/>
                  </a:cubicBezTo>
                  <a:cubicBezTo>
                    <a:pt x="158402" y="43633"/>
                    <a:pt x="135836" y="49594"/>
                    <a:pt x="114122" y="61941"/>
                  </a:cubicBezTo>
                  <a:cubicBezTo>
                    <a:pt x="92408" y="74288"/>
                    <a:pt x="75377" y="91319"/>
                    <a:pt x="63881" y="111330"/>
                  </a:cubicBezTo>
                  <a:cubicBezTo>
                    <a:pt x="52386" y="131341"/>
                    <a:pt x="46425" y="153907"/>
                    <a:pt x="47702" y="178601"/>
                  </a:cubicBezTo>
                  <a:cubicBezTo>
                    <a:pt x="48554" y="203296"/>
                    <a:pt x="56217" y="227564"/>
                    <a:pt x="70268" y="252259"/>
                  </a:cubicBezTo>
                  <a:cubicBezTo>
                    <a:pt x="84318" y="276953"/>
                    <a:pt x="101775" y="295687"/>
                    <a:pt x="122637" y="308460"/>
                  </a:cubicBezTo>
                  <a:cubicBezTo>
                    <a:pt x="143500" y="321233"/>
                    <a:pt x="165214" y="327620"/>
                    <a:pt x="188631" y="327620"/>
                  </a:cubicBezTo>
                  <a:cubicBezTo>
                    <a:pt x="212048" y="327620"/>
                    <a:pt x="234614" y="321233"/>
                    <a:pt x="256328" y="308460"/>
                  </a:cubicBezTo>
                  <a:cubicBezTo>
                    <a:pt x="286983" y="290578"/>
                    <a:pt x="306569" y="267161"/>
                    <a:pt x="315936" y="237357"/>
                  </a:cubicBezTo>
                  <a:cubicBezTo>
                    <a:pt x="325303" y="207979"/>
                    <a:pt x="322322" y="176047"/>
                    <a:pt x="307420" y="143262"/>
                  </a:cubicBezTo>
                  <a:lnTo>
                    <a:pt x="182245" y="215643"/>
                  </a:lnTo>
                  <a:lnTo>
                    <a:pt x="163085" y="182433"/>
                  </a:lnTo>
                  <a:lnTo>
                    <a:pt x="331689" y="84932"/>
                  </a:lnTo>
                  <a:lnTo>
                    <a:pt x="349571" y="116439"/>
                  </a:lnTo>
                  <a:cubicBezTo>
                    <a:pt x="361918" y="143688"/>
                    <a:pt x="367454" y="172215"/>
                    <a:pt x="366176" y="201167"/>
                  </a:cubicBezTo>
                  <a:cubicBezTo>
                    <a:pt x="364899" y="230545"/>
                    <a:pt x="356384" y="258220"/>
                    <a:pt x="341056" y="283766"/>
                  </a:cubicBezTo>
                  <a:cubicBezTo>
                    <a:pt x="325728" y="309312"/>
                    <a:pt x="304014" y="330174"/>
                    <a:pt x="276765" y="345928"/>
                  </a:cubicBezTo>
                  <a:cubicBezTo>
                    <a:pt x="247387" y="362533"/>
                    <a:pt x="217157" y="371474"/>
                    <a:pt x="185225" y="371474"/>
                  </a:cubicBezTo>
                  <a:cubicBezTo>
                    <a:pt x="153292" y="371900"/>
                    <a:pt x="123489" y="363810"/>
                    <a:pt x="95388" y="347631"/>
                  </a:cubicBezTo>
                  <a:cubicBezTo>
                    <a:pt x="67287" y="331452"/>
                    <a:pt x="44722" y="308034"/>
                    <a:pt x="26840" y="277379"/>
                  </a:cubicBezTo>
                  <a:cubicBezTo>
                    <a:pt x="8957" y="246724"/>
                    <a:pt x="442" y="215217"/>
                    <a:pt x="16" y="182859"/>
                  </a:cubicBezTo>
                  <a:cubicBezTo>
                    <a:pt x="-410" y="150500"/>
                    <a:pt x="7680" y="120271"/>
                    <a:pt x="23859" y="93022"/>
                  </a:cubicBezTo>
                  <a:cubicBezTo>
                    <a:pt x="40038" y="65773"/>
                    <a:pt x="62604" y="43207"/>
                    <a:pt x="91556" y="26602"/>
                  </a:cubicBezTo>
                  <a:cubicBezTo>
                    <a:pt x="124766" y="7443"/>
                    <a:pt x="158828" y="-1499"/>
                    <a:pt x="194166" y="205"/>
                  </a:cubicBezTo>
                  <a:cubicBezTo>
                    <a:pt x="229505" y="1908"/>
                    <a:pt x="261437" y="14681"/>
                    <a:pt x="290390" y="37672"/>
                  </a:cubicBezTo>
                  <a:lnTo>
                    <a:pt x="242704" y="64921"/>
                  </a:lnTo>
                  <a:lnTo>
                    <a:pt x="242704" y="64921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119C082-8F08-C6E0-67BD-E9E6CB46AF2A}"/>
                </a:ext>
              </a:extLst>
            </p:cNvPr>
            <p:cNvSpPr/>
            <p:nvPr/>
          </p:nvSpPr>
          <p:spPr>
            <a:xfrm>
              <a:off x="6794252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9 w 284838"/>
                <a:gd name="connsiteY8" fmla="*/ 362754 h 362753"/>
                <a:gd name="connsiteX9" fmla="*/ 284839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9" y="362754"/>
                  </a:lnTo>
                  <a:lnTo>
                    <a:pt x="284839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4008F2F-58BF-B89A-5801-20439EB8EBCD}"/>
                </a:ext>
              </a:extLst>
            </p:cNvPr>
            <p:cNvSpPr/>
            <p:nvPr/>
          </p:nvSpPr>
          <p:spPr>
            <a:xfrm>
              <a:off x="7762873" y="4402657"/>
              <a:ext cx="173713" cy="362328"/>
            </a:xfrm>
            <a:custGeom>
              <a:avLst/>
              <a:gdLst>
                <a:gd name="connsiteX0" fmla="*/ 0 w 173713"/>
                <a:gd name="connsiteY0" fmla="*/ 0 h 362328"/>
                <a:gd name="connsiteX1" fmla="*/ 0 w 173713"/>
                <a:gd name="connsiteY1" fmla="*/ 362328 h 362328"/>
                <a:gd name="connsiteX2" fmla="*/ 173713 w 173713"/>
                <a:gd name="connsiteY2" fmla="*/ 362328 h 362328"/>
                <a:gd name="connsiteX3" fmla="*/ 173713 w 173713"/>
                <a:gd name="connsiteY3" fmla="*/ 323583 h 362328"/>
                <a:gd name="connsiteX4" fmla="*/ 47260 w 173713"/>
                <a:gd name="connsiteY4" fmla="*/ 323583 h 362328"/>
                <a:gd name="connsiteX5" fmla="*/ 47260 w 173713"/>
                <a:gd name="connsiteY5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13" h="362328">
                  <a:moveTo>
                    <a:pt x="0" y="0"/>
                  </a:moveTo>
                  <a:lnTo>
                    <a:pt x="0" y="362328"/>
                  </a:lnTo>
                  <a:lnTo>
                    <a:pt x="173713" y="362328"/>
                  </a:lnTo>
                  <a:lnTo>
                    <a:pt x="173713" y="323583"/>
                  </a:lnTo>
                  <a:lnTo>
                    <a:pt x="47260" y="323583"/>
                  </a:lnTo>
                  <a:lnTo>
                    <a:pt x="47260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642DFFF-B9B6-FC44-7CE0-85108DA26742}"/>
                </a:ext>
              </a:extLst>
            </p:cNvPr>
            <p:cNvSpPr/>
            <p:nvPr/>
          </p:nvSpPr>
          <p:spPr>
            <a:xfrm>
              <a:off x="7909337" y="4402657"/>
              <a:ext cx="245667" cy="362328"/>
            </a:xfrm>
            <a:custGeom>
              <a:avLst/>
              <a:gdLst>
                <a:gd name="connsiteX0" fmla="*/ 0 w 245667"/>
                <a:gd name="connsiteY0" fmla="*/ 0 h 362328"/>
                <a:gd name="connsiteX1" fmla="*/ 0 w 245667"/>
                <a:gd name="connsiteY1" fmla="*/ 38745 h 362328"/>
                <a:gd name="connsiteX2" fmla="*/ 99630 w 245667"/>
                <a:gd name="connsiteY2" fmla="*/ 38745 h 362328"/>
                <a:gd name="connsiteX3" fmla="*/ 99630 w 245667"/>
                <a:gd name="connsiteY3" fmla="*/ 362328 h 362328"/>
                <a:gd name="connsiteX4" fmla="*/ 146890 w 245667"/>
                <a:gd name="connsiteY4" fmla="*/ 362328 h 362328"/>
                <a:gd name="connsiteX5" fmla="*/ 146890 w 245667"/>
                <a:gd name="connsiteY5" fmla="*/ 38745 h 362328"/>
                <a:gd name="connsiteX6" fmla="*/ 245668 w 245667"/>
                <a:gd name="connsiteY6" fmla="*/ 38745 h 362328"/>
                <a:gd name="connsiteX7" fmla="*/ 245668 w 245667"/>
                <a:gd name="connsiteY7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667" h="362328">
                  <a:moveTo>
                    <a:pt x="0" y="0"/>
                  </a:moveTo>
                  <a:lnTo>
                    <a:pt x="0" y="38745"/>
                  </a:lnTo>
                  <a:lnTo>
                    <a:pt x="99630" y="38745"/>
                  </a:lnTo>
                  <a:lnTo>
                    <a:pt x="99630" y="362328"/>
                  </a:lnTo>
                  <a:lnTo>
                    <a:pt x="146890" y="362328"/>
                  </a:lnTo>
                  <a:lnTo>
                    <a:pt x="146890" y="38745"/>
                  </a:lnTo>
                  <a:lnTo>
                    <a:pt x="245668" y="38745"/>
                  </a:lnTo>
                  <a:lnTo>
                    <a:pt x="245668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4B6417F-C0D2-C04C-2B46-339704CFB931}"/>
                </a:ext>
              </a:extLst>
            </p:cNvPr>
            <p:cNvSpPr/>
            <p:nvPr/>
          </p:nvSpPr>
          <p:spPr>
            <a:xfrm>
              <a:off x="8212910" y="4402657"/>
              <a:ext cx="47260" cy="362328"/>
            </a:xfrm>
            <a:custGeom>
              <a:avLst/>
              <a:gdLst>
                <a:gd name="connsiteX0" fmla="*/ 0 w 47260"/>
                <a:gd name="connsiteY0" fmla="*/ 0 h 362328"/>
                <a:gd name="connsiteX1" fmla="*/ 47260 w 47260"/>
                <a:gd name="connsiteY1" fmla="*/ 0 h 362328"/>
                <a:gd name="connsiteX2" fmla="*/ 47260 w 47260"/>
                <a:gd name="connsiteY2" fmla="*/ 362328 h 362328"/>
                <a:gd name="connsiteX3" fmla="*/ 0 w 47260"/>
                <a:gd name="connsiteY3" fmla="*/ 362328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260" h="362328">
                  <a:moveTo>
                    <a:pt x="0" y="0"/>
                  </a:moveTo>
                  <a:lnTo>
                    <a:pt x="47260" y="0"/>
                  </a:lnTo>
                  <a:lnTo>
                    <a:pt x="47260" y="362328"/>
                  </a:lnTo>
                  <a:lnTo>
                    <a:pt x="0" y="362328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1E0F72F-649F-51D6-088F-28296B81893B}"/>
                </a:ext>
              </a:extLst>
            </p:cNvPr>
            <p:cNvSpPr/>
            <p:nvPr/>
          </p:nvSpPr>
          <p:spPr>
            <a:xfrm>
              <a:off x="7432478" y="4402657"/>
              <a:ext cx="272065" cy="365734"/>
            </a:xfrm>
            <a:custGeom>
              <a:avLst/>
              <a:gdLst>
                <a:gd name="connsiteX0" fmla="*/ 46834 w 272065"/>
                <a:gd name="connsiteY0" fmla="*/ 0 h 365734"/>
                <a:gd name="connsiteX1" fmla="*/ 46834 w 272065"/>
                <a:gd name="connsiteY1" fmla="*/ 229063 h 365734"/>
                <a:gd name="connsiteX2" fmla="*/ 70252 w 272065"/>
                <a:gd name="connsiteY2" fmla="*/ 300592 h 365734"/>
                <a:gd name="connsiteX3" fmla="*/ 135820 w 272065"/>
                <a:gd name="connsiteY3" fmla="*/ 324009 h 365734"/>
                <a:gd name="connsiteX4" fmla="*/ 201388 w 272065"/>
                <a:gd name="connsiteY4" fmla="*/ 300592 h 365734"/>
                <a:gd name="connsiteX5" fmla="*/ 224805 w 272065"/>
                <a:gd name="connsiteY5" fmla="*/ 229063 h 365734"/>
                <a:gd name="connsiteX6" fmla="*/ 224805 w 272065"/>
                <a:gd name="connsiteY6" fmla="*/ 0 h 365734"/>
                <a:gd name="connsiteX7" fmla="*/ 272066 w 272065"/>
                <a:gd name="connsiteY7" fmla="*/ 0 h 365734"/>
                <a:gd name="connsiteX8" fmla="*/ 272066 w 272065"/>
                <a:gd name="connsiteY8" fmla="*/ 228637 h 365734"/>
                <a:gd name="connsiteX9" fmla="*/ 254183 w 272065"/>
                <a:gd name="connsiteY9" fmla="*/ 304850 h 365734"/>
                <a:gd name="connsiteX10" fmla="*/ 205220 w 272065"/>
                <a:gd name="connsiteY10" fmla="*/ 350832 h 365734"/>
                <a:gd name="connsiteX11" fmla="*/ 135820 w 272065"/>
                <a:gd name="connsiteY11" fmla="*/ 365734 h 365734"/>
                <a:gd name="connsiteX12" fmla="*/ 66420 w 272065"/>
                <a:gd name="connsiteY12" fmla="*/ 350832 h 365734"/>
                <a:gd name="connsiteX13" fmla="*/ 17882 w 272065"/>
                <a:gd name="connsiteY13" fmla="*/ 304850 h 365734"/>
                <a:gd name="connsiteX14" fmla="*/ 0 w 272065"/>
                <a:gd name="connsiteY14" fmla="*/ 228637 h 365734"/>
                <a:gd name="connsiteX15" fmla="*/ 0 w 272065"/>
                <a:gd name="connsiteY15" fmla="*/ 0 h 365734"/>
                <a:gd name="connsiteX16" fmla="*/ 46834 w 272065"/>
                <a:gd name="connsiteY16" fmla="*/ 0 h 365734"/>
                <a:gd name="connsiteX17" fmla="*/ 46834 w 272065"/>
                <a:gd name="connsiteY17" fmla="*/ 0 h 36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2065" h="365734">
                  <a:moveTo>
                    <a:pt x="46834" y="0"/>
                  </a:moveTo>
                  <a:lnTo>
                    <a:pt x="46834" y="229063"/>
                  </a:lnTo>
                  <a:cubicBezTo>
                    <a:pt x="46834" y="261421"/>
                    <a:pt x="54924" y="285264"/>
                    <a:pt x="70252" y="300592"/>
                  </a:cubicBezTo>
                  <a:cubicBezTo>
                    <a:pt x="86005" y="316345"/>
                    <a:pt x="107719" y="324009"/>
                    <a:pt x="135820" y="324009"/>
                  </a:cubicBezTo>
                  <a:cubicBezTo>
                    <a:pt x="163921" y="324009"/>
                    <a:pt x="185209" y="316345"/>
                    <a:pt x="201388" y="300592"/>
                  </a:cubicBezTo>
                  <a:cubicBezTo>
                    <a:pt x="217141" y="284838"/>
                    <a:pt x="224805" y="260995"/>
                    <a:pt x="224805" y="229063"/>
                  </a:cubicBezTo>
                  <a:lnTo>
                    <a:pt x="224805" y="0"/>
                  </a:lnTo>
                  <a:lnTo>
                    <a:pt x="272066" y="0"/>
                  </a:lnTo>
                  <a:lnTo>
                    <a:pt x="272066" y="228637"/>
                  </a:lnTo>
                  <a:cubicBezTo>
                    <a:pt x="272066" y="258867"/>
                    <a:pt x="266105" y="284413"/>
                    <a:pt x="254183" y="304850"/>
                  </a:cubicBezTo>
                  <a:cubicBezTo>
                    <a:pt x="241836" y="325286"/>
                    <a:pt x="225657" y="340614"/>
                    <a:pt x="205220" y="350832"/>
                  </a:cubicBezTo>
                  <a:cubicBezTo>
                    <a:pt x="184783" y="361051"/>
                    <a:pt x="161366" y="365734"/>
                    <a:pt x="135820" y="365734"/>
                  </a:cubicBezTo>
                  <a:cubicBezTo>
                    <a:pt x="110274" y="365734"/>
                    <a:pt x="87282" y="361051"/>
                    <a:pt x="66420" y="350832"/>
                  </a:cubicBezTo>
                  <a:cubicBezTo>
                    <a:pt x="45983" y="340614"/>
                    <a:pt x="29804" y="325286"/>
                    <a:pt x="17882" y="304850"/>
                  </a:cubicBezTo>
                  <a:cubicBezTo>
                    <a:pt x="5961" y="284413"/>
                    <a:pt x="0" y="258867"/>
                    <a:pt x="0" y="228637"/>
                  </a:cubicBezTo>
                  <a:lnTo>
                    <a:pt x="0" y="0"/>
                  </a:lnTo>
                  <a:lnTo>
                    <a:pt x="46834" y="0"/>
                  </a:lnTo>
                  <a:lnTo>
                    <a:pt x="46834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53116551-1279-3085-6629-495B68FDE7F6}"/>
                </a:ext>
              </a:extLst>
            </p:cNvPr>
            <p:cNvSpPr/>
            <p:nvPr/>
          </p:nvSpPr>
          <p:spPr>
            <a:xfrm>
              <a:off x="7136995" y="4398399"/>
              <a:ext cx="245667" cy="369595"/>
            </a:xfrm>
            <a:custGeom>
              <a:avLst/>
              <a:gdLst>
                <a:gd name="connsiteX0" fmla="*/ 61311 w 245667"/>
                <a:gd name="connsiteY0" fmla="*/ 357645 h 369595"/>
                <a:gd name="connsiteX1" fmla="*/ 16605 w 245667"/>
                <a:gd name="connsiteY1" fmla="*/ 322306 h 369595"/>
                <a:gd name="connsiteX2" fmla="*/ 0 w 245667"/>
                <a:gd name="connsiteY2" fmla="*/ 269937 h 369595"/>
                <a:gd name="connsiteX3" fmla="*/ 50241 w 245667"/>
                <a:gd name="connsiteY3" fmla="*/ 269937 h 369595"/>
                <a:gd name="connsiteX4" fmla="*/ 71103 w 245667"/>
                <a:gd name="connsiteY4" fmla="*/ 312513 h 369595"/>
                <a:gd name="connsiteX5" fmla="*/ 124750 w 245667"/>
                <a:gd name="connsiteY5" fmla="*/ 329970 h 369595"/>
                <a:gd name="connsiteX6" fmla="*/ 177971 w 245667"/>
                <a:gd name="connsiteY6" fmla="*/ 312939 h 369595"/>
                <a:gd name="connsiteX7" fmla="*/ 197556 w 245667"/>
                <a:gd name="connsiteY7" fmla="*/ 269511 h 369595"/>
                <a:gd name="connsiteX8" fmla="*/ 186061 w 245667"/>
                <a:gd name="connsiteY8" fmla="*/ 235875 h 369595"/>
                <a:gd name="connsiteX9" fmla="*/ 157534 w 245667"/>
                <a:gd name="connsiteY9" fmla="*/ 216290 h 369595"/>
                <a:gd name="connsiteX10" fmla="*/ 111125 w 245667"/>
                <a:gd name="connsiteY10" fmla="*/ 201814 h 369595"/>
                <a:gd name="connsiteX11" fmla="*/ 53647 w 245667"/>
                <a:gd name="connsiteY11" fmla="*/ 183080 h 369595"/>
                <a:gd name="connsiteX12" fmla="*/ 17031 w 245667"/>
                <a:gd name="connsiteY12" fmla="*/ 153702 h 369595"/>
                <a:gd name="connsiteX13" fmla="*/ 1703 w 245667"/>
                <a:gd name="connsiteY13" fmla="*/ 100055 h 369595"/>
                <a:gd name="connsiteX14" fmla="*/ 16605 w 245667"/>
                <a:gd name="connsiteY14" fmla="*/ 47686 h 369595"/>
                <a:gd name="connsiteX15" fmla="*/ 59182 w 245667"/>
                <a:gd name="connsiteY15" fmla="*/ 12347 h 369595"/>
                <a:gd name="connsiteX16" fmla="*/ 121770 w 245667"/>
                <a:gd name="connsiteY16" fmla="*/ 0 h 369595"/>
                <a:gd name="connsiteX17" fmla="*/ 205220 w 245667"/>
                <a:gd name="connsiteY17" fmla="*/ 25546 h 369595"/>
                <a:gd name="connsiteX18" fmla="*/ 241836 w 245667"/>
                <a:gd name="connsiteY18" fmla="*/ 92817 h 369595"/>
                <a:gd name="connsiteX19" fmla="*/ 189892 w 245667"/>
                <a:gd name="connsiteY19" fmla="*/ 92817 h 369595"/>
                <a:gd name="connsiteX20" fmla="*/ 168178 w 245667"/>
                <a:gd name="connsiteY20" fmla="*/ 56201 h 369595"/>
                <a:gd name="connsiteX21" fmla="*/ 117512 w 245667"/>
                <a:gd name="connsiteY21" fmla="*/ 40022 h 369595"/>
                <a:gd name="connsiteX22" fmla="*/ 68974 w 245667"/>
                <a:gd name="connsiteY22" fmla="*/ 55350 h 369595"/>
                <a:gd name="connsiteX23" fmla="*/ 50241 w 245667"/>
                <a:gd name="connsiteY23" fmla="*/ 97927 h 369595"/>
                <a:gd name="connsiteX24" fmla="*/ 61311 w 245667"/>
                <a:gd name="connsiteY24" fmla="*/ 130285 h 369595"/>
                <a:gd name="connsiteX25" fmla="*/ 88985 w 245667"/>
                <a:gd name="connsiteY25" fmla="*/ 149444 h 369595"/>
                <a:gd name="connsiteX26" fmla="*/ 134968 w 245667"/>
                <a:gd name="connsiteY26" fmla="*/ 164346 h 369595"/>
                <a:gd name="connsiteX27" fmla="*/ 192447 w 245667"/>
                <a:gd name="connsiteY27" fmla="*/ 183932 h 369595"/>
                <a:gd name="connsiteX28" fmla="*/ 229915 w 245667"/>
                <a:gd name="connsiteY28" fmla="*/ 213310 h 369595"/>
                <a:gd name="connsiteX29" fmla="*/ 245668 w 245667"/>
                <a:gd name="connsiteY29" fmla="*/ 267382 h 369595"/>
                <a:gd name="connsiteX30" fmla="*/ 231618 w 245667"/>
                <a:gd name="connsiteY30" fmla="*/ 317197 h 369595"/>
                <a:gd name="connsiteX31" fmla="*/ 189892 w 245667"/>
                <a:gd name="connsiteY31" fmla="*/ 355090 h 369595"/>
                <a:gd name="connsiteX32" fmla="*/ 124750 w 245667"/>
                <a:gd name="connsiteY32" fmla="*/ 369566 h 369595"/>
                <a:gd name="connsiteX33" fmla="*/ 61311 w 245667"/>
                <a:gd name="connsiteY33" fmla="*/ 357645 h 369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45667" h="369595">
                  <a:moveTo>
                    <a:pt x="61311" y="357645"/>
                  </a:moveTo>
                  <a:cubicBezTo>
                    <a:pt x="42577" y="349129"/>
                    <a:pt x="27675" y="337634"/>
                    <a:pt x="16605" y="322306"/>
                  </a:cubicBezTo>
                  <a:cubicBezTo>
                    <a:pt x="5961" y="307404"/>
                    <a:pt x="426" y="289948"/>
                    <a:pt x="0" y="269937"/>
                  </a:cubicBezTo>
                  <a:lnTo>
                    <a:pt x="50241" y="269937"/>
                  </a:lnTo>
                  <a:cubicBezTo>
                    <a:pt x="51944" y="286967"/>
                    <a:pt x="58756" y="301443"/>
                    <a:pt x="71103" y="312513"/>
                  </a:cubicBezTo>
                  <a:cubicBezTo>
                    <a:pt x="83450" y="323583"/>
                    <a:pt x="101333" y="329970"/>
                    <a:pt x="124750" y="329970"/>
                  </a:cubicBezTo>
                  <a:cubicBezTo>
                    <a:pt x="148167" y="329970"/>
                    <a:pt x="165198" y="324435"/>
                    <a:pt x="177971" y="312939"/>
                  </a:cubicBezTo>
                  <a:cubicBezTo>
                    <a:pt x="190744" y="301869"/>
                    <a:pt x="197556" y="287393"/>
                    <a:pt x="197556" y="269511"/>
                  </a:cubicBezTo>
                  <a:cubicBezTo>
                    <a:pt x="197556" y="255461"/>
                    <a:pt x="193724" y="244391"/>
                    <a:pt x="186061" y="235875"/>
                  </a:cubicBezTo>
                  <a:cubicBezTo>
                    <a:pt x="178397" y="227360"/>
                    <a:pt x="169030" y="220548"/>
                    <a:pt x="157534" y="216290"/>
                  </a:cubicBezTo>
                  <a:cubicBezTo>
                    <a:pt x="146038" y="211607"/>
                    <a:pt x="130711" y="206923"/>
                    <a:pt x="111125" y="201814"/>
                  </a:cubicBezTo>
                  <a:cubicBezTo>
                    <a:pt x="87282" y="195427"/>
                    <a:pt x="68123" y="189467"/>
                    <a:pt x="53647" y="183080"/>
                  </a:cubicBezTo>
                  <a:cubicBezTo>
                    <a:pt x="39171" y="176694"/>
                    <a:pt x="26823" y="166901"/>
                    <a:pt x="17031" y="153702"/>
                  </a:cubicBezTo>
                  <a:cubicBezTo>
                    <a:pt x="6812" y="140503"/>
                    <a:pt x="1703" y="122195"/>
                    <a:pt x="1703" y="100055"/>
                  </a:cubicBezTo>
                  <a:cubicBezTo>
                    <a:pt x="1703" y="80470"/>
                    <a:pt x="6387" y="63014"/>
                    <a:pt x="16605" y="47686"/>
                  </a:cubicBezTo>
                  <a:cubicBezTo>
                    <a:pt x="26823" y="32358"/>
                    <a:pt x="40874" y="20437"/>
                    <a:pt x="59182" y="12347"/>
                  </a:cubicBezTo>
                  <a:cubicBezTo>
                    <a:pt x="77064" y="3832"/>
                    <a:pt x="97927" y="0"/>
                    <a:pt x="121770" y="0"/>
                  </a:cubicBezTo>
                  <a:cubicBezTo>
                    <a:pt x="155831" y="0"/>
                    <a:pt x="183506" y="8515"/>
                    <a:pt x="205220" y="25546"/>
                  </a:cubicBezTo>
                  <a:cubicBezTo>
                    <a:pt x="226934" y="42577"/>
                    <a:pt x="238856" y="65142"/>
                    <a:pt x="241836" y="92817"/>
                  </a:cubicBezTo>
                  <a:lnTo>
                    <a:pt x="189892" y="92817"/>
                  </a:lnTo>
                  <a:cubicBezTo>
                    <a:pt x="188189" y="78767"/>
                    <a:pt x="180951" y="66846"/>
                    <a:pt x="168178" y="56201"/>
                  </a:cubicBezTo>
                  <a:cubicBezTo>
                    <a:pt x="155405" y="45983"/>
                    <a:pt x="138374" y="40022"/>
                    <a:pt x="117512" y="40022"/>
                  </a:cubicBezTo>
                  <a:cubicBezTo>
                    <a:pt x="96649" y="40022"/>
                    <a:pt x="81747" y="45131"/>
                    <a:pt x="68974" y="55350"/>
                  </a:cubicBezTo>
                  <a:cubicBezTo>
                    <a:pt x="56201" y="65568"/>
                    <a:pt x="50241" y="79619"/>
                    <a:pt x="50241" y="97927"/>
                  </a:cubicBezTo>
                  <a:cubicBezTo>
                    <a:pt x="50241" y="111125"/>
                    <a:pt x="54073" y="121770"/>
                    <a:pt x="61311" y="130285"/>
                  </a:cubicBezTo>
                  <a:cubicBezTo>
                    <a:pt x="68549" y="138800"/>
                    <a:pt x="77915" y="144761"/>
                    <a:pt x="88985" y="149444"/>
                  </a:cubicBezTo>
                  <a:cubicBezTo>
                    <a:pt x="99630" y="153702"/>
                    <a:pt x="115383" y="158811"/>
                    <a:pt x="134968" y="164346"/>
                  </a:cubicBezTo>
                  <a:cubicBezTo>
                    <a:pt x="158811" y="171159"/>
                    <a:pt x="177971" y="177545"/>
                    <a:pt x="192447" y="183932"/>
                  </a:cubicBezTo>
                  <a:cubicBezTo>
                    <a:pt x="206923" y="190318"/>
                    <a:pt x="219696" y="200111"/>
                    <a:pt x="229915" y="213310"/>
                  </a:cubicBezTo>
                  <a:cubicBezTo>
                    <a:pt x="240133" y="226508"/>
                    <a:pt x="245668" y="244816"/>
                    <a:pt x="245668" y="267382"/>
                  </a:cubicBezTo>
                  <a:cubicBezTo>
                    <a:pt x="245668" y="285264"/>
                    <a:pt x="240985" y="301869"/>
                    <a:pt x="231618" y="317197"/>
                  </a:cubicBezTo>
                  <a:cubicBezTo>
                    <a:pt x="222251" y="332950"/>
                    <a:pt x="208200" y="345297"/>
                    <a:pt x="189892" y="355090"/>
                  </a:cubicBezTo>
                  <a:cubicBezTo>
                    <a:pt x="171584" y="364883"/>
                    <a:pt x="149870" y="369566"/>
                    <a:pt x="124750" y="369566"/>
                  </a:cubicBezTo>
                  <a:cubicBezTo>
                    <a:pt x="100055" y="369992"/>
                    <a:pt x="79619" y="365734"/>
                    <a:pt x="61311" y="357645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D54DDA5-29C1-990E-2734-A199B2587637}"/>
                </a:ext>
              </a:extLst>
            </p:cNvPr>
            <p:cNvSpPr/>
            <p:nvPr/>
          </p:nvSpPr>
          <p:spPr>
            <a:xfrm>
              <a:off x="8318074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8 w 284838"/>
                <a:gd name="connsiteY8" fmla="*/ 362754 h 362753"/>
                <a:gd name="connsiteX9" fmla="*/ 284838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8" y="362754"/>
                  </a:lnTo>
                  <a:lnTo>
                    <a:pt x="284838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D8468A-7AAC-CAE0-127F-28D5FD918E33}"/>
                </a:ext>
              </a:extLst>
            </p:cNvPr>
            <p:cNvSpPr/>
            <p:nvPr/>
          </p:nvSpPr>
          <p:spPr>
            <a:xfrm>
              <a:off x="6372742" y="4398399"/>
              <a:ext cx="363605" cy="369140"/>
            </a:xfrm>
            <a:custGeom>
              <a:avLst/>
              <a:gdLst>
                <a:gd name="connsiteX0" fmla="*/ 89837 w 363605"/>
                <a:gd name="connsiteY0" fmla="*/ 346575 h 369140"/>
                <a:gd name="connsiteX1" fmla="*/ 24269 w 363605"/>
                <a:gd name="connsiteY1" fmla="*/ 280581 h 369140"/>
                <a:gd name="connsiteX2" fmla="*/ 0 w 363605"/>
                <a:gd name="connsiteY2" fmla="*/ 185209 h 369140"/>
                <a:gd name="connsiteX3" fmla="*/ 24269 w 363605"/>
                <a:gd name="connsiteY3" fmla="*/ 89837 h 369140"/>
                <a:gd name="connsiteX4" fmla="*/ 89837 w 363605"/>
                <a:gd name="connsiteY4" fmla="*/ 23843 h 369140"/>
                <a:gd name="connsiteX5" fmla="*/ 181803 w 363605"/>
                <a:gd name="connsiteY5" fmla="*/ 0 h 369140"/>
                <a:gd name="connsiteX6" fmla="*/ 274194 w 363605"/>
                <a:gd name="connsiteY6" fmla="*/ 23843 h 369140"/>
                <a:gd name="connsiteX7" fmla="*/ 339763 w 363605"/>
                <a:gd name="connsiteY7" fmla="*/ 89411 h 369140"/>
                <a:gd name="connsiteX8" fmla="*/ 363606 w 363605"/>
                <a:gd name="connsiteY8" fmla="*/ 184783 h 369140"/>
                <a:gd name="connsiteX9" fmla="*/ 339763 w 363605"/>
                <a:gd name="connsiteY9" fmla="*/ 280155 h 369140"/>
                <a:gd name="connsiteX10" fmla="*/ 274194 w 363605"/>
                <a:gd name="connsiteY10" fmla="*/ 345723 h 369140"/>
                <a:gd name="connsiteX11" fmla="*/ 181803 w 363605"/>
                <a:gd name="connsiteY11" fmla="*/ 369140 h 369140"/>
                <a:gd name="connsiteX12" fmla="*/ 89837 w 363605"/>
                <a:gd name="connsiteY12" fmla="*/ 346575 h 369140"/>
                <a:gd name="connsiteX13" fmla="*/ 249926 w 363605"/>
                <a:gd name="connsiteY13" fmla="*/ 311236 h 369140"/>
                <a:gd name="connsiteX14" fmla="*/ 297612 w 363605"/>
                <a:gd name="connsiteY14" fmla="*/ 260995 h 369140"/>
                <a:gd name="connsiteX15" fmla="*/ 315068 w 363605"/>
                <a:gd name="connsiteY15" fmla="*/ 185209 h 369140"/>
                <a:gd name="connsiteX16" fmla="*/ 297612 w 363605"/>
                <a:gd name="connsiteY16" fmla="*/ 108997 h 369140"/>
                <a:gd name="connsiteX17" fmla="*/ 249926 w 363605"/>
                <a:gd name="connsiteY17" fmla="*/ 58756 h 369140"/>
                <a:gd name="connsiteX18" fmla="*/ 181377 w 363605"/>
                <a:gd name="connsiteY18" fmla="*/ 40874 h 369140"/>
                <a:gd name="connsiteX19" fmla="*/ 112828 w 363605"/>
                <a:gd name="connsiteY19" fmla="*/ 58756 h 369140"/>
                <a:gd name="connsiteX20" fmla="*/ 65142 w 363605"/>
                <a:gd name="connsiteY20" fmla="*/ 108997 h 369140"/>
                <a:gd name="connsiteX21" fmla="*/ 47686 w 363605"/>
                <a:gd name="connsiteY21" fmla="*/ 185209 h 369140"/>
                <a:gd name="connsiteX22" fmla="*/ 65142 w 363605"/>
                <a:gd name="connsiteY22" fmla="*/ 260995 h 369140"/>
                <a:gd name="connsiteX23" fmla="*/ 112828 w 363605"/>
                <a:gd name="connsiteY23" fmla="*/ 311236 h 369140"/>
                <a:gd name="connsiteX24" fmla="*/ 180951 w 363605"/>
                <a:gd name="connsiteY24" fmla="*/ 329118 h 369140"/>
                <a:gd name="connsiteX25" fmla="*/ 249926 w 363605"/>
                <a:gd name="connsiteY25" fmla="*/ 311236 h 369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3605" h="369140">
                  <a:moveTo>
                    <a:pt x="89837" y="346575"/>
                  </a:moveTo>
                  <a:cubicBezTo>
                    <a:pt x="62162" y="330821"/>
                    <a:pt x="40022" y="308681"/>
                    <a:pt x="24269" y="280581"/>
                  </a:cubicBezTo>
                  <a:cubicBezTo>
                    <a:pt x="8090" y="252480"/>
                    <a:pt x="0" y="220548"/>
                    <a:pt x="0" y="185209"/>
                  </a:cubicBezTo>
                  <a:cubicBezTo>
                    <a:pt x="0" y="149870"/>
                    <a:pt x="8090" y="117938"/>
                    <a:pt x="24269" y="89837"/>
                  </a:cubicBezTo>
                  <a:cubicBezTo>
                    <a:pt x="40448" y="61736"/>
                    <a:pt x="62162" y="39596"/>
                    <a:pt x="89837" y="23843"/>
                  </a:cubicBezTo>
                  <a:cubicBezTo>
                    <a:pt x="117512" y="8090"/>
                    <a:pt x="148167" y="0"/>
                    <a:pt x="181803" y="0"/>
                  </a:cubicBezTo>
                  <a:cubicBezTo>
                    <a:pt x="215438" y="0"/>
                    <a:pt x="246519" y="8090"/>
                    <a:pt x="274194" y="23843"/>
                  </a:cubicBezTo>
                  <a:cubicBezTo>
                    <a:pt x="301869" y="39596"/>
                    <a:pt x="323583" y="61311"/>
                    <a:pt x="339763" y="89411"/>
                  </a:cubicBezTo>
                  <a:cubicBezTo>
                    <a:pt x="355942" y="117512"/>
                    <a:pt x="363606" y="149444"/>
                    <a:pt x="363606" y="184783"/>
                  </a:cubicBezTo>
                  <a:cubicBezTo>
                    <a:pt x="363606" y="220122"/>
                    <a:pt x="355516" y="252054"/>
                    <a:pt x="339763" y="280155"/>
                  </a:cubicBezTo>
                  <a:cubicBezTo>
                    <a:pt x="324009" y="308256"/>
                    <a:pt x="301869" y="330396"/>
                    <a:pt x="274194" y="345723"/>
                  </a:cubicBezTo>
                  <a:cubicBezTo>
                    <a:pt x="246519" y="361477"/>
                    <a:pt x="215864" y="369140"/>
                    <a:pt x="181803" y="369140"/>
                  </a:cubicBezTo>
                  <a:cubicBezTo>
                    <a:pt x="147741" y="369140"/>
                    <a:pt x="117086" y="362328"/>
                    <a:pt x="89837" y="346575"/>
                  </a:cubicBezTo>
                  <a:moveTo>
                    <a:pt x="249926" y="311236"/>
                  </a:moveTo>
                  <a:cubicBezTo>
                    <a:pt x="269937" y="299315"/>
                    <a:pt x="286116" y="282710"/>
                    <a:pt x="297612" y="260995"/>
                  </a:cubicBezTo>
                  <a:cubicBezTo>
                    <a:pt x="309107" y="239281"/>
                    <a:pt x="315068" y="213735"/>
                    <a:pt x="315068" y="185209"/>
                  </a:cubicBezTo>
                  <a:cubicBezTo>
                    <a:pt x="315068" y="156682"/>
                    <a:pt x="309107" y="130711"/>
                    <a:pt x="297612" y="108997"/>
                  </a:cubicBezTo>
                  <a:cubicBezTo>
                    <a:pt x="286116" y="87282"/>
                    <a:pt x="270362" y="70677"/>
                    <a:pt x="249926" y="58756"/>
                  </a:cubicBezTo>
                  <a:cubicBezTo>
                    <a:pt x="229489" y="46834"/>
                    <a:pt x="206923" y="40874"/>
                    <a:pt x="181377" y="40874"/>
                  </a:cubicBezTo>
                  <a:cubicBezTo>
                    <a:pt x="155831" y="40874"/>
                    <a:pt x="132839" y="46834"/>
                    <a:pt x="112828" y="58756"/>
                  </a:cubicBezTo>
                  <a:cubicBezTo>
                    <a:pt x="92817" y="70677"/>
                    <a:pt x="77064" y="87282"/>
                    <a:pt x="65142" y="108997"/>
                  </a:cubicBezTo>
                  <a:cubicBezTo>
                    <a:pt x="53647" y="130711"/>
                    <a:pt x="47686" y="155831"/>
                    <a:pt x="47686" y="185209"/>
                  </a:cubicBezTo>
                  <a:cubicBezTo>
                    <a:pt x="47686" y="214587"/>
                    <a:pt x="53647" y="238856"/>
                    <a:pt x="65142" y="260995"/>
                  </a:cubicBezTo>
                  <a:cubicBezTo>
                    <a:pt x="76638" y="282710"/>
                    <a:pt x="92392" y="299740"/>
                    <a:pt x="112828" y="311236"/>
                  </a:cubicBezTo>
                  <a:cubicBezTo>
                    <a:pt x="132839" y="323158"/>
                    <a:pt x="155831" y="329118"/>
                    <a:pt x="180951" y="329118"/>
                  </a:cubicBezTo>
                  <a:cubicBezTo>
                    <a:pt x="206072" y="329118"/>
                    <a:pt x="229489" y="323158"/>
                    <a:pt x="249926" y="311236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29CD776B-81E0-89DF-94C0-F3C595DA6FEF}"/>
                </a:ext>
              </a:extLst>
            </p:cNvPr>
            <p:cNvSpPr/>
            <p:nvPr/>
          </p:nvSpPr>
          <p:spPr>
            <a:xfrm>
              <a:off x="5978481" y="4397973"/>
              <a:ext cx="348703" cy="369991"/>
            </a:xfrm>
            <a:custGeom>
              <a:avLst/>
              <a:gdLst>
                <a:gd name="connsiteX0" fmla="*/ 24269 w 348703"/>
                <a:gd name="connsiteY0" fmla="*/ 90263 h 369991"/>
                <a:gd name="connsiteX1" fmla="*/ 89411 w 348703"/>
                <a:gd name="connsiteY1" fmla="*/ 23843 h 369991"/>
                <a:gd name="connsiteX2" fmla="*/ 181377 w 348703"/>
                <a:gd name="connsiteY2" fmla="*/ 0 h 369991"/>
                <a:gd name="connsiteX3" fmla="*/ 284413 w 348703"/>
                <a:gd name="connsiteY3" fmla="*/ 28526 h 369991"/>
                <a:gd name="connsiteX4" fmla="*/ 348704 w 348703"/>
                <a:gd name="connsiteY4" fmla="*/ 109422 h 369991"/>
                <a:gd name="connsiteX5" fmla="*/ 292077 w 348703"/>
                <a:gd name="connsiteY5" fmla="*/ 109422 h 369991"/>
                <a:gd name="connsiteX6" fmla="*/ 248648 w 348703"/>
                <a:gd name="connsiteY6" fmla="*/ 59182 h 369991"/>
                <a:gd name="connsiteX7" fmla="*/ 180951 w 348703"/>
                <a:gd name="connsiteY7" fmla="*/ 41299 h 369991"/>
                <a:gd name="connsiteX8" fmla="*/ 112828 w 348703"/>
                <a:gd name="connsiteY8" fmla="*/ 59182 h 369991"/>
                <a:gd name="connsiteX9" fmla="*/ 65568 w 348703"/>
                <a:gd name="connsiteY9" fmla="*/ 109422 h 369991"/>
                <a:gd name="connsiteX10" fmla="*/ 48538 w 348703"/>
                <a:gd name="connsiteY10" fmla="*/ 185635 h 369991"/>
                <a:gd name="connsiteX11" fmla="*/ 65568 w 348703"/>
                <a:gd name="connsiteY11" fmla="*/ 260995 h 369991"/>
                <a:gd name="connsiteX12" fmla="*/ 112828 w 348703"/>
                <a:gd name="connsiteY12" fmla="*/ 311236 h 369991"/>
                <a:gd name="connsiteX13" fmla="*/ 180951 w 348703"/>
                <a:gd name="connsiteY13" fmla="*/ 329118 h 369991"/>
                <a:gd name="connsiteX14" fmla="*/ 248648 w 348703"/>
                <a:gd name="connsiteY14" fmla="*/ 311662 h 369991"/>
                <a:gd name="connsiteX15" fmla="*/ 292077 w 348703"/>
                <a:gd name="connsiteY15" fmla="*/ 261421 h 369991"/>
                <a:gd name="connsiteX16" fmla="*/ 348704 w 348703"/>
                <a:gd name="connsiteY16" fmla="*/ 261421 h 369991"/>
                <a:gd name="connsiteX17" fmla="*/ 284413 w 348703"/>
                <a:gd name="connsiteY17" fmla="*/ 341891 h 369991"/>
                <a:gd name="connsiteX18" fmla="*/ 181377 w 348703"/>
                <a:gd name="connsiteY18" fmla="*/ 369992 h 369991"/>
                <a:gd name="connsiteX19" fmla="*/ 89411 w 348703"/>
                <a:gd name="connsiteY19" fmla="*/ 346575 h 369991"/>
                <a:gd name="connsiteX20" fmla="*/ 23843 w 348703"/>
                <a:gd name="connsiteY20" fmla="*/ 281007 h 369991"/>
                <a:gd name="connsiteX21" fmla="*/ 0 w 348703"/>
                <a:gd name="connsiteY21" fmla="*/ 186060 h 369991"/>
                <a:gd name="connsiteX22" fmla="*/ 24269 w 348703"/>
                <a:gd name="connsiteY22" fmla="*/ 90263 h 36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8703" h="369991">
                  <a:moveTo>
                    <a:pt x="24269" y="90263"/>
                  </a:moveTo>
                  <a:cubicBezTo>
                    <a:pt x="40448" y="62162"/>
                    <a:pt x="61736" y="40022"/>
                    <a:pt x="89411" y="23843"/>
                  </a:cubicBezTo>
                  <a:cubicBezTo>
                    <a:pt x="117086" y="7664"/>
                    <a:pt x="147316" y="0"/>
                    <a:pt x="181377" y="0"/>
                  </a:cubicBezTo>
                  <a:cubicBezTo>
                    <a:pt x="220973" y="0"/>
                    <a:pt x="255461" y="9367"/>
                    <a:pt x="284413" y="28526"/>
                  </a:cubicBezTo>
                  <a:cubicBezTo>
                    <a:pt x="313791" y="47686"/>
                    <a:pt x="335079" y="74935"/>
                    <a:pt x="348704" y="109422"/>
                  </a:cubicBezTo>
                  <a:lnTo>
                    <a:pt x="292077" y="109422"/>
                  </a:lnTo>
                  <a:cubicBezTo>
                    <a:pt x="281858" y="87708"/>
                    <a:pt x="267808" y="70677"/>
                    <a:pt x="248648" y="59182"/>
                  </a:cubicBezTo>
                  <a:cubicBezTo>
                    <a:pt x="229915" y="47260"/>
                    <a:pt x="207349" y="41299"/>
                    <a:pt x="180951" y="41299"/>
                  </a:cubicBezTo>
                  <a:cubicBezTo>
                    <a:pt x="154554" y="41299"/>
                    <a:pt x="132839" y="47260"/>
                    <a:pt x="112828" y="59182"/>
                  </a:cubicBezTo>
                  <a:cubicBezTo>
                    <a:pt x="92817" y="71103"/>
                    <a:pt x="77064" y="87708"/>
                    <a:pt x="65568" y="109422"/>
                  </a:cubicBezTo>
                  <a:cubicBezTo>
                    <a:pt x="54072" y="131136"/>
                    <a:pt x="48538" y="156257"/>
                    <a:pt x="48538" y="185635"/>
                  </a:cubicBezTo>
                  <a:cubicBezTo>
                    <a:pt x="48538" y="215013"/>
                    <a:pt x="54072" y="239281"/>
                    <a:pt x="65568" y="260995"/>
                  </a:cubicBezTo>
                  <a:cubicBezTo>
                    <a:pt x="77064" y="282710"/>
                    <a:pt x="92817" y="299315"/>
                    <a:pt x="112828" y="311236"/>
                  </a:cubicBezTo>
                  <a:cubicBezTo>
                    <a:pt x="132839" y="323158"/>
                    <a:pt x="155405" y="329118"/>
                    <a:pt x="180951" y="329118"/>
                  </a:cubicBezTo>
                  <a:cubicBezTo>
                    <a:pt x="206497" y="329118"/>
                    <a:pt x="229915" y="323158"/>
                    <a:pt x="248648" y="311662"/>
                  </a:cubicBezTo>
                  <a:cubicBezTo>
                    <a:pt x="267382" y="300166"/>
                    <a:pt x="281858" y="283561"/>
                    <a:pt x="292077" y="261421"/>
                  </a:cubicBezTo>
                  <a:lnTo>
                    <a:pt x="348704" y="261421"/>
                  </a:lnTo>
                  <a:cubicBezTo>
                    <a:pt x="335079" y="296334"/>
                    <a:pt x="313791" y="323158"/>
                    <a:pt x="284413" y="341891"/>
                  </a:cubicBezTo>
                  <a:cubicBezTo>
                    <a:pt x="255035" y="360625"/>
                    <a:pt x="220548" y="369992"/>
                    <a:pt x="181377" y="369992"/>
                  </a:cubicBezTo>
                  <a:cubicBezTo>
                    <a:pt x="147741" y="369992"/>
                    <a:pt x="117086" y="361902"/>
                    <a:pt x="89411" y="346575"/>
                  </a:cubicBezTo>
                  <a:cubicBezTo>
                    <a:pt x="62162" y="330821"/>
                    <a:pt x="40022" y="309107"/>
                    <a:pt x="23843" y="281007"/>
                  </a:cubicBezTo>
                  <a:cubicBezTo>
                    <a:pt x="7664" y="252906"/>
                    <a:pt x="0" y="221399"/>
                    <a:pt x="0" y="186060"/>
                  </a:cubicBezTo>
                  <a:cubicBezTo>
                    <a:pt x="0" y="150722"/>
                    <a:pt x="8090" y="118363"/>
                    <a:pt x="24269" y="90263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17845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_Teal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62BCC7-16BE-7DC8-9502-D8C1BF93C7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497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62BCC7-16BE-7DC8-9502-D8C1BF93C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: Shape 6">
            <a:extLst>
              <a:ext uri="{FF2B5EF4-FFF2-40B4-BE49-F238E27FC236}">
                <a16:creationId xmlns:a16="http://schemas.microsoft.com/office/drawing/2014/main" id="{9979981B-89A6-0DAC-EEA3-D4DBB0C714CD}"/>
              </a:ext>
            </a:extLst>
          </p:cNvPr>
          <p:cNvSpPr/>
          <p:nvPr userDrawn="1"/>
        </p:nvSpPr>
        <p:spPr>
          <a:xfrm rot="5400000">
            <a:off x="74477" y="-74477"/>
            <a:ext cx="6858000" cy="7006954"/>
          </a:xfrm>
          <a:custGeom>
            <a:avLst/>
            <a:gdLst>
              <a:gd name="connsiteX0" fmla="*/ 0 w 6858000"/>
              <a:gd name="connsiteY0" fmla="*/ 7006954 h 7006954"/>
              <a:gd name="connsiteX1" fmla="*/ 0 w 6858000"/>
              <a:gd name="connsiteY1" fmla="*/ 6092554 h 7006954"/>
              <a:gd name="connsiteX2" fmla="*/ 0 w 6858000"/>
              <a:gd name="connsiteY2" fmla="*/ 1712771 h 7006954"/>
              <a:gd name="connsiteX3" fmla="*/ 2796992 w 6858000"/>
              <a:gd name="connsiteY3" fmla="*/ 305988 h 7006954"/>
              <a:gd name="connsiteX4" fmla="*/ 4061057 w 6858000"/>
              <a:gd name="connsiteY4" fmla="*/ 305988 h 7006954"/>
              <a:gd name="connsiteX5" fmla="*/ 6857998 w 6858000"/>
              <a:gd name="connsiteY5" fmla="*/ 1712746 h 7006954"/>
              <a:gd name="connsiteX6" fmla="*/ 6857998 w 6858000"/>
              <a:gd name="connsiteY6" fmla="*/ 0 h 7006954"/>
              <a:gd name="connsiteX7" fmla="*/ 6858000 w 6858000"/>
              <a:gd name="connsiteY7" fmla="*/ 2 h 7006954"/>
              <a:gd name="connsiteX8" fmla="*/ 6858000 w 6858000"/>
              <a:gd name="connsiteY8" fmla="*/ 6195634 h 7006954"/>
              <a:gd name="connsiteX9" fmla="*/ 6858000 w 6858000"/>
              <a:gd name="connsiteY9" fmla="*/ 7006954 h 7006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858000" h="7006954">
                <a:moveTo>
                  <a:pt x="0" y="7006954"/>
                </a:moveTo>
                <a:lnTo>
                  <a:pt x="0" y="6092554"/>
                </a:lnTo>
                <a:lnTo>
                  <a:pt x="0" y="1712771"/>
                </a:lnTo>
                <a:lnTo>
                  <a:pt x="2796992" y="305988"/>
                </a:lnTo>
                <a:cubicBezTo>
                  <a:pt x="3147076" y="129911"/>
                  <a:pt x="3713631" y="129911"/>
                  <a:pt x="4061057" y="305988"/>
                </a:cubicBezTo>
                <a:lnTo>
                  <a:pt x="6857998" y="1712746"/>
                </a:lnTo>
                <a:lnTo>
                  <a:pt x="6857998" y="0"/>
                </a:lnTo>
                <a:lnTo>
                  <a:pt x="6858000" y="2"/>
                </a:lnTo>
                <a:lnTo>
                  <a:pt x="6858000" y="6195634"/>
                </a:lnTo>
                <a:lnTo>
                  <a:pt x="6858000" y="7006954"/>
                </a:lnTo>
                <a:close/>
              </a:path>
            </a:pathLst>
          </a:custGeom>
          <a:gradFill flip="none" rotWithShape="1">
            <a:gsLst>
              <a:gs pos="0">
                <a:srgbClr val="004754"/>
              </a:gs>
              <a:gs pos="100000">
                <a:srgbClr val="29BBCE"/>
              </a:gs>
              <a:gs pos="50000">
                <a:srgbClr val="0087A0"/>
              </a:gs>
            </a:gsLst>
            <a:lin ang="19800000" scaled="1"/>
            <a:tileRect/>
          </a:gradFill>
          <a:ln w="6350">
            <a:noFill/>
          </a:ln>
          <a:effectLst/>
        </p:spPr>
        <p:txBody>
          <a:bodyPr rot="0" spcFirstLastPara="0" vertOverflow="overflow" horzOverflow="overflow" vert="horz" wrap="square" lIns="108109" tIns="108109" rIns="108109" bIns="108109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lvl="0" algn="ctr" defTabSz="1083747">
              <a:spcBef>
                <a:spcPts val="1200"/>
              </a:spcBef>
            </a:pPr>
            <a:endParaRPr lang="en-US" sz="1400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C53212-15FB-B691-7374-7583B3B298D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0863" y="432000"/>
            <a:ext cx="4945062" cy="738000"/>
          </a:xfrm>
        </p:spPr>
        <p:txBody>
          <a:bodyPr vert="horz"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623002C-4678-F866-4F3A-9C72D85E46E7}"/>
              </a:ext>
            </a:extLst>
          </p:cNvPr>
          <p:cNvSpPr/>
          <p:nvPr userDrawn="1"/>
        </p:nvSpPr>
        <p:spPr>
          <a:xfrm rot="1599265" flipH="1">
            <a:off x="6168771" y="3146502"/>
            <a:ext cx="299416" cy="3990707"/>
          </a:xfrm>
          <a:custGeom>
            <a:avLst/>
            <a:gdLst>
              <a:gd name="connsiteX0" fmla="*/ 299416 w 299416"/>
              <a:gd name="connsiteY0" fmla="*/ 0 h 3990707"/>
              <a:gd name="connsiteX1" fmla="*/ 0 w 299416"/>
              <a:gd name="connsiteY1" fmla="*/ 0 h 3990707"/>
              <a:gd name="connsiteX2" fmla="*/ 0 w 299416"/>
              <a:gd name="connsiteY2" fmla="*/ 3840415 h 3990707"/>
              <a:gd name="connsiteX3" fmla="*/ 299416 w 299416"/>
              <a:gd name="connsiteY3" fmla="*/ 3990707 h 3990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416" h="3990707">
                <a:moveTo>
                  <a:pt x="299416" y="0"/>
                </a:moveTo>
                <a:lnTo>
                  <a:pt x="0" y="0"/>
                </a:lnTo>
                <a:lnTo>
                  <a:pt x="0" y="3840415"/>
                </a:lnTo>
                <a:lnTo>
                  <a:pt x="299416" y="3990707"/>
                </a:lnTo>
                <a:close/>
              </a:path>
            </a:pathLst>
          </a:custGeom>
          <a:gradFill flip="none" rotWithShape="1">
            <a:gsLst>
              <a:gs pos="0">
                <a:schemeClr val="bg2">
                  <a:alpha val="43000"/>
                </a:schemeClr>
              </a:gs>
              <a:gs pos="30000">
                <a:schemeClr val="bg2">
                  <a:alpha val="0"/>
                </a:schemeClr>
              </a:gs>
            </a:gsLst>
            <a:lin ang="10920000" scaled="0"/>
            <a:tileRect/>
          </a:gradFill>
          <a:ln w="6350">
            <a:noFill/>
          </a:ln>
        </p:spPr>
        <p:txBody>
          <a:bodyPr vert="horz" wrap="square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CDD67E-FB2B-5555-63E7-37085DB1A70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1BEDC7C-A78A-85E0-DAD9-C1A658BA29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ource/Note: </a:t>
            </a:r>
          </a:p>
        </p:txBody>
      </p:sp>
    </p:spTree>
    <p:extLst>
      <p:ext uri="{BB962C8B-B14F-4D97-AF65-F5344CB8AC3E}">
        <p14:creationId xmlns:p14="http://schemas.microsoft.com/office/powerpoint/2010/main" val="278685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_Teal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62BCC7-16BE-7DC8-9502-D8C1BF93C7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7881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62BCC7-16BE-7DC8-9502-D8C1BF93C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C53212-15FB-B691-7374-7583B3B298D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0863" y="432000"/>
            <a:ext cx="4954587" cy="738000"/>
          </a:xfrm>
        </p:spPr>
        <p:txBody>
          <a:bodyPr vert="horz" r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CABE9A37-3985-5362-7C34-112C7645A9D7}"/>
              </a:ext>
            </a:extLst>
          </p:cNvPr>
          <p:cNvSpPr/>
          <p:nvPr userDrawn="1"/>
        </p:nvSpPr>
        <p:spPr>
          <a:xfrm rot="5400000">
            <a:off x="5314090" y="-19909"/>
            <a:ext cx="6858002" cy="6897817"/>
          </a:xfrm>
          <a:custGeom>
            <a:avLst/>
            <a:gdLst>
              <a:gd name="connsiteX0" fmla="*/ 0 w 6858002"/>
              <a:gd name="connsiteY0" fmla="*/ 3164241 h 6897817"/>
              <a:gd name="connsiteX1" fmla="*/ 0 w 6858002"/>
              <a:gd name="connsiteY1" fmla="*/ 0 h 6897817"/>
              <a:gd name="connsiteX2" fmla="*/ 6858002 w 6858002"/>
              <a:gd name="connsiteY2" fmla="*/ 0 h 6897817"/>
              <a:gd name="connsiteX3" fmla="*/ 6858002 w 6858002"/>
              <a:gd name="connsiteY3" fmla="*/ 3164241 h 6897817"/>
              <a:gd name="connsiteX4" fmla="*/ 6858001 w 6858002"/>
              <a:gd name="connsiteY4" fmla="*/ 3164241 h 6897817"/>
              <a:gd name="connsiteX5" fmla="*/ 6858000 w 6858002"/>
              <a:gd name="connsiteY5" fmla="*/ 6897792 h 6897817"/>
              <a:gd name="connsiteX6" fmla="*/ 4061059 w 6858002"/>
              <a:gd name="connsiteY6" fmla="*/ 5491034 h 6897817"/>
              <a:gd name="connsiteX7" fmla="*/ 2796994 w 6858002"/>
              <a:gd name="connsiteY7" fmla="*/ 5491034 h 6897817"/>
              <a:gd name="connsiteX8" fmla="*/ 1 w 6858002"/>
              <a:gd name="connsiteY8" fmla="*/ 6897817 h 6897817"/>
              <a:gd name="connsiteX9" fmla="*/ 1 w 6858002"/>
              <a:gd name="connsiteY9" fmla="*/ 3164241 h 6897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858002" h="6897817">
                <a:moveTo>
                  <a:pt x="0" y="3164241"/>
                </a:moveTo>
                <a:lnTo>
                  <a:pt x="0" y="0"/>
                </a:lnTo>
                <a:lnTo>
                  <a:pt x="6858002" y="0"/>
                </a:lnTo>
                <a:lnTo>
                  <a:pt x="6858002" y="3164241"/>
                </a:lnTo>
                <a:lnTo>
                  <a:pt x="6858001" y="3164241"/>
                </a:lnTo>
                <a:lnTo>
                  <a:pt x="6858000" y="6897792"/>
                </a:lnTo>
                <a:lnTo>
                  <a:pt x="4061059" y="5491034"/>
                </a:lnTo>
                <a:cubicBezTo>
                  <a:pt x="3713633" y="5314957"/>
                  <a:pt x="3147078" y="5314957"/>
                  <a:pt x="2796994" y="5491034"/>
                </a:cubicBezTo>
                <a:lnTo>
                  <a:pt x="1" y="6897817"/>
                </a:lnTo>
                <a:lnTo>
                  <a:pt x="1" y="3164241"/>
                </a:lnTo>
                <a:close/>
              </a:path>
            </a:pathLst>
          </a:custGeom>
          <a:gradFill flip="none" rotWithShape="1">
            <a:gsLst>
              <a:gs pos="0">
                <a:srgbClr val="004754"/>
              </a:gs>
              <a:gs pos="100000">
                <a:srgbClr val="29BBCE"/>
              </a:gs>
              <a:gs pos="50000">
                <a:srgbClr val="0087A0"/>
              </a:gs>
            </a:gsLst>
            <a:lin ang="19800000" scaled="1"/>
            <a:tileRect/>
          </a:gradFill>
          <a:ln w="6350">
            <a:noFill/>
          </a:ln>
          <a:effectLst/>
        </p:spPr>
        <p:txBody>
          <a:bodyPr rot="0" spcFirstLastPara="0" vertOverflow="overflow" horzOverflow="overflow" vert="horz" wrap="square" lIns="108109" tIns="108109" rIns="108109" bIns="108109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lvl="0" algn="ctr" defTabSz="1083747">
              <a:spcBef>
                <a:spcPts val="1200"/>
              </a:spcBef>
            </a:pPr>
            <a:endParaRPr lang="en-US" sz="1400" dirty="0">
              <a:solidFill>
                <a:srgbClr val="FFFFFF"/>
              </a:solidFill>
              <a:cs typeface="Segoe UI" panose="020B0502040204020203" pitchFamily="34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6723024-EC53-6450-BF60-C6A201D4C560}"/>
              </a:ext>
            </a:extLst>
          </p:cNvPr>
          <p:cNvSpPr/>
          <p:nvPr userDrawn="1"/>
        </p:nvSpPr>
        <p:spPr>
          <a:xfrm rot="1599265" flipH="1">
            <a:off x="6168771" y="3146502"/>
            <a:ext cx="299416" cy="3990707"/>
          </a:xfrm>
          <a:custGeom>
            <a:avLst/>
            <a:gdLst>
              <a:gd name="connsiteX0" fmla="*/ 299416 w 299416"/>
              <a:gd name="connsiteY0" fmla="*/ 0 h 3990707"/>
              <a:gd name="connsiteX1" fmla="*/ 0 w 299416"/>
              <a:gd name="connsiteY1" fmla="*/ 0 h 3990707"/>
              <a:gd name="connsiteX2" fmla="*/ 0 w 299416"/>
              <a:gd name="connsiteY2" fmla="*/ 3840415 h 3990707"/>
              <a:gd name="connsiteX3" fmla="*/ 299416 w 299416"/>
              <a:gd name="connsiteY3" fmla="*/ 3990707 h 3990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416" h="3990707">
                <a:moveTo>
                  <a:pt x="299416" y="0"/>
                </a:moveTo>
                <a:lnTo>
                  <a:pt x="0" y="0"/>
                </a:lnTo>
                <a:lnTo>
                  <a:pt x="0" y="3840415"/>
                </a:lnTo>
                <a:lnTo>
                  <a:pt x="299416" y="3990707"/>
                </a:lnTo>
                <a:close/>
              </a:path>
            </a:pathLst>
          </a:custGeom>
          <a:gradFill flip="none" rotWithShape="1">
            <a:gsLst>
              <a:gs pos="0">
                <a:schemeClr val="accent4">
                  <a:lumMod val="50000"/>
                </a:schemeClr>
              </a:gs>
              <a:gs pos="30000">
                <a:schemeClr val="accent4">
                  <a:alpha val="0"/>
                </a:schemeClr>
              </a:gs>
            </a:gsLst>
            <a:lin ang="10920000" scaled="0"/>
            <a:tileRect/>
          </a:gradFill>
          <a:ln w="6350">
            <a:noFill/>
          </a:ln>
        </p:spPr>
        <p:txBody>
          <a:bodyPr vert="horz" wrap="square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1C53B25D-9730-67AD-90F6-99388AB8FF3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8FDB1D5-A0C1-933A-9D51-63C7CEAFE1D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273089" y="6706186"/>
            <a:ext cx="3382336" cy="1077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indent="0" algn="r">
              <a:spcBef>
                <a:spcPts val="1500"/>
              </a:spcBef>
              <a:buFontTx/>
              <a:buNone/>
              <a:defRPr sz="700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  <a:lvl2pPr marL="270000" indent="-268288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>
                <a:latin typeface="Arial" pitchFamily="34" charset="0"/>
                <a:cs typeface="Arial" pitchFamily="34" charset="0"/>
              </a:defRPr>
            </a:lvl2pPr>
            <a:lvl3pPr marL="540000" indent="-268288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>
                <a:latin typeface="Arial" pitchFamily="34" charset="0"/>
                <a:cs typeface="Arial" pitchFamily="34" charset="0"/>
              </a:defRPr>
            </a:lvl3pPr>
            <a:lvl4pPr marL="810000" indent="-270000">
              <a:spcBef>
                <a:spcPts val="500"/>
              </a:spcBef>
              <a:buFont typeface="Arial" pitchFamily="34" charset="0"/>
              <a:buChar char="–"/>
              <a:defRPr sz="1400">
                <a:latin typeface="Arial" pitchFamily="34" charset="0"/>
                <a:cs typeface="Arial" pitchFamily="34" charset="0"/>
              </a:defRPr>
            </a:lvl4pPr>
            <a:lvl5pPr marL="810000" indent="0">
              <a:spcBef>
                <a:spcPts val="500"/>
              </a:spcBef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en-US" noProof="0" dirty="0">
                <a:sym typeface="Segoe UI" panose="020B0502040204020203" pitchFamily="34" charset="0"/>
              </a:rPr>
              <a:t>© by FEV – all rights reserved. Confidential – no passing on to third parties   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04ED996F-0C14-594F-70F3-6F9BD52C8F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ource/Note: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BA35870-832D-68D8-C623-599C971BFD3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38508" y="840326"/>
            <a:ext cx="702000" cy="267011"/>
            <a:chOff x="5975501" y="3608175"/>
            <a:chExt cx="3050378" cy="1160231"/>
          </a:xfrm>
          <a:solidFill>
            <a:schemeClr val="bg1"/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F136D57-E608-12DD-2837-E27C19068A06}"/>
                </a:ext>
              </a:extLst>
            </p:cNvPr>
            <p:cNvSpPr/>
            <p:nvPr/>
          </p:nvSpPr>
          <p:spPr>
            <a:xfrm>
              <a:off x="7098250" y="3614987"/>
              <a:ext cx="608847" cy="620768"/>
            </a:xfrm>
            <a:custGeom>
              <a:avLst/>
              <a:gdLst>
                <a:gd name="connsiteX0" fmla="*/ 369141 w 608847"/>
                <a:gd name="connsiteY0" fmla="*/ 620769 h 620768"/>
                <a:gd name="connsiteX1" fmla="*/ 608848 w 608847"/>
                <a:gd name="connsiteY1" fmla="*/ 0 h 620768"/>
                <a:gd name="connsiteX2" fmla="*/ 485375 w 608847"/>
                <a:gd name="connsiteY2" fmla="*/ 0 h 620768"/>
                <a:gd name="connsiteX3" fmla="*/ 304424 w 608847"/>
                <a:gd name="connsiteY3" fmla="*/ 467493 h 620768"/>
                <a:gd name="connsiteX4" fmla="*/ 123473 w 608847"/>
                <a:gd name="connsiteY4" fmla="*/ 0 h 620768"/>
                <a:gd name="connsiteX5" fmla="*/ 0 w 608847"/>
                <a:gd name="connsiteY5" fmla="*/ 0 h 620768"/>
                <a:gd name="connsiteX6" fmla="*/ 240133 w 608847"/>
                <a:gd name="connsiteY6" fmla="*/ 620769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8847" h="620768">
                  <a:moveTo>
                    <a:pt x="369141" y="620769"/>
                  </a:moveTo>
                  <a:lnTo>
                    <a:pt x="608848" y="0"/>
                  </a:lnTo>
                  <a:lnTo>
                    <a:pt x="485375" y="0"/>
                  </a:lnTo>
                  <a:lnTo>
                    <a:pt x="304424" y="467493"/>
                  </a:lnTo>
                  <a:lnTo>
                    <a:pt x="123473" y="0"/>
                  </a:lnTo>
                  <a:lnTo>
                    <a:pt x="0" y="0"/>
                  </a:lnTo>
                  <a:lnTo>
                    <a:pt x="240133" y="620769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4DBDBAB-F2CA-CFD9-253E-AF5036D57BA6}"/>
                </a:ext>
              </a:extLst>
            </p:cNvPr>
            <p:cNvSpPr/>
            <p:nvPr/>
          </p:nvSpPr>
          <p:spPr>
            <a:xfrm>
              <a:off x="5975501" y="3614987"/>
              <a:ext cx="505386" cy="620768"/>
            </a:xfrm>
            <a:custGeom>
              <a:avLst/>
              <a:gdLst>
                <a:gd name="connsiteX0" fmla="*/ 505386 w 505386"/>
                <a:gd name="connsiteY0" fmla="*/ 114957 h 620768"/>
                <a:gd name="connsiteX1" fmla="*/ 505386 w 505386"/>
                <a:gd name="connsiteY1" fmla="*/ 0 h 620768"/>
                <a:gd name="connsiteX2" fmla="*/ 144335 w 505386"/>
                <a:gd name="connsiteY2" fmla="*/ 0 h 620768"/>
                <a:gd name="connsiteX3" fmla="*/ 0 w 505386"/>
                <a:gd name="connsiteY3" fmla="*/ 144335 h 620768"/>
                <a:gd name="connsiteX4" fmla="*/ 0 w 505386"/>
                <a:gd name="connsiteY4" fmla="*/ 620769 h 620768"/>
                <a:gd name="connsiteX5" fmla="*/ 115809 w 505386"/>
                <a:gd name="connsiteY5" fmla="*/ 620769 h 620768"/>
                <a:gd name="connsiteX6" fmla="*/ 115809 w 505386"/>
                <a:gd name="connsiteY6" fmla="*/ 389577 h 620768"/>
                <a:gd name="connsiteX7" fmla="*/ 389577 w 505386"/>
                <a:gd name="connsiteY7" fmla="*/ 389577 h 620768"/>
                <a:gd name="connsiteX8" fmla="*/ 389577 w 505386"/>
                <a:gd name="connsiteY8" fmla="*/ 288670 h 620768"/>
                <a:gd name="connsiteX9" fmla="*/ 115383 w 505386"/>
                <a:gd name="connsiteY9" fmla="*/ 288670 h 620768"/>
                <a:gd name="connsiteX10" fmla="*/ 115383 w 505386"/>
                <a:gd name="connsiteY10" fmla="*/ 144335 h 620768"/>
                <a:gd name="connsiteX11" fmla="*/ 143909 w 505386"/>
                <a:gd name="connsiteY11" fmla="*/ 115809 h 620768"/>
                <a:gd name="connsiteX12" fmla="*/ 504960 w 505386"/>
                <a:gd name="connsiteY12" fmla="*/ 115809 h 620768"/>
                <a:gd name="connsiteX13" fmla="*/ 504960 w 505386"/>
                <a:gd name="connsiteY13" fmla="*/ 114957 h 620768"/>
                <a:gd name="connsiteX14" fmla="*/ 505386 w 505386"/>
                <a:gd name="connsiteY14" fmla="*/ 114957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5386" h="620768">
                  <a:moveTo>
                    <a:pt x="505386" y="114957"/>
                  </a:moveTo>
                  <a:lnTo>
                    <a:pt x="505386" y="0"/>
                  </a:lnTo>
                  <a:lnTo>
                    <a:pt x="144335" y="0"/>
                  </a:lnTo>
                  <a:cubicBezTo>
                    <a:pt x="64717" y="0"/>
                    <a:pt x="0" y="64717"/>
                    <a:pt x="0" y="144335"/>
                  </a:cubicBezTo>
                  <a:lnTo>
                    <a:pt x="0" y="620769"/>
                  </a:lnTo>
                  <a:lnTo>
                    <a:pt x="115809" y="620769"/>
                  </a:lnTo>
                  <a:lnTo>
                    <a:pt x="115809" y="389577"/>
                  </a:lnTo>
                  <a:lnTo>
                    <a:pt x="389577" y="389577"/>
                  </a:lnTo>
                  <a:lnTo>
                    <a:pt x="389577" y="288670"/>
                  </a:lnTo>
                  <a:lnTo>
                    <a:pt x="115383" y="288670"/>
                  </a:lnTo>
                  <a:lnTo>
                    <a:pt x="115383" y="144335"/>
                  </a:lnTo>
                  <a:cubicBezTo>
                    <a:pt x="115383" y="128582"/>
                    <a:pt x="128156" y="115809"/>
                    <a:pt x="143909" y="115809"/>
                  </a:cubicBezTo>
                  <a:lnTo>
                    <a:pt x="504960" y="115809"/>
                  </a:lnTo>
                  <a:lnTo>
                    <a:pt x="504960" y="114957"/>
                  </a:lnTo>
                  <a:lnTo>
                    <a:pt x="505386" y="114957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4639F4E-0B2D-CB07-681E-9B33908B2C91}"/>
                </a:ext>
              </a:extLst>
            </p:cNvPr>
            <p:cNvSpPr/>
            <p:nvPr/>
          </p:nvSpPr>
          <p:spPr>
            <a:xfrm>
              <a:off x="6487699" y="3608175"/>
              <a:ext cx="625452" cy="635245"/>
            </a:xfrm>
            <a:custGeom>
              <a:avLst/>
              <a:gdLst>
                <a:gd name="connsiteX0" fmla="*/ 503257 w 625452"/>
                <a:gd name="connsiteY0" fmla="*/ 395964 h 635245"/>
                <a:gd name="connsiteX1" fmla="*/ 317197 w 625452"/>
                <a:gd name="connsiteY1" fmla="*/ 518585 h 635245"/>
                <a:gd name="connsiteX2" fmla="*/ 172862 w 625452"/>
                <a:gd name="connsiteY2" fmla="*/ 458126 h 635245"/>
                <a:gd name="connsiteX3" fmla="*/ 512198 w 625452"/>
                <a:gd name="connsiteY3" fmla="*/ 262699 h 635245"/>
                <a:gd name="connsiteX4" fmla="*/ 614383 w 625452"/>
                <a:gd name="connsiteY4" fmla="*/ 203943 h 635245"/>
                <a:gd name="connsiteX5" fmla="*/ 563716 w 625452"/>
                <a:gd name="connsiteY5" fmla="*/ 116660 h 635245"/>
                <a:gd name="connsiteX6" fmla="*/ 317623 w 625452"/>
                <a:gd name="connsiteY6" fmla="*/ 0 h 635245"/>
                <a:gd name="connsiteX7" fmla="*/ 0 w 625452"/>
                <a:gd name="connsiteY7" fmla="*/ 317623 h 635245"/>
                <a:gd name="connsiteX8" fmla="*/ 20863 w 625452"/>
                <a:gd name="connsiteY8" fmla="*/ 430877 h 635245"/>
                <a:gd name="connsiteX9" fmla="*/ 71529 w 625452"/>
                <a:gd name="connsiteY9" fmla="*/ 518159 h 635245"/>
                <a:gd name="connsiteX10" fmla="*/ 317623 w 625452"/>
                <a:gd name="connsiteY10" fmla="*/ 635245 h 635245"/>
                <a:gd name="connsiteX11" fmla="*/ 625453 w 625452"/>
                <a:gd name="connsiteY11" fmla="*/ 397241 h 635245"/>
                <a:gd name="connsiteX12" fmla="*/ 503257 w 625452"/>
                <a:gd name="connsiteY12" fmla="*/ 395964 h 635245"/>
                <a:gd name="connsiteX13" fmla="*/ 503257 w 625452"/>
                <a:gd name="connsiteY13" fmla="*/ 395964 h 635245"/>
                <a:gd name="connsiteX14" fmla="*/ 115383 w 625452"/>
                <a:gd name="connsiteY14" fmla="*/ 316771 h 635245"/>
                <a:gd name="connsiteX15" fmla="*/ 317623 w 625452"/>
                <a:gd name="connsiteY15" fmla="*/ 114531 h 635245"/>
                <a:gd name="connsiteX16" fmla="*/ 461958 w 625452"/>
                <a:gd name="connsiteY16" fmla="*/ 174990 h 635245"/>
                <a:gd name="connsiteX17" fmla="*/ 123047 w 625452"/>
                <a:gd name="connsiteY17" fmla="*/ 370844 h 635245"/>
                <a:gd name="connsiteX18" fmla="*/ 115383 w 625452"/>
                <a:gd name="connsiteY18" fmla="*/ 316771 h 63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5452" h="635245">
                  <a:moveTo>
                    <a:pt x="503257" y="395964"/>
                  </a:moveTo>
                  <a:cubicBezTo>
                    <a:pt x="472602" y="467918"/>
                    <a:pt x="401073" y="518585"/>
                    <a:pt x="317197" y="518585"/>
                  </a:cubicBezTo>
                  <a:cubicBezTo>
                    <a:pt x="260570" y="518585"/>
                    <a:pt x="209478" y="495593"/>
                    <a:pt x="172862" y="458126"/>
                  </a:cubicBezTo>
                  <a:lnTo>
                    <a:pt x="512198" y="262699"/>
                  </a:lnTo>
                  <a:lnTo>
                    <a:pt x="614383" y="203943"/>
                  </a:lnTo>
                  <a:cubicBezTo>
                    <a:pt x="602035" y="172010"/>
                    <a:pt x="585005" y="142632"/>
                    <a:pt x="563716" y="116660"/>
                  </a:cubicBezTo>
                  <a:cubicBezTo>
                    <a:pt x="505812" y="45131"/>
                    <a:pt x="417252" y="0"/>
                    <a:pt x="317623" y="0"/>
                  </a:cubicBezTo>
                  <a:cubicBezTo>
                    <a:pt x="142206" y="0"/>
                    <a:pt x="0" y="142206"/>
                    <a:pt x="0" y="317623"/>
                  </a:cubicBezTo>
                  <a:cubicBezTo>
                    <a:pt x="0" y="357219"/>
                    <a:pt x="7238" y="395538"/>
                    <a:pt x="20863" y="430877"/>
                  </a:cubicBezTo>
                  <a:cubicBezTo>
                    <a:pt x="33210" y="462809"/>
                    <a:pt x="50241" y="492187"/>
                    <a:pt x="71529" y="518159"/>
                  </a:cubicBezTo>
                  <a:cubicBezTo>
                    <a:pt x="129859" y="589688"/>
                    <a:pt x="218419" y="635245"/>
                    <a:pt x="317623" y="635245"/>
                  </a:cubicBezTo>
                  <a:cubicBezTo>
                    <a:pt x="465790" y="635245"/>
                    <a:pt x="589688" y="534338"/>
                    <a:pt x="625453" y="397241"/>
                  </a:cubicBezTo>
                  <a:lnTo>
                    <a:pt x="503257" y="395964"/>
                  </a:lnTo>
                  <a:lnTo>
                    <a:pt x="503257" y="395964"/>
                  </a:lnTo>
                  <a:close/>
                  <a:moveTo>
                    <a:pt x="115383" y="316771"/>
                  </a:moveTo>
                  <a:cubicBezTo>
                    <a:pt x="115383" y="205220"/>
                    <a:pt x="206072" y="114531"/>
                    <a:pt x="317623" y="114531"/>
                  </a:cubicBezTo>
                  <a:cubicBezTo>
                    <a:pt x="374250" y="114531"/>
                    <a:pt x="425342" y="137523"/>
                    <a:pt x="461958" y="174990"/>
                  </a:cubicBezTo>
                  <a:lnTo>
                    <a:pt x="123047" y="370844"/>
                  </a:lnTo>
                  <a:cubicBezTo>
                    <a:pt x="118363" y="353813"/>
                    <a:pt x="115383" y="335931"/>
                    <a:pt x="115383" y="316771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F568F1D-3F3A-B42D-8CCA-C50F073F54A7}"/>
                </a:ext>
              </a:extLst>
            </p:cNvPr>
            <p:cNvSpPr/>
            <p:nvPr/>
          </p:nvSpPr>
          <p:spPr>
            <a:xfrm>
              <a:off x="8659524" y="4396917"/>
              <a:ext cx="366355" cy="371489"/>
            </a:xfrm>
            <a:custGeom>
              <a:avLst/>
              <a:gdLst>
                <a:gd name="connsiteX0" fmla="*/ 242704 w 366355"/>
                <a:gd name="connsiteY0" fmla="*/ 64921 h 371489"/>
                <a:gd name="connsiteX1" fmla="*/ 180542 w 366355"/>
                <a:gd name="connsiteY1" fmla="*/ 44059 h 371489"/>
                <a:gd name="connsiteX2" fmla="*/ 114122 w 366355"/>
                <a:gd name="connsiteY2" fmla="*/ 61941 h 371489"/>
                <a:gd name="connsiteX3" fmla="*/ 63881 w 366355"/>
                <a:gd name="connsiteY3" fmla="*/ 111330 h 371489"/>
                <a:gd name="connsiteX4" fmla="*/ 47702 w 366355"/>
                <a:gd name="connsiteY4" fmla="*/ 178601 h 371489"/>
                <a:gd name="connsiteX5" fmla="*/ 70268 w 366355"/>
                <a:gd name="connsiteY5" fmla="*/ 252259 h 371489"/>
                <a:gd name="connsiteX6" fmla="*/ 122637 w 366355"/>
                <a:gd name="connsiteY6" fmla="*/ 308460 h 371489"/>
                <a:gd name="connsiteX7" fmla="*/ 188631 w 366355"/>
                <a:gd name="connsiteY7" fmla="*/ 327620 h 371489"/>
                <a:gd name="connsiteX8" fmla="*/ 256328 w 366355"/>
                <a:gd name="connsiteY8" fmla="*/ 308460 h 371489"/>
                <a:gd name="connsiteX9" fmla="*/ 315936 w 366355"/>
                <a:gd name="connsiteY9" fmla="*/ 237357 h 371489"/>
                <a:gd name="connsiteX10" fmla="*/ 307420 w 366355"/>
                <a:gd name="connsiteY10" fmla="*/ 143262 h 371489"/>
                <a:gd name="connsiteX11" fmla="*/ 182245 w 366355"/>
                <a:gd name="connsiteY11" fmla="*/ 215643 h 371489"/>
                <a:gd name="connsiteX12" fmla="*/ 163085 w 366355"/>
                <a:gd name="connsiteY12" fmla="*/ 182433 h 371489"/>
                <a:gd name="connsiteX13" fmla="*/ 331689 w 366355"/>
                <a:gd name="connsiteY13" fmla="*/ 84932 h 371489"/>
                <a:gd name="connsiteX14" fmla="*/ 349571 w 366355"/>
                <a:gd name="connsiteY14" fmla="*/ 116439 h 371489"/>
                <a:gd name="connsiteX15" fmla="*/ 366176 w 366355"/>
                <a:gd name="connsiteY15" fmla="*/ 201167 h 371489"/>
                <a:gd name="connsiteX16" fmla="*/ 341056 w 366355"/>
                <a:gd name="connsiteY16" fmla="*/ 283766 h 371489"/>
                <a:gd name="connsiteX17" fmla="*/ 276765 w 366355"/>
                <a:gd name="connsiteY17" fmla="*/ 345928 h 371489"/>
                <a:gd name="connsiteX18" fmla="*/ 185225 w 366355"/>
                <a:gd name="connsiteY18" fmla="*/ 371474 h 371489"/>
                <a:gd name="connsiteX19" fmla="*/ 95388 w 366355"/>
                <a:gd name="connsiteY19" fmla="*/ 347631 h 371489"/>
                <a:gd name="connsiteX20" fmla="*/ 26840 w 366355"/>
                <a:gd name="connsiteY20" fmla="*/ 277379 h 371489"/>
                <a:gd name="connsiteX21" fmla="*/ 16 w 366355"/>
                <a:gd name="connsiteY21" fmla="*/ 182859 h 371489"/>
                <a:gd name="connsiteX22" fmla="*/ 23859 w 366355"/>
                <a:gd name="connsiteY22" fmla="*/ 93022 h 371489"/>
                <a:gd name="connsiteX23" fmla="*/ 91556 w 366355"/>
                <a:gd name="connsiteY23" fmla="*/ 26602 h 371489"/>
                <a:gd name="connsiteX24" fmla="*/ 194166 w 366355"/>
                <a:gd name="connsiteY24" fmla="*/ 205 h 371489"/>
                <a:gd name="connsiteX25" fmla="*/ 290390 w 366355"/>
                <a:gd name="connsiteY25" fmla="*/ 37672 h 371489"/>
                <a:gd name="connsiteX26" fmla="*/ 242704 w 366355"/>
                <a:gd name="connsiteY26" fmla="*/ 64921 h 371489"/>
                <a:gd name="connsiteX27" fmla="*/ 242704 w 366355"/>
                <a:gd name="connsiteY27" fmla="*/ 64921 h 37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6355" h="371489">
                  <a:moveTo>
                    <a:pt x="242704" y="64921"/>
                  </a:moveTo>
                  <a:cubicBezTo>
                    <a:pt x="223544" y="51722"/>
                    <a:pt x="202682" y="44910"/>
                    <a:pt x="180542" y="44059"/>
                  </a:cubicBezTo>
                  <a:cubicBezTo>
                    <a:pt x="158402" y="43633"/>
                    <a:pt x="135836" y="49594"/>
                    <a:pt x="114122" y="61941"/>
                  </a:cubicBezTo>
                  <a:cubicBezTo>
                    <a:pt x="92408" y="74288"/>
                    <a:pt x="75377" y="91319"/>
                    <a:pt x="63881" y="111330"/>
                  </a:cubicBezTo>
                  <a:cubicBezTo>
                    <a:pt x="52386" y="131341"/>
                    <a:pt x="46425" y="153907"/>
                    <a:pt x="47702" y="178601"/>
                  </a:cubicBezTo>
                  <a:cubicBezTo>
                    <a:pt x="48554" y="203296"/>
                    <a:pt x="56217" y="227564"/>
                    <a:pt x="70268" y="252259"/>
                  </a:cubicBezTo>
                  <a:cubicBezTo>
                    <a:pt x="84318" y="276953"/>
                    <a:pt x="101775" y="295687"/>
                    <a:pt x="122637" y="308460"/>
                  </a:cubicBezTo>
                  <a:cubicBezTo>
                    <a:pt x="143500" y="321233"/>
                    <a:pt x="165214" y="327620"/>
                    <a:pt x="188631" y="327620"/>
                  </a:cubicBezTo>
                  <a:cubicBezTo>
                    <a:pt x="212048" y="327620"/>
                    <a:pt x="234614" y="321233"/>
                    <a:pt x="256328" y="308460"/>
                  </a:cubicBezTo>
                  <a:cubicBezTo>
                    <a:pt x="286983" y="290578"/>
                    <a:pt x="306569" y="267161"/>
                    <a:pt x="315936" y="237357"/>
                  </a:cubicBezTo>
                  <a:cubicBezTo>
                    <a:pt x="325303" y="207979"/>
                    <a:pt x="322322" y="176047"/>
                    <a:pt x="307420" y="143262"/>
                  </a:cubicBezTo>
                  <a:lnTo>
                    <a:pt x="182245" y="215643"/>
                  </a:lnTo>
                  <a:lnTo>
                    <a:pt x="163085" y="182433"/>
                  </a:lnTo>
                  <a:lnTo>
                    <a:pt x="331689" y="84932"/>
                  </a:lnTo>
                  <a:lnTo>
                    <a:pt x="349571" y="116439"/>
                  </a:lnTo>
                  <a:cubicBezTo>
                    <a:pt x="361918" y="143688"/>
                    <a:pt x="367454" y="172215"/>
                    <a:pt x="366176" y="201167"/>
                  </a:cubicBezTo>
                  <a:cubicBezTo>
                    <a:pt x="364899" y="230545"/>
                    <a:pt x="356384" y="258220"/>
                    <a:pt x="341056" y="283766"/>
                  </a:cubicBezTo>
                  <a:cubicBezTo>
                    <a:pt x="325728" y="309312"/>
                    <a:pt x="304014" y="330174"/>
                    <a:pt x="276765" y="345928"/>
                  </a:cubicBezTo>
                  <a:cubicBezTo>
                    <a:pt x="247387" y="362533"/>
                    <a:pt x="217157" y="371474"/>
                    <a:pt x="185225" y="371474"/>
                  </a:cubicBezTo>
                  <a:cubicBezTo>
                    <a:pt x="153292" y="371900"/>
                    <a:pt x="123489" y="363810"/>
                    <a:pt x="95388" y="347631"/>
                  </a:cubicBezTo>
                  <a:cubicBezTo>
                    <a:pt x="67287" y="331452"/>
                    <a:pt x="44722" y="308034"/>
                    <a:pt x="26840" y="277379"/>
                  </a:cubicBezTo>
                  <a:cubicBezTo>
                    <a:pt x="8957" y="246724"/>
                    <a:pt x="442" y="215217"/>
                    <a:pt x="16" y="182859"/>
                  </a:cubicBezTo>
                  <a:cubicBezTo>
                    <a:pt x="-410" y="150500"/>
                    <a:pt x="7680" y="120271"/>
                    <a:pt x="23859" y="93022"/>
                  </a:cubicBezTo>
                  <a:cubicBezTo>
                    <a:pt x="40038" y="65773"/>
                    <a:pt x="62604" y="43207"/>
                    <a:pt x="91556" y="26602"/>
                  </a:cubicBezTo>
                  <a:cubicBezTo>
                    <a:pt x="124766" y="7443"/>
                    <a:pt x="158828" y="-1499"/>
                    <a:pt x="194166" y="205"/>
                  </a:cubicBezTo>
                  <a:cubicBezTo>
                    <a:pt x="229505" y="1908"/>
                    <a:pt x="261437" y="14681"/>
                    <a:pt x="290390" y="37672"/>
                  </a:cubicBezTo>
                  <a:lnTo>
                    <a:pt x="242704" y="64921"/>
                  </a:lnTo>
                  <a:lnTo>
                    <a:pt x="242704" y="64921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FACD886-4C35-1EBC-DDD7-2BF298D1F2A6}"/>
                </a:ext>
              </a:extLst>
            </p:cNvPr>
            <p:cNvSpPr/>
            <p:nvPr/>
          </p:nvSpPr>
          <p:spPr>
            <a:xfrm>
              <a:off x="6794252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9 w 284838"/>
                <a:gd name="connsiteY8" fmla="*/ 362754 h 362753"/>
                <a:gd name="connsiteX9" fmla="*/ 284839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9" y="362754"/>
                  </a:lnTo>
                  <a:lnTo>
                    <a:pt x="284839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9179564-D2CC-54B5-B114-59827B0378AA}"/>
                </a:ext>
              </a:extLst>
            </p:cNvPr>
            <p:cNvSpPr/>
            <p:nvPr/>
          </p:nvSpPr>
          <p:spPr>
            <a:xfrm>
              <a:off x="7762873" y="4402657"/>
              <a:ext cx="173713" cy="362328"/>
            </a:xfrm>
            <a:custGeom>
              <a:avLst/>
              <a:gdLst>
                <a:gd name="connsiteX0" fmla="*/ 0 w 173713"/>
                <a:gd name="connsiteY0" fmla="*/ 0 h 362328"/>
                <a:gd name="connsiteX1" fmla="*/ 0 w 173713"/>
                <a:gd name="connsiteY1" fmla="*/ 362328 h 362328"/>
                <a:gd name="connsiteX2" fmla="*/ 173713 w 173713"/>
                <a:gd name="connsiteY2" fmla="*/ 362328 h 362328"/>
                <a:gd name="connsiteX3" fmla="*/ 173713 w 173713"/>
                <a:gd name="connsiteY3" fmla="*/ 323583 h 362328"/>
                <a:gd name="connsiteX4" fmla="*/ 47260 w 173713"/>
                <a:gd name="connsiteY4" fmla="*/ 323583 h 362328"/>
                <a:gd name="connsiteX5" fmla="*/ 47260 w 173713"/>
                <a:gd name="connsiteY5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13" h="362328">
                  <a:moveTo>
                    <a:pt x="0" y="0"/>
                  </a:moveTo>
                  <a:lnTo>
                    <a:pt x="0" y="362328"/>
                  </a:lnTo>
                  <a:lnTo>
                    <a:pt x="173713" y="362328"/>
                  </a:lnTo>
                  <a:lnTo>
                    <a:pt x="173713" y="323583"/>
                  </a:lnTo>
                  <a:lnTo>
                    <a:pt x="47260" y="323583"/>
                  </a:lnTo>
                  <a:lnTo>
                    <a:pt x="47260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C288A8E-BDDC-0169-5A7C-AB3D82DE6D1C}"/>
                </a:ext>
              </a:extLst>
            </p:cNvPr>
            <p:cNvSpPr/>
            <p:nvPr/>
          </p:nvSpPr>
          <p:spPr>
            <a:xfrm>
              <a:off x="7909337" y="4402657"/>
              <a:ext cx="245667" cy="362328"/>
            </a:xfrm>
            <a:custGeom>
              <a:avLst/>
              <a:gdLst>
                <a:gd name="connsiteX0" fmla="*/ 0 w 245667"/>
                <a:gd name="connsiteY0" fmla="*/ 0 h 362328"/>
                <a:gd name="connsiteX1" fmla="*/ 0 w 245667"/>
                <a:gd name="connsiteY1" fmla="*/ 38745 h 362328"/>
                <a:gd name="connsiteX2" fmla="*/ 99630 w 245667"/>
                <a:gd name="connsiteY2" fmla="*/ 38745 h 362328"/>
                <a:gd name="connsiteX3" fmla="*/ 99630 w 245667"/>
                <a:gd name="connsiteY3" fmla="*/ 362328 h 362328"/>
                <a:gd name="connsiteX4" fmla="*/ 146890 w 245667"/>
                <a:gd name="connsiteY4" fmla="*/ 362328 h 362328"/>
                <a:gd name="connsiteX5" fmla="*/ 146890 w 245667"/>
                <a:gd name="connsiteY5" fmla="*/ 38745 h 362328"/>
                <a:gd name="connsiteX6" fmla="*/ 245668 w 245667"/>
                <a:gd name="connsiteY6" fmla="*/ 38745 h 362328"/>
                <a:gd name="connsiteX7" fmla="*/ 245668 w 245667"/>
                <a:gd name="connsiteY7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667" h="362328">
                  <a:moveTo>
                    <a:pt x="0" y="0"/>
                  </a:moveTo>
                  <a:lnTo>
                    <a:pt x="0" y="38745"/>
                  </a:lnTo>
                  <a:lnTo>
                    <a:pt x="99630" y="38745"/>
                  </a:lnTo>
                  <a:lnTo>
                    <a:pt x="99630" y="362328"/>
                  </a:lnTo>
                  <a:lnTo>
                    <a:pt x="146890" y="362328"/>
                  </a:lnTo>
                  <a:lnTo>
                    <a:pt x="146890" y="38745"/>
                  </a:lnTo>
                  <a:lnTo>
                    <a:pt x="245668" y="38745"/>
                  </a:lnTo>
                  <a:lnTo>
                    <a:pt x="245668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96140C6-4D86-EF52-2F56-91A83AA8ECBA}"/>
                </a:ext>
              </a:extLst>
            </p:cNvPr>
            <p:cNvSpPr/>
            <p:nvPr/>
          </p:nvSpPr>
          <p:spPr>
            <a:xfrm>
              <a:off x="8212910" y="4402657"/>
              <a:ext cx="47260" cy="362328"/>
            </a:xfrm>
            <a:custGeom>
              <a:avLst/>
              <a:gdLst>
                <a:gd name="connsiteX0" fmla="*/ 0 w 47260"/>
                <a:gd name="connsiteY0" fmla="*/ 0 h 362328"/>
                <a:gd name="connsiteX1" fmla="*/ 47260 w 47260"/>
                <a:gd name="connsiteY1" fmla="*/ 0 h 362328"/>
                <a:gd name="connsiteX2" fmla="*/ 47260 w 47260"/>
                <a:gd name="connsiteY2" fmla="*/ 362328 h 362328"/>
                <a:gd name="connsiteX3" fmla="*/ 0 w 47260"/>
                <a:gd name="connsiteY3" fmla="*/ 362328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260" h="362328">
                  <a:moveTo>
                    <a:pt x="0" y="0"/>
                  </a:moveTo>
                  <a:lnTo>
                    <a:pt x="47260" y="0"/>
                  </a:lnTo>
                  <a:lnTo>
                    <a:pt x="47260" y="362328"/>
                  </a:lnTo>
                  <a:lnTo>
                    <a:pt x="0" y="362328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85C3BE0-F84F-97F3-6A8A-C8D9A2DA5AFE}"/>
                </a:ext>
              </a:extLst>
            </p:cNvPr>
            <p:cNvSpPr/>
            <p:nvPr/>
          </p:nvSpPr>
          <p:spPr>
            <a:xfrm>
              <a:off x="7432478" y="4402657"/>
              <a:ext cx="272065" cy="365734"/>
            </a:xfrm>
            <a:custGeom>
              <a:avLst/>
              <a:gdLst>
                <a:gd name="connsiteX0" fmla="*/ 46834 w 272065"/>
                <a:gd name="connsiteY0" fmla="*/ 0 h 365734"/>
                <a:gd name="connsiteX1" fmla="*/ 46834 w 272065"/>
                <a:gd name="connsiteY1" fmla="*/ 229063 h 365734"/>
                <a:gd name="connsiteX2" fmla="*/ 70252 w 272065"/>
                <a:gd name="connsiteY2" fmla="*/ 300592 h 365734"/>
                <a:gd name="connsiteX3" fmla="*/ 135820 w 272065"/>
                <a:gd name="connsiteY3" fmla="*/ 324009 h 365734"/>
                <a:gd name="connsiteX4" fmla="*/ 201388 w 272065"/>
                <a:gd name="connsiteY4" fmla="*/ 300592 h 365734"/>
                <a:gd name="connsiteX5" fmla="*/ 224805 w 272065"/>
                <a:gd name="connsiteY5" fmla="*/ 229063 h 365734"/>
                <a:gd name="connsiteX6" fmla="*/ 224805 w 272065"/>
                <a:gd name="connsiteY6" fmla="*/ 0 h 365734"/>
                <a:gd name="connsiteX7" fmla="*/ 272066 w 272065"/>
                <a:gd name="connsiteY7" fmla="*/ 0 h 365734"/>
                <a:gd name="connsiteX8" fmla="*/ 272066 w 272065"/>
                <a:gd name="connsiteY8" fmla="*/ 228637 h 365734"/>
                <a:gd name="connsiteX9" fmla="*/ 254183 w 272065"/>
                <a:gd name="connsiteY9" fmla="*/ 304850 h 365734"/>
                <a:gd name="connsiteX10" fmla="*/ 205220 w 272065"/>
                <a:gd name="connsiteY10" fmla="*/ 350832 h 365734"/>
                <a:gd name="connsiteX11" fmla="*/ 135820 w 272065"/>
                <a:gd name="connsiteY11" fmla="*/ 365734 h 365734"/>
                <a:gd name="connsiteX12" fmla="*/ 66420 w 272065"/>
                <a:gd name="connsiteY12" fmla="*/ 350832 h 365734"/>
                <a:gd name="connsiteX13" fmla="*/ 17882 w 272065"/>
                <a:gd name="connsiteY13" fmla="*/ 304850 h 365734"/>
                <a:gd name="connsiteX14" fmla="*/ 0 w 272065"/>
                <a:gd name="connsiteY14" fmla="*/ 228637 h 365734"/>
                <a:gd name="connsiteX15" fmla="*/ 0 w 272065"/>
                <a:gd name="connsiteY15" fmla="*/ 0 h 365734"/>
                <a:gd name="connsiteX16" fmla="*/ 46834 w 272065"/>
                <a:gd name="connsiteY16" fmla="*/ 0 h 365734"/>
                <a:gd name="connsiteX17" fmla="*/ 46834 w 272065"/>
                <a:gd name="connsiteY17" fmla="*/ 0 h 36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2065" h="365734">
                  <a:moveTo>
                    <a:pt x="46834" y="0"/>
                  </a:moveTo>
                  <a:lnTo>
                    <a:pt x="46834" y="229063"/>
                  </a:lnTo>
                  <a:cubicBezTo>
                    <a:pt x="46834" y="261421"/>
                    <a:pt x="54924" y="285264"/>
                    <a:pt x="70252" y="300592"/>
                  </a:cubicBezTo>
                  <a:cubicBezTo>
                    <a:pt x="86005" y="316345"/>
                    <a:pt x="107719" y="324009"/>
                    <a:pt x="135820" y="324009"/>
                  </a:cubicBezTo>
                  <a:cubicBezTo>
                    <a:pt x="163921" y="324009"/>
                    <a:pt x="185209" y="316345"/>
                    <a:pt x="201388" y="300592"/>
                  </a:cubicBezTo>
                  <a:cubicBezTo>
                    <a:pt x="217141" y="284838"/>
                    <a:pt x="224805" y="260995"/>
                    <a:pt x="224805" y="229063"/>
                  </a:cubicBezTo>
                  <a:lnTo>
                    <a:pt x="224805" y="0"/>
                  </a:lnTo>
                  <a:lnTo>
                    <a:pt x="272066" y="0"/>
                  </a:lnTo>
                  <a:lnTo>
                    <a:pt x="272066" y="228637"/>
                  </a:lnTo>
                  <a:cubicBezTo>
                    <a:pt x="272066" y="258867"/>
                    <a:pt x="266105" y="284413"/>
                    <a:pt x="254183" y="304850"/>
                  </a:cubicBezTo>
                  <a:cubicBezTo>
                    <a:pt x="241836" y="325286"/>
                    <a:pt x="225657" y="340614"/>
                    <a:pt x="205220" y="350832"/>
                  </a:cubicBezTo>
                  <a:cubicBezTo>
                    <a:pt x="184783" y="361051"/>
                    <a:pt x="161366" y="365734"/>
                    <a:pt x="135820" y="365734"/>
                  </a:cubicBezTo>
                  <a:cubicBezTo>
                    <a:pt x="110274" y="365734"/>
                    <a:pt x="87282" y="361051"/>
                    <a:pt x="66420" y="350832"/>
                  </a:cubicBezTo>
                  <a:cubicBezTo>
                    <a:pt x="45983" y="340614"/>
                    <a:pt x="29804" y="325286"/>
                    <a:pt x="17882" y="304850"/>
                  </a:cubicBezTo>
                  <a:cubicBezTo>
                    <a:pt x="5961" y="284413"/>
                    <a:pt x="0" y="258867"/>
                    <a:pt x="0" y="228637"/>
                  </a:cubicBezTo>
                  <a:lnTo>
                    <a:pt x="0" y="0"/>
                  </a:lnTo>
                  <a:lnTo>
                    <a:pt x="46834" y="0"/>
                  </a:lnTo>
                  <a:lnTo>
                    <a:pt x="46834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BC0B56F-D649-3566-ED19-13881272B5A9}"/>
                </a:ext>
              </a:extLst>
            </p:cNvPr>
            <p:cNvSpPr/>
            <p:nvPr/>
          </p:nvSpPr>
          <p:spPr>
            <a:xfrm>
              <a:off x="7136995" y="4398399"/>
              <a:ext cx="245667" cy="369595"/>
            </a:xfrm>
            <a:custGeom>
              <a:avLst/>
              <a:gdLst>
                <a:gd name="connsiteX0" fmla="*/ 61311 w 245667"/>
                <a:gd name="connsiteY0" fmla="*/ 357645 h 369595"/>
                <a:gd name="connsiteX1" fmla="*/ 16605 w 245667"/>
                <a:gd name="connsiteY1" fmla="*/ 322306 h 369595"/>
                <a:gd name="connsiteX2" fmla="*/ 0 w 245667"/>
                <a:gd name="connsiteY2" fmla="*/ 269937 h 369595"/>
                <a:gd name="connsiteX3" fmla="*/ 50241 w 245667"/>
                <a:gd name="connsiteY3" fmla="*/ 269937 h 369595"/>
                <a:gd name="connsiteX4" fmla="*/ 71103 w 245667"/>
                <a:gd name="connsiteY4" fmla="*/ 312513 h 369595"/>
                <a:gd name="connsiteX5" fmla="*/ 124750 w 245667"/>
                <a:gd name="connsiteY5" fmla="*/ 329970 h 369595"/>
                <a:gd name="connsiteX6" fmla="*/ 177971 w 245667"/>
                <a:gd name="connsiteY6" fmla="*/ 312939 h 369595"/>
                <a:gd name="connsiteX7" fmla="*/ 197556 w 245667"/>
                <a:gd name="connsiteY7" fmla="*/ 269511 h 369595"/>
                <a:gd name="connsiteX8" fmla="*/ 186061 w 245667"/>
                <a:gd name="connsiteY8" fmla="*/ 235875 h 369595"/>
                <a:gd name="connsiteX9" fmla="*/ 157534 w 245667"/>
                <a:gd name="connsiteY9" fmla="*/ 216290 h 369595"/>
                <a:gd name="connsiteX10" fmla="*/ 111125 w 245667"/>
                <a:gd name="connsiteY10" fmla="*/ 201814 h 369595"/>
                <a:gd name="connsiteX11" fmla="*/ 53647 w 245667"/>
                <a:gd name="connsiteY11" fmla="*/ 183080 h 369595"/>
                <a:gd name="connsiteX12" fmla="*/ 17031 w 245667"/>
                <a:gd name="connsiteY12" fmla="*/ 153702 h 369595"/>
                <a:gd name="connsiteX13" fmla="*/ 1703 w 245667"/>
                <a:gd name="connsiteY13" fmla="*/ 100055 h 369595"/>
                <a:gd name="connsiteX14" fmla="*/ 16605 w 245667"/>
                <a:gd name="connsiteY14" fmla="*/ 47686 h 369595"/>
                <a:gd name="connsiteX15" fmla="*/ 59182 w 245667"/>
                <a:gd name="connsiteY15" fmla="*/ 12347 h 369595"/>
                <a:gd name="connsiteX16" fmla="*/ 121770 w 245667"/>
                <a:gd name="connsiteY16" fmla="*/ 0 h 369595"/>
                <a:gd name="connsiteX17" fmla="*/ 205220 w 245667"/>
                <a:gd name="connsiteY17" fmla="*/ 25546 h 369595"/>
                <a:gd name="connsiteX18" fmla="*/ 241836 w 245667"/>
                <a:gd name="connsiteY18" fmla="*/ 92817 h 369595"/>
                <a:gd name="connsiteX19" fmla="*/ 189892 w 245667"/>
                <a:gd name="connsiteY19" fmla="*/ 92817 h 369595"/>
                <a:gd name="connsiteX20" fmla="*/ 168178 w 245667"/>
                <a:gd name="connsiteY20" fmla="*/ 56201 h 369595"/>
                <a:gd name="connsiteX21" fmla="*/ 117512 w 245667"/>
                <a:gd name="connsiteY21" fmla="*/ 40022 h 369595"/>
                <a:gd name="connsiteX22" fmla="*/ 68974 w 245667"/>
                <a:gd name="connsiteY22" fmla="*/ 55350 h 369595"/>
                <a:gd name="connsiteX23" fmla="*/ 50241 w 245667"/>
                <a:gd name="connsiteY23" fmla="*/ 97927 h 369595"/>
                <a:gd name="connsiteX24" fmla="*/ 61311 w 245667"/>
                <a:gd name="connsiteY24" fmla="*/ 130285 h 369595"/>
                <a:gd name="connsiteX25" fmla="*/ 88985 w 245667"/>
                <a:gd name="connsiteY25" fmla="*/ 149444 h 369595"/>
                <a:gd name="connsiteX26" fmla="*/ 134968 w 245667"/>
                <a:gd name="connsiteY26" fmla="*/ 164346 h 369595"/>
                <a:gd name="connsiteX27" fmla="*/ 192447 w 245667"/>
                <a:gd name="connsiteY27" fmla="*/ 183932 h 369595"/>
                <a:gd name="connsiteX28" fmla="*/ 229915 w 245667"/>
                <a:gd name="connsiteY28" fmla="*/ 213310 h 369595"/>
                <a:gd name="connsiteX29" fmla="*/ 245668 w 245667"/>
                <a:gd name="connsiteY29" fmla="*/ 267382 h 369595"/>
                <a:gd name="connsiteX30" fmla="*/ 231618 w 245667"/>
                <a:gd name="connsiteY30" fmla="*/ 317197 h 369595"/>
                <a:gd name="connsiteX31" fmla="*/ 189892 w 245667"/>
                <a:gd name="connsiteY31" fmla="*/ 355090 h 369595"/>
                <a:gd name="connsiteX32" fmla="*/ 124750 w 245667"/>
                <a:gd name="connsiteY32" fmla="*/ 369566 h 369595"/>
                <a:gd name="connsiteX33" fmla="*/ 61311 w 245667"/>
                <a:gd name="connsiteY33" fmla="*/ 357645 h 369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45667" h="369595">
                  <a:moveTo>
                    <a:pt x="61311" y="357645"/>
                  </a:moveTo>
                  <a:cubicBezTo>
                    <a:pt x="42577" y="349129"/>
                    <a:pt x="27675" y="337634"/>
                    <a:pt x="16605" y="322306"/>
                  </a:cubicBezTo>
                  <a:cubicBezTo>
                    <a:pt x="5961" y="307404"/>
                    <a:pt x="426" y="289948"/>
                    <a:pt x="0" y="269937"/>
                  </a:cubicBezTo>
                  <a:lnTo>
                    <a:pt x="50241" y="269937"/>
                  </a:lnTo>
                  <a:cubicBezTo>
                    <a:pt x="51944" y="286967"/>
                    <a:pt x="58756" y="301443"/>
                    <a:pt x="71103" y="312513"/>
                  </a:cubicBezTo>
                  <a:cubicBezTo>
                    <a:pt x="83450" y="323583"/>
                    <a:pt x="101333" y="329970"/>
                    <a:pt x="124750" y="329970"/>
                  </a:cubicBezTo>
                  <a:cubicBezTo>
                    <a:pt x="148167" y="329970"/>
                    <a:pt x="165198" y="324435"/>
                    <a:pt x="177971" y="312939"/>
                  </a:cubicBezTo>
                  <a:cubicBezTo>
                    <a:pt x="190744" y="301869"/>
                    <a:pt x="197556" y="287393"/>
                    <a:pt x="197556" y="269511"/>
                  </a:cubicBezTo>
                  <a:cubicBezTo>
                    <a:pt x="197556" y="255461"/>
                    <a:pt x="193724" y="244391"/>
                    <a:pt x="186061" y="235875"/>
                  </a:cubicBezTo>
                  <a:cubicBezTo>
                    <a:pt x="178397" y="227360"/>
                    <a:pt x="169030" y="220548"/>
                    <a:pt x="157534" y="216290"/>
                  </a:cubicBezTo>
                  <a:cubicBezTo>
                    <a:pt x="146038" y="211607"/>
                    <a:pt x="130711" y="206923"/>
                    <a:pt x="111125" y="201814"/>
                  </a:cubicBezTo>
                  <a:cubicBezTo>
                    <a:pt x="87282" y="195427"/>
                    <a:pt x="68123" y="189467"/>
                    <a:pt x="53647" y="183080"/>
                  </a:cubicBezTo>
                  <a:cubicBezTo>
                    <a:pt x="39171" y="176694"/>
                    <a:pt x="26823" y="166901"/>
                    <a:pt x="17031" y="153702"/>
                  </a:cubicBezTo>
                  <a:cubicBezTo>
                    <a:pt x="6812" y="140503"/>
                    <a:pt x="1703" y="122195"/>
                    <a:pt x="1703" y="100055"/>
                  </a:cubicBezTo>
                  <a:cubicBezTo>
                    <a:pt x="1703" y="80470"/>
                    <a:pt x="6387" y="63014"/>
                    <a:pt x="16605" y="47686"/>
                  </a:cubicBezTo>
                  <a:cubicBezTo>
                    <a:pt x="26823" y="32358"/>
                    <a:pt x="40874" y="20437"/>
                    <a:pt x="59182" y="12347"/>
                  </a:cubicBezTo>
                  <a:cubicBezTo>
                    <a:pt x="77064" y="3832"/>
                    <a:pt x="97927" y="0"/>
                    <a:pt x="121770" y="0"/>
                  </a:cubicBezTo>
                  <a:cubicBezTo>
                    <a:pt x="155831" y="0"/>
                    <a:pt x="183506" y="8515"/>
                    <a:pt x="205220" y="25546"/>
                  </a:cubicBezTo>
                  <a:cubicBezTo>
                    <a:pt x="226934" y="42577"/>
                    <a:pt x="238856" y="65142"/>
                    <a:pt x="241836" y="92817"/>
                  </a:cubicBezTo>
                  <a:lnTo>
                    <a:pt x="189892" y="92817"/>
                  </a:lnTo>
                  <a:cubicBezTo>
                    <a:pt x="188189" y="78767"/>
                    <a:pt x="180951" y="66846"/>
                    <a:pt x="168178" y="56201"/>
                  </a:cubicBezTo>
                  <a:cubicBezTo>
                    <a:pt x="155405" y="45983"/>
                    <a:pt x="138374" y="40022"/>
                    <a:pt x="117512" y="40022"/>
                  </a:cubicBezTo>
                  <a:cubicBezTo>
                    <a:pt x="96649" y="40022"/>
                    <a:pt x="81747" y="45131"/>
                    <a:pt x="68974" y="55350"/>
                  </a:cubicBezTo>
                  <a:cubicBezTo>
                    <a:pt x="56201" y="65568"/>
                    <a:pt x="50241" y="79619"/>
                    <a:pt x="50241" y="97927"/>
                  </a:cubicBezTo>
                  <a:cubicBezTo>
                    <a:pt x="50241" y="111125"/>
                    <a:pt x="54073" y="121770"/>
                    <a:pt x="61311" y="130285"/>
                  </a:cubicBezTo>
                  <a:cubicBezTo>
                    <a:pt x="68549" y="138800"/>
                    <a:pt x="77915" y="144761"/>
                    <a:pt x="88985" y="149444"/>
                  </a:cubicBezTo>
                  <a:cubicBezTo>
                    <a:pt x="99630" y="153702"/>
                    <a:pt x="115383" y="158811"/>
                    <a:pt x="134968" y="164346"/>
                  </a:cubicBezTo>
                  <a:cubicBezTo>
                    <a:pt x="158811" y="171159"/>
                    <a:pt x="177971" y="177545"/>
                    <a:pt x="192447" y="183932"/>
                  </a:cubicBezTo>
                  <a:cubicBezTo>
                    <a:pt x="206923" y="190318"/>
                    <a:pt x="219696" y="200111"/>
                    <a:pt x="229915" y="213310"/>
                  </a:cubicBezTo>
                  <a:cubicBezTo>
                    <a:pt x="240133" y="226508"/>
                    <a:pt x="245668" y="244816"/>
                    <a:pt x="245668" y="267382"/>
                  </a:cubicBezTo>
                  <a:cubicBezTo>
                    <a:pt x="245668" y="285264"/>
                    <a:pt x="240985" y="301869"/>
                    <a:pt x="231618" y="317197"/>
                  </a:cubicBezTo>
                  <a:cubicBezTo>
                    <a:pt x="222251" y="332950"/>
                    <a:pt x="208200" y="345297"/>
                    <a:pt x="189892" y="355090"/>
                  </a:cubicBezTo>
                  <a:cubicBezTo>
                    <a:pt x="171584" y="364883"/>
                    <a:pt x="149870" y="369566"/>
                    <a:pt x="124750" y="369566"/>
                  </a:cubicBezTo>
                  <a:cubicBezTo>
                    <a:pt x="100055" y="369992"/>
                    <a:pt x="79619" y="365734"/>
                    <a:pt x="61311" y="357645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CE0E130-560A-F5C2-AE9A-A7AFEE05D01D}"/>
                </a:ext>
              </a:extLst>
            </p:cNvPr>
            <p:cNvSpPr/>
            <p:nvPr/>
          </p:nvSpPr>
          <p:spPr>
            <a:xfrm>
              <a:off x="8318074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8 w 284838"/>
                <a:gd name="connsiteY8" fmla="*/ 362754 h 362753"/>
                <a:gd name="connsiteX9" fmla="*/ 284838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8" y="362754"/>
                  </a:lnTo>
                  <a:lnTo>
                    <a:pt x="284838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F527A3E-54AC-9748-1F4E-C1B5355F9E19}"/>
                </a:ext>
              </a:extLst>
            </p:cNvPr>
            <p:cNvSpPr/>
            <p:nvPr/>
          </p:nvSpPr>
          <p:spPr>
            <a:xfrm>
              <a:off x="6372742" y="4398399"/>
              <a:ext cx="363605" cy="369140"/>
            </a:xfrm>
            <a:custGeom>
              <a:avLst/>
              <a:gdLst>
                <a:gd name="connsiteX0" fmla="*/ 89837 w 363605"/>
                <a:gd name="connsiteY0" fmla="*/ 346575 h 369140"/>
                <a:gd name="connsiteX1" fmla="*/ 24269 w 363605"/>
                <a:gd name="connsiteY1" fmla="*/ 280581 h 369140"/>
                <a:gd name="connsiteX2" fmla="*/ 0 w 363605"/>
                <a:gd name="connsiteY2" fmla="*/ 185209 h 369140"/>
                <a:gd name="connsiteX3" fmla="*/ 24269 w 363605"/>
                <a:gd name="connsiteY3" fmla="*/ 89837 h 369140"/>
                <a:gd name="connsiteX4" fmla="*/ 89837 w 363605"/>
                <a:gd name="connsiteY4" fmla="*/ 23843 h 369140"/>
                <a:gd name="connsiteX5" fmla="*/ 181803 w 363605"/>
                <a:gd name="connsiteY5" fmla="*/ 0 h 369140"/>
                <a:gd name="connsiteX6" fmla="*/ 274194 w 363605"/>
                <a:gd name="connsiteY6" fmla="*/ 23843 h 369140"/>
                <a:gd name="connsiteX7" fmla="*/ 339763 w 363605"/>
                <a:gd name="connsiteY7" fmla="*/ 89411 h 369140"/>
                <a:gd name="connsiteX8" fmla="*/ 363606 w 363605"/>
                <a:gd name="connsiteY8" fmla="*/ 184783 h 369140"/>
                <a:gd name="connsiteX9" fmla="*/ 339763 w 363605"/>
                <a:gd name="connsiteY9" fmla="*/ 280155 h 369140"/>
                <a:gd name="connsiteX10" fmla="*/ 274194 w 363605"/>
                <a:gd name="connsiteY10" fmla="*/ 345723 h 369140"/>
                <a:gd name="connsiteX11" fmla="*/ 181803 w 363605"/>
                <a:gd name="connsiteY11" fmla="*/ 369140 h 369140"/>
                <a:gd name="connsiteX12" fmla="*/ 89837 w 363605"/>
                <a:gd name="connsiteY12" fmla="*/ 346575 h 369140"/>
                <a:gd name="connsiteX13" fmla="*/ 249926 w 363605"/>
                <a:gd name="connsiteY13" fmla="*/ 311236 h 369140"/>
                <a:gd name="connsiteX14" fmla="*/ 297612 w 363605"/>
                <a:gd name="connsiteY14" fmla="*/ 260995 h 369140"/>
                <a:gd name="connsiteX15" fmla="*/ 315068 w 363605"/>
                <a:gd name="connsiteY15" fmla="*/ 185209 h 369140"/>
                <a:gd name="connsiteX16" fmla="*/ 297612 w 363605"/>
                <a:gd name="connsiteY16" fmla="*/ 108997 h 369140"/>
                <a:gd name="connsiteX17" fmla="*/ 249926 w 363605"/>
                <a:gd name="connsiteY17" fmla="*/ 58756 h 369140"/>
                <a:gd name="connsiteX18" fmla="*/ 181377 w 363605"/>
                <a:gd name="connsiteY18" fmla="*/ 40874 h 369140"/>
                <a:gd name="connsiteX19" fmla="*/ 112828 w 363605"/>
                <a:gd name="connsiteY19" fmla="*/ 58756 h 369140"/>
                <a:gd name="connsiteX20" fmla="*/ 65142 w 363605"/>
                <a:gd name="connsiteY20" fmla="*/ 108997 h 369140"/>
                <a:gd name="connsiteX21" fmla="*/ 47686 w 363605"/>
                <a:gd name="connsiteY21" fmla="*/ 185209 h 369140"/>
                <a:gd name="connsiteX22" fmla="*/ 65142 w 363605"/>
                <a:gd name="connsiteY22" fmla="*/ 260995 h 369140"/>
                <a:gd name="connsiteX23" fmla="*/ 112828 w 363605"/>
                <a:gd name="connsiteY23" fmla="*/ 311236 h 369140"/>
                <a:gd name="connsiteX24" fmla="*/ 180951 w 363605"/>
                <a:gd name="connsiteY24" fmla="*/ 329118 h 369140"/>
                <a:gd name="connsiteX25" fmla="*/ 249926 w 363605"/>
                <a:gd name="connsiteY25" fmla="*/ 311236 h 369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3605" h="369140">
                  <a:moveTo>
                    <a:pt x="89837" y="346575"/>
                  </a:moveTo>
                  <a:cubicBezTo>
                    <a:pt x="62162" y="330821"/>
                    <a:pt x="40022" y="308681"/>
                    <a:pt x="24269" y="280581"/>
                  </a:cubicBezTo>
                  <a:cubicBezTo>
                    <a:pt x="8090" y="252480"/>
                    <a:pt x="0" y="220548"/>
                    <a:pt x="0" y="185209"/>
                  </a:cubicBezTo>
                  <a:cubicBezTo>
                    <a:pt x="0" y="149870"/>
                    <a:pt x="8090" y="117938"/>
                    <a:pt x="24269" y="89837"/>
                  </a:cubicBezTo>
                  <a:cubicBezTo>
                    <a:pt x="40448" y="61736"/>
                    <a:pt x="62162" y="39596"/>
                    <a:pt x="89837" y="23843"/>
                  </a:cubicBezTo>
                  <a:cubicBezTo>
                    <a:pt x="117512" y="8090"/>
                    <a:pt x="148167" y="0"/>
                    <a:pt x="181803" y="0"/>
                  </a:cubicBezTo>
                  <a:cubicBezTo>
                    <a:pt x="215438" y="0"/>
                    <a:pt x="246519" y="8090"/>
                    <a:pt x="274194" y="23843"/>
                  </a:cubicBezTo>
                  <a:cubicBezTo>
                    <a:pt x="301869" y="39596"/>
                    <a:pt x="323583" y="61311"/>
                    <a:pt x="339763" y="89411"/>
                  </a:cubicBezTo>
                  <a:cubicBezTo>
                    <a:pt x="355942" y="117512"/>
                    <a:pt x="363606" y="149444"/>
                    <a:pt x="363606" y="184783"/>
                  </a:cubicBezTo>
                  <a:cubicBezTo>
                    <a:pt x="363606" y="220122"/>
                    <a:pt x="355516" y="252054"/>
                    <a:pt x="339763" y="280155"/>
                  </a:cubicBezTo>
                  <a:cubicBezTo>
                    <a:pt x="324009" y="308256"/>
                    <a:pt x="301869" y="330396"/>
                    <a:pt x="274194" y="345723"/>
                  </a:cubicBezTo>
                  <a:cubicBezTo>
                    <a:pt x="246519" y="361477"/>
                    <a:pt x="215864" y="369140"/>
                    <a:pt x="181803" y="369140"/>
                  </a:cubicBezTo>
                  <a:cubicBezTo>
                    <a:pt x="147741" y="369140"/>
                    <a:pt x="117086" y="362328"/>
                    <a:pt x="89837" y="346575"/>
                  </a:cubicBezTo>
                  <a:moveTo>
                    <a:pt x="249926" y="311236"/>
                  </a:moveTo>
                  <a:cubicBezTo>
                    <a:pt x="269937" y="299315"/>
                    <a:pt x="286116" y="282710"/>
                    <a:pt x="297612" y="260995"/>
                  </a:cubicBezTo>
                  <a:cubicBezTo>
                    <a:pt x="309107" y="239281"/>
                    <a:pt x="315068" y="213735"/>
                    <a:pt x="315068" y="185209"/>
                  </a:cubicBezTo>
                  <a:cubicBezTo>
                    <a:pt x="315068" y="156682"/>
                    <a:pt x="309107" y="130711"/>
                    <a:pt x="297612" y="108997"/>
                  </a:cubicBezTo>
                  <a:cubicBezTo>
                    <a:pt x="286116" y="87282"/>
                    <a:pt x="270362" y="70677"/>
                    <a:pt x="249926" y="58756"/>
                  </a:cubicBezTo>
                  <a:cubicBezTo>
                    <a:pt x="229489" y="46834"/>
                    <a:pt x="206923" y="40874"/>
                    <a:pt x="181377" y="40874"/>
                  </a:cubicBezTo>
                  <a:cubicBezTo>
                    <a:pt x="155831" y="40874"/>
                    <a:pt x="132839" y="46834"/>
                    <a:pt x="112828" y="58756"/>
                  </a:cubicBezTo>
                  <a:cubicBezTo>
                    <a:pt x="92817" y="70677"/>
                    <a:pt x="77064" y="87282"/>
                    <a:pt x="65142" y="108997"/>
                  </a:cubicBezTo>
                  <a:cubicBezTo>
                    <a:pt x="53647" y="130711"/>
                    <a:pt x="47686" y="155831"/>
                    <a:pt x="47686" y="185209"/>
                  </a:cubicBezTo>
                  <a:cubicBezTo>
                    <a:pt x="47686" y="214587"/>
                    <a:pt x="53647" y="238856"/>
                    <a:pt x="65142" y="260995"/>
                  </a:cubicBezTo>
                  <a:cubicBezTo>
                    <a:pt x="76638" y="282710"/>
                    <a:pt x="92392" y="299740"/>
                    <a:pt x="112828" y="311236"/>
                  </a:cubicBezTo>
                  <a:cubicBezTo>
                    <a:pt x="132839" y="323158"/>
                    <a:pt x="155831" y="329118"/>
                    <a:pt x="180951" y="329118"/>
                  </a:cubicBezTo>
                  <a:cubicBezTo>
                    <a:pt x="206072" y="329118"/>
                    <a:pt x="229489" y="323158"/>
                    <a:pt x="249926" y="311236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238CC38-62CE-5244-6E9B-855D0E3549CE}"/>
                </a:ext>
              </a:extLst>
            </p:cNvPr>
            <p:cNvSpPr/>
            <p:nvPr/>
          </p:nvSpPr>
          <p:spPr>
            <a:xfrm>
              <a:off x="5978481" y="4397973"/>
              <a:ext cx="348703" cy="369991"/>
            </a:xfrm>
            <a:custGeom>
              <a:avLst/>
              <a:gdLst>
                <a:gd name="connsiteX0" fmla="*/ 24269 w 348703"/>
                <a:gd name="connsiteY0" fmla="*/ 90263 h 369991"/>
                <a:gd name="connsiteX1" fmla="*/ 89411 w 348703"/>
                <a:gd name="connsiteY1" fmla="*/ 23843 h 369991"/>
                <a:gd name="connsiteX2" fmla="*/ 181377 w 348703"/>
                <a:gd name="connsiteY2" fmla="*/ 0 h 369991"/>
                <a:gd name="connsiteX3" fmla="*/ 284413 w 348703"/>
                <a:gd name="connsiteY3" fmla="*/ 28526 h 369991"/>
                <a:gd name="connsiteX4" fmla="*/ 348704 w 348703"/>
                <a:gd name="connsiteY4" fmla="*/ 109422 h 369991"/>
                <a:gd name="connsiteX5" fmla="*/ 292077 w 348703"/>
                <a:gd name="connsiteY5" fmla="*/ 109422 h 369991"/>
                <a:gd name="connsiteX6" fmla="*/ 248648 w 348703"/>
                <a:gd name="connsiteY6" fmla="*/ 59182 h 369991"/>
                <a:gd name="connsiteX7" fmla="*/ 180951 w 348703"/>
                <a:gd name="connsiteY7" fmla="*/ 41299 h 369991"/>
                <a:gd name="connsiteX8" fmla="*/ 112828 w 348703"/>
                <a:gd name="connsiteY8" fmla="*/ 59182 h 369991"/>
                <a:gd name="connsiteX9" fmla="*/ 65568 w 348703"/>
                <a:gd name="connsiteY9" fmla="*/ 109422 h 369991"/>
                <a:gd name="connsiteX10" fmla="*/ 48538 w 348703"/>
                <a:gd name="connsiteY10" fmla="*/ 185635 h 369991"/>
                <a:gd name="connsiteX11" fmla="*/ 65568 w 348703"/>
                <a:gd name="connsiteY11" fmla="*/ 260995 h 369991"/>
                <a:gd name="connsiteX12" fmla="*/ 112828 w 348703"/>
                <a:gd name="connsiteY12" fmla="*/ 311236 h 369991"/>
                <a:gd name="connsiteX13" fmla="*/ 180951 w 348703"/>
                <a:gd name="connsiteY13" fmla="*/ 329118 h 369991"/>
                <a:gd name="connsiteX14" fmla="*/ 248648 w 348703"/>
                <a:gd name="connsiteY14" fmla="*/ 311662 h 369991"/>
                <a:gd name="connsiteX15" fmla="*/ 292077 w 348703"/>
                <a:gd name="connsiteY15" fmla="*/ 261421 h 369991"/>
                <a:gd name="connsiteX16" fmla="*/ 348704 w 348703"/>
                <a:gd name="connsiteY16" fmla="*/ 261421 h 369991"/>
                <a:gd name="connsiteX17" fmla="*/ 284413 w 348703"/>
                <a:gd name="connsiteY17" fmla="*/ 341891 h 369991"/>
                <a:gd name="connsiteX18" fmla="*/ 181377 w 348703"/>
                <a:gd name="connsiteY18" fmla="*/ 369992 h 369991"/>
                <a:gd name="connsiteX19" fmla="*/ 89411 w 348703"/>
                <a:gd name="connsiteY19" fmla="*/ 346575 h 369991"/>
                <a:gd name="connsiteX20" fmla="*/ 23843 w 348703"/>
                <a:gd name="connsiteY20" fmla="*/ 281007 h 369991"/>
                <a:gd name="connsiteX21" fmla="*/ 0 w 348703"/>
                <a:gd name="connsiteY21" fmla="*/ 186060 h 369991"/>
                <a:gd name="connsiteX22" fmla="*/ 24269 w 348703"/>
                <a:gd name="connsiteY22" fmla="*/ 90263 h 36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8703" h="369991">
                  <a:moveTo>
                    <a:pt x="24269" y="90263"/>
                  </a:moveTo>
                  <a:cubicBezTo>
                    <a:pt x="40448" y="62162"/>
                    <a:pt x="61736" y="40022"/>
                    <a:pt x="89411" y="23843"/>
                  </a:cubicBezTo>
                  <a:cubicBezTo>
                    <a:pt x="117086" y="7664"/>
                    <a:pt x="147316" y="0"/>
                    <a:pt x="181377" y="0"/>
                  </a:cubicBezTo>
                  <a:cubicBezTo>
                    <a:pt x="220973" y="0"/>
                    <a:pt x="255461" y="9367"/>
                    <a:pt x="284413" y="28526"/>
                  </a:cubicBezTo>
                  <a:cubicBezTo>
                    <a:pt x="313791" y="47686"/>
                    <a:pt x="335079" y="74935"/>
                    <a:pt x="348704" y="109422"/>
                  </a:cubicBezTo>
                  <a:lnTo>
                    <a:pt x="292077" y="109422"/>
                  </a:lnTo>
                  <a:cubicBezTo>
                    <a:pt x="281858" y="87708"/>
                    <a:pt x="267808" y="70677"/>
                    <a:pt x="248648" y="59182"/>
                  </a:cubicBezTo>
                  <a:cubicBezTo>
                    <a:pt x="229915" y="47260"/>
                    <a:pt x="207349" y="41299"/>
                    <a:pt x="180951" y="41299"/>
                  </a:cubicBezTo>
                  <a:cubicBezTo>
                    <a:pt x="154554" y="41299"/>
                    <a:pt x="132839" y="47260"/>
                    <a:pt x="112828" y="59182"/>
                  </a:cubicBezTo>
                  <a:cubicBezTo>
                    <a:pt x="92817" y="71103"/>
                    <a:pt x="77064" y="87708"/>
                    <a:pt x="65568" y="109422"/>
                  </a:cubicBezTo>
                  <a:cubicBezTo>
                    <a:pt x="54072" y="131136"/>
                    <a:pt x="48538" y="156257"/>
                    <a:pt x="48538" y="185635"/>
                  </a:cubicBezTo>
                  <a:cubicBezTo>
                    <a:pt x="48538" y="215013"/>
                    <a:pt x="54072" y="239281"/>
                    <a:pt x="65568" y="260995"/>
                  </a:cubicBezTo>
                  <a:cubicBezTo>
                    <a:pt x="77064" y="282710"/>
                    <a:pt x="92817" y="299315"/>
                    <a:pt x="112828" y="311236"/>
                  </a:cubicBezTo>
                  <a:cubicBezTo>
                    <a:pt x="132839" y="323158"/>
                    <a:pt x="155405" y="329118"/>
                    <a:pt x="180951" y="329118"/>
                  </a:cubicBezTo>
                  <a:cubicBezTo>
                    <a:pt x="206497" y="329118"/>
                    <a:pt x="229915" y="323158"/>
                    <a:pt x="248648" y="311662"/>
                  </a:cubicBezTo>
                  <a:cubicBezTo>
                    <a:pt x="267382" y="300166"/>
                    <a:pt x="281858" y="283561"/>
                    <a:pt x="292077" y="261421"/>
                  </a:cubicBezTo>
                  <a:lnTo>
                    <a:pt x="348704" y="261421"/>
                  </a:lnTo>
                  <a:cubicBezTo>
                    <a:pt x="335079" y="296334"/>
                    <a:pt x="313791" y="323158"/>
                    <a:pt x="284413" y="341891"/>
                  </a:cubicBezTo>
                  <a:cubicBezTo>
                    <a:pt x="255035" y="360625"/>
                    <a:pt x="220548" y="369992"/>
                    <a:pt x="181377" y="369992"/>
                  </a:cubicBezTo>
                  <a:cubicBezTo>
                    <a:pt x="147741" y="369992"/>
                    <a:pt x="117086" y="361902"/>
                    <a:pt x="89411" y="346575"/>
                  </a:cubicBezTo>
                  <a:cubicBezTo>
                    <a:pt x="62162" y="330821"/>
                    <a:pt x="40022" y="309107"/>
                    <a:pt x="23843" y="281007"/>
                  </a:cubicBezTo>
                  <a:cubicBezTo>
                    <a:pt x="7664" y="252906"/>
                    <a:pt x="0" y="221399"/>
                    <a:pt x="0" y="186060"/>
                  </a:cubicBezTo>
                  <a:cubicBezTo>
                    <a:pt x="0" y="150722"/>
                    <a:pt x="8090" y="118363"/>
                    <a:pt x="24269" y="90263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22156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_Grey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62BCC7-16BE-7DC8-9502-D8C1BF93C7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766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62BCC7-16BE-7DC8-9502-D8C1BF93C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322600E-E310-8E47-D181-FBF612C48CE5}"/>
              </a:ext>
            </a:extLst>
          </p:cNvPr>
          <p:cNvSpPr/>
          <p:nvPr userDrawn="1"/>
        </p:nvSpPr>
        <p:spPr>
          <a:xfrm rot="5400000">
            <a:off x="74477" y="-74477"/>
            <a:ext cx="6858000" cy="7006954"/>
          </a:xfrm>
          <a:custGeom>
            <a:avLst/>
            <a:gdLst>
              <a:gd name="connsiteX0" fmla="*/ 0 w 6858000"/>
              <a:gd name="connsiteY0" fmla="*/ 7006954 h 7006954"/>
              <a:gd name="connsiteX1" fmla="*/ 0 w 6858000"/>
              <a:gd name="connsiteY1" fmla="*/ 6092554 h 7006954"/>
              <a:gd name="connsiteX2" fmla="*/ 0 w 6858000"/>
              <a:gd name="connsiteY2" fmla="*/ 1712771 h 7006954"/>
              <a:gd name="connsiteX3" fmla="*/ 2796992 w 6858000"/>
              <a:gd name="connsiteY3" fmla="*/ 305988 h 7006954"/>
              <a:gd name="connsiteX4" fmla="*/ 4061057 w 6858000"/>
              <a:gd name="connsiteY4" fmla="*/ 305988 h 7006954"/>
              <a:gd name="connsiteX5" fmla="*/ 6857998 w 6858000"/>
              <a:gd name="connsiteY5" fmla="*/ 1712746 h 7006954"/>
              <a:gd name="connsiteX6" fmla="*/ 6857998 w 6858000"/>
              <a:gd name="connsiteY6" fmla="*/ 0 h 7006954"/>
              <a:gd name="connsiteX7" fmla="*/ 6858000 w 6858000"/>
              <a:gd name="connsiteY7" fmla="*/ 2 h 7006954"/>
              <a:gd name="connsiteX8" fmla="*/ 6858000 w 6858000"/>
              <a:gd name="connsiteY8" fmla="*/ 6195634 h 7006954"/>
              <a:gd name="connsiteX9" fmla="*/ 6858000 w 6858000"/>
              <a:gd name="connsiteY9" fmla="*/ 7006954 h 7006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858000" h="7006954">
                <a:moveTo>
                  <a:pt x="0" y="7006954"/>
                </a:moveTo>
                <a:lnTo>
                  <a:pt x="0" y="6092554"/>
                </a:lnTo>
                <a:lnTo>
                  <a:pt x="0" y="1712771"/>
                </a:lnTo>
                <a:lnTo>
                  <a:pt x="2796992" y="305988"/>
                </a:lnTo>
                <a:cubicBezTo>
                  <a:pt x="3147076" y="129911"/>
                  <a:pt x="3713631" y="129911"/>
                  <a:pt x="4061057" y="305988"/>
                </a:cubicBezTo>
                <a:lnTo>
                  <a:pt x="6857998" y="1712746"/>
                </a:lnTo>
                <a:lnTo>
                  <a:pt x="6857998" y="0"/>
                </a:lnTo>
                <a:lnTo>
                  <a:pt x="6858000" y="2"/>
                </a:lnTo>
                <a:lnTo>
                  <a:pt x="6858000" y="6195634"/>
                </a:lnTo>
                <a:lnTo>
                  <a:pt x="6858000" y="7006954"/>
                </a:lnTo>
                <a:close/>
              </a:path>
            </a:pathLst>
          </a:custGeom>
          <a:gradFill flip="none" rotWithShape="1">
            <a:gsLst>
              <a:gs pos="0">
                <a:schemeClr val="tx1"/>
              </a:gs>
              <a:gs pos="50000">
                <a:schemeClr val="accent2"/>
              </a:gs>
              <a:gs pos="100000">
                <a:schemeClr val="tx1">
                  <a:lumMod val="75000"/>
                  <a:lumOff val="25000"/>
                </a:schemeClr>
              </a:gs>
            </a:gsLst>
            <a:lin ang="19800000" scaled="0"/>
            <a:tileRect/>
          </a:gradFill>
          <a:ln w="6350">
            <a:noFill/>
          </a:ln>
        </p:spPr>
        <p:txBody>
          <a:bodyPr vert="horz" wrap="square" lIns="108109" tIns="108109" rIns="108109" bIns="108109" rtlCol="0" anchor="ctr">
            <a:noAutofit/>
          </a:bodyPr>
          <a:lstStyle/>
          <a:p>
            <a:pPr lvl="0" algn="ctr" defTabSz="1083747">
              <a:spcBef>
                <a:spcPts val="1200"/>
              </a:spcBef>
            </a:pPr>
            <a:endParaRPr lang="en-US" sz="1600" dirty="0">
              <a:cs typeface="Poppins" panose="000005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1C53212-15FB-B691-7374-7583B3B298D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0863" y="432000"/>
            <a:ext cx="4954587" cy="738000"/>
          </a:xfrm>
        </p:spPr>
        <p:txBody>
          <a:bodyPr vert="horz"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903A82B9-CEA4-2AA9-9757-688090F6668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60047F8E-00FA-EF03-306E-8812B0DF85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ource/Note: 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623002C-4678-F866-4F3A-9C72D85E46E7}"/>
              </a:ext>
            </a:extLst>
          </p:cNvPr>
          <p:cNvSpPr/>
          <p:nvPr userDrawn="1"/>
        </p:nvSpPr>
        <p:spPr>
          <a:xfrm rot="1599265" flipH="1">
            <a:off x="6168771" y="3146502"/>
            <a:ext cx="299416" cy="3990707"/>
          </a:xfrm>
          <a:custGeom>
            <a:avLst/>
            <a:gdLst>
              <a:gd name="connsiteX0" fmla="*/ 299416 w 299416"/>
              <a:gd name="connsiteY0" fmla="*/ 0 h 3990707"/>
              <a:gd name="connsiteX1" fmla="*/ 0 w 299416"/>
              <a:gd name="connsiteY1" fmla="*/ 0 h 3990707"/>
              <a:gd name="connsiteX2" fmla="*/ 0 w 299416"/>
              <a:gd name="connsiteY2" fmla="*/ 3840415 h 3990707"/>
              <a:gd name="connsiteX3" fmla="*/ 299416 w 299416"/>
              <a:gd name="connsiteY3" fmla="*/ 3990707 h 3990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416" h="3990707">
                <a:moveTo>
                  <a:pt x="299416" y="0"/>
                </a:moveTo>
                <a:lnTo>
                  <a:pt x="0" y="0"/>
                </a:lnTo>
                <a:lnTo>
                  <a:pt x="0" y="3840415"/>
                </a:lnTo>
                <a:lnTo>
                  <a:pt x="299416" y="3990707"/>
                </a:lnTo>
                <a:close/>
              </a:path>
            </a:pathLst>
          </a:custGeom>
          <a:gradFill flip="none" rotWithShape="1">
            <a:gsLst>
              <a:gs pos="0">
                <a:schemeClr val="bg2">
                  <a:alpha val="43000"/>
                </a:schemeClr>
              </a:gs>
              <a:gs pos="30000">
                <a:schemeClr val="bg2">
                  <a:alpha val="0"/>
                </a:schemeClr>
              </a:gs>
            </a:gsLst>
            <a:lin ang="10920000" scaled="0"/>
            <a:tileRect/>
          </a:gradFill>
          <a:ln w="6350">
            <a:noFill/>
          </a:ln>
        </p:spPr>
        <p:txBody>
          <a:bodyPr vert="horz" wrap="square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2242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_Grey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62BCC7-16BE-7DC8-9502-D8C1BF93C7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082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62BCC7-16BE-7DC8-9502-D8C1BF93C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C53212-15FB-B691-7374-7583B3B298D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50863" y="432000"/>
            <a:ext cx="4935537" cy="738000"/>
          </a:xfrm>
        </p:spPr>
        <p:txBody>
          <a:bodyPr vert="horz" r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4D0814F-E4AD-4F7D-2D56-CE28B7BDAF97}"/>
              </a:ext>
            </a:extLst>
          </p:cNvPr>
          <p:cNvSpPr/>
          <p:nvPr userDrawn="1"/>
        </p:nvSpPr>
        <p:spPr>
          <a:xfrm rot="5400000">
            <a:off x="5314090" y="-19909"/>
            <a:ext cx="6858002" cy="6897817"/>
          </a:xfrm>
          <a:custGeom>
            <a:avLst/>
            <a:gdLst>
              <a:gd name="connsiteX0" fmla="*/ 0 w 6858002"/>
              <a:gd name="connsiteY0" fmla="*/ 3164241 h 6897817"/>
              <a:gd name="connsiteX1" fmla="*/ 0 w 6858002"/>
              <a:gd name="connsiteY1" fmla="*/ 0 h 6897817"/>
              <a:gd name="connsiteX2" fmla="*/ 6858002 w 6858002"/>
              <a:gd name="connsiteY2" fmla="*/ 0 h 6897817"/>
              <a:gd name="connsiteX3" fmla="*/ 6858002 w 6858002"/>
              <a:gd name="connsiteY3" fmla="*/ 3164241 h 6897817"/>
              <a:gd name="connsiteX4" fmla="*/ 6858001 w 6858002"/>
              <a:gd name="connsiteY4" fmla="*/ 3164241 h 6897817"/>
              <a:gd name="connsiteX5" fmla="*/ 6858000 w 6858002"/>
              <a:gd name="connsiteY5" fmla="*/ 6897792 h 6897817"/>
              <a:gd name="connsiteX6" fmla="*/ 4061059 w 6858002"/>
              <a:gd name="connsiteY6" fmla="*/ 5491034 h 6897817"/>
              <a:gd name="connsiteX7" fmla="*/ 2796994 w 6858002"/>
              <a:gd name="connsiteY7" fmla="*/ 5491034 h 6897817"/>
              <a:gd name="connsiteX8" fmla="*/ 1 w 6858002"/>
              <a:gd name="connsiteY8" fmla="*/ 6897817 h 6897817"/>
              <a:gd name="connsiteX9" fmla="*/ 1 w 6858002"/>
              <a:gd name="connsiteY9" fmla="*/ 3164241 h 6897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858002" h="6897817">
                <a:moveTo>
                  <a:pt x="0" y="3164241"/>
                </a:moveTo>
                <a:lnTo>
                  <a:pt x="0" y="0"/>
                </a:lnTo>
                <a:lnTo>
                  <a:pt x="6858002" y="0"/>
                </a:lnTo>
                <a:lnTo>
                  <a:pt x="6858002" y="3164241"/>
                </a:lnTo>
                <a:lnTo>
                  <a:pt x="6858001" y="3164241"/>
                </a:lnTo>
                <a:lnTo>
                  <a:pt x="6858000" y="6897792"/>
                </a:lnTo>
                <a:lnTo>
                  <a:pt x="4061059" y="5491034"/>
                </a:lnTo>
                <a:cubicBezTo>
                  <a:pt x="3713633" y="5314957"/>
                  <a:pt x="3147078" y="5314957"/>
                  <a:pt x="2796994" y="5491034"/>
                </a:cubicBezTo>
                <a:lnTo>
                  <a:pt x="1" y="6897817"/>
                </a:lnTo>
                <a:lnTo>
                  <a:pt x="1" y="3164241"/>
                </a:lnTo>
                <a:close/>
              </a:path>
            </a:pathLst>
          </a:custGeom>
          <a:gradFill flip="none" rotWithShape="1">
            <a:gsLst>
              <a:gs pos="0">
                <a:schemeClr val="tx1"/>
              </a:gs>
              <a:gs pos="50000">
                <a:schemeClr val="accent2"/>
              </a:gs>
              <a:gs pos="100000">
                <a:schemeClr val="tx1">
                  <a:lumMod val="75000"/>
                  <a:lumOff val="25000"/>
                </a:schemeClr>
              </a:gs>
            </a:gsLst>
            <a:lin ang="19800000" scaled="0"/>
            <a:tileRect/>
          </a:gradFill>
          <a:ln w="6350">
            <a:noFill/>
          </a:ln>
        </p:spPr>
        <p:txBody>
          <a:bodyPr vert="horz" wrap="square" lIns="108109" tIns="108109" rIns="108109" bIns="108109" rtlCol="0" anchor="ctr">
            <a:noAutofit/>
          </a:bodyPr>
          <a:lstStyle/>
          <a:p>
            <a:pPr lvl="0" algn="ctr" defTabSz="1083747">
              <a:spcBef>
                <a:spcPts val="1200"/>
              </a:spcBef>
            </a:pPr>
            <a:endParaRPr lang="en-US" sz="1600" dirty="0">
              <a:cs typeface="Poppins" panose="00000500000000000000" pitchFamily="2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6723024-EC53-6450-BF60-C6A201D4C560}"/>
              </a:ext>
            </a:extLst>
          </p:cNvPr>
          <p:cNvSpPr/>
          <p:nvPr userDrawn="1"/>
        </p:nvSpPr>
        <p:spPr>
          <a:xfrm rot="1599265" flipH="1">
            <a:off x="6168771" y="3146502"/>
            <a:ext cx="299416" cy="3990707"/>
          </a:xfrm>
          <a:custGeom>
            <a:avLst/>
            <a:gdLst>
              <a:gd name="connsiteX0" fmla="*/ 299416 w 299416"/>
              <a:gd name="connsiteY0" fmla="*/ 0 h 3990707"/>
              <a:gd name="connsiteX1" fmla="*/ 0 w 299416"/>
              <a:gd name="connsiteY1" fmla="*/ 0 h 3990707"/>
              <a:gd name="connsiteX2" fmla="*/ 0 w 299416"/>
              <a:gd name="connsiteY2" fmla="*/ 3840415 h 3990707"/>
              <a:gd name="connsiteX3" fmla="*/ 299416 w 299416"/>
              <a:gd name="connsiteY3" fmla="*/ 3990707 h 3990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416" h="3990707">
                <a:moveTo>
                  <a:pt x="299416" y="0"/>
                </a:moveTo>
                <a:lnTo>
                  <a:pt x="0" y="0"/>
                </a:lnTo>
                <a:lnTo>
                  <a:pt x="0" y="3840415"/>
                </a:lnTo>
                <a:lnTo>
                  <a:pt x="299416" y="3990707"/>
                </a:lnTo>
                <a:close/>
              </a:path>
            </a:pathLst>
          </a:custGeom>
          <a:gradFill flip="none" rotWithShape="1">
            <a:gsLst>
              <a:gs pos="0">
                <a:schemeClr val="tx1"/>
              </a:gs>
              <a:gs pos="30000">
                <a:schemeClr val="accent2">
                  <a:alpha val="0"/>
                </a:schemeClr>
              </a:gs>
            </a:gsLst>
            <a:lin ang="10920000" scaled="0"/>
            <a:tileRect/>
          </a:gradFill>
          <a:ln w="6350">
            <a:noFill/>
          </a:ln>
        </p:spPr>
        <p:txBody>
          <a:bodyPr vert="horz" wrap="square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BD590986-3F29-1DF9-85A4-56A9A9E4BE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1EC1176-935F-5048-A300-3B07A97F25A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273089" y="6706186"/>
            <a:ext cx="3382336" cy="1077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 dirty="0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  <a:sym typeface="Segoe UI" panose="020B0502040204020203" pitchFamily="34" charset="0"/>
              </a:rPr>
              <a:t>© by FEV – all rights reserved. Confidential – no passing on to third parties   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B39896A9-56CF-6472-BFAA-4FFAB7852C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ource/Note: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FE99CC7-4B99-6501-9AAB-B383ED0409D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38508" y="840326"/>
            <a:ext cx="702000" cy="267011"/>
            <a:chOff x="5975501" y="3608175"/>
            <a:chExt cx="3050378" cy="1160231"/>
          </a:xfrm>
          <a:solidFill>
            <a:schemeClr val="bg1"/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E837D50-3563-0004-0336-67FB86E6447B}"/>
                </a:ext>
              </a:extLst>
            </p:cNvPr>
            <p:cNvSpPr/>
            <p:nvPr/>
          </p:nvSpPr>
          <p:spPr>
            <a:xfrm>
              <a:off x="7098250" y="3614987"/>
              <a:ext cx="608847" cy="620768"/>
            </a:xfrm>
            <a:custGeom>
              <a:avLst/>
              <a:gdLst>
                <a:gd name="connsiteX0" fmla="*/ 369141 w 608847"/>
                <a:gd name="connsiteY0" fmla="*/ 620769 h 620768"/>
                <a:gd name="connsiteX1" fmla="*/ 608848 w 608847"/>
                <a:gd name="connsiteY1" fmla="*/ 0 h 620768"/>
                <a:gd name="connsiteX2" fmla="*/ 485375 w 608847"/>
                <a:gd name="connsiteY2" fmla="*/ 0 h 620768"/>
                <a:gd name="connsiteX3" fmla="*/ 304424 w 608847"/>
                <a:gd name="connsiteY3" fmla="*/ 467493 h 620768"/>
                <a:gd name="connsiteX4" fmla="*/ 123473 w 608847"/>
                <a:gd name="connsiteY4" fmla="*/ 0 h 620768"/>
                <a:gd name="connsiteX5" fmla="*/ 0 w 608847"/>
                <a:gd name="connsiteY5" fmla="*/ 0 h 620768"/>
                <a:gd name="connsiteX6" fmla="*/ 240133 w 608847"/>
                <a:gd name="connsiteY6" fmla="*/ 620769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8847" h="620768">
                  <a:moveTo>
                    <a:pt x="369141" y="620769"/>
                  </a:moveTo>
                  <a:lnTo>
                    <a:pt x="608848" y="0"/>
                  </a:lnTo>
                  <a:lnTo>
                    <a:pt x="485375" y="0"/>
                  </a:lnTo>
                  <a:lnTo>
                    <a:pt x="304424" y="467493"/>
                  </a:lnTo>
                  <a:lnTo>
                    <a:pt x="123473" y="0"/>
                  </a:lnTo>
                  <a:lnTo>
                    <a:pt x="0" y="0"/>
                  </a:lnTo>
                  <a:lnTo>
                    <a:pt x="240133" y="620769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BF2E97F-A140-7ACB-29D7-5C6BDD17A796}"/>
                </a:ext>
              </a:extLst>
            </p:cNvPr>
            <p:cNvSpPr/>
            <p:nvPr/>
          </p:nvSpPr>
          <p:spPr>
            <a:xfrm>
              <a:off x="5975501" y="3614987"/>
              <a:ext cx="505386" cy="620768"/>
            </a:xfrm>
            <a:custGeom>
              <a:avLst/>
              <a:gdLst>
                <a:gd name="connsiteX0" fmla="*/ 505386 w 505386"/>
                <a:gd name="connsiteY0" fmla="*/ 114957 h 620768"/>
                <a:gd name="connsiteX1" fmla="*/ 505386 w 505386"/>
                <a:gd name="connsiteY1" fmla="*/ 0 h 620768"/>
                <a:gd name="connsiteX2" fmla="*/ 144335 w 505386"/>
                <a:gd name="connsiteY2" fmla="*/ 0 h 620768"/>
                <a:gd name="connsiteX3" fmla="*/ 0 w 505386"/>
                <a:gd name="connsiteY3" fmla="*/ 144335 h 620768"/>
                <a:gd name="connsiteX4" fmla="*/ 0 w 505386"/>
                <a:gd name="connsiteY4" fmla="*/ 620769 h 620768"/>
                <a:gd name="connsiteX5" fmla="*/ 115809 w 505386"/>
                <a:gd name="connsiteY5" fmla="*/ 620769 h 620768"/>
                <a:gd name="connsiteX6" fmla="*/ 115809 w 505386"/>
                <a:gd name="connsiteY6" fmla="*/ 389577 h 620768"/>
                <a:gd name="connsiteX7" fmla="*/ 389577 w 505386"/>
                <a:gd name="connsiteY7" fmla="*/ 389577 h 620768"/>
                <a:gd name="connsiteX8" fmla="*/ 389577 w 505386"/>
                <a:gd name="connsiteY8" fmla="*/ 288670 h 620768"/>
                <a:gd name="connsiteX9" fmla="*/ 115383 w 505386"/>
                <a:gd name="connsiteY9" fmla="*/ 288670 h 620768"/>
                <a:gd name="connsiteX10" fmla="*/ 115383 w 505386"/>
                <a:gd name="connsiteY10" fmla="*/ 144335 h 620768"/>
                <a:gd name="connsiteX11" fmla="*/ 143909 w 505386"/>
                <a:gd name="connsiteY11" fmla="*/ 115809 h 620768"/>
                <a:gd name="connsiteX12" fmla="*/ 504960 w 505386"/>
                <a:gd name="connsiteY12" fmla="*/ 115809 h 620768"/>
                <a:gd name="connsiteX13" fmla="*/ 504960 w 505386"/>
                <a:gd name="connsiteY13" fmla="*/ 114957 h 620768"/>
                <a:gd name="connsiteX14" fmla="*/ 505386 w 505386"/>
                <a:gd name="connsiteY14" fmla="*/ 114957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5386" h="620768">
                  <a:moveTo>
                    <a:pt x="505386" y="114957"/>
                  </a:moveTo>
                  <a:lnTo>
                    <a:pt x="505386" y="0"/>
                  </a:lnTo>
                  <a:lnTo>
                    <a:pt x="144335" y="0"/>
                  </a:lnTo>
                  <a:cubicBezTo>
                    <a:pt x="64717" y="0"/>
                    <a:pt x="0" y="64717"/>
                    <a:pt x="0" y="144335"/>
                  </a:cubicBezTo>
                  <a:lnTo>
                    <a:pt x="0" y="620769"/>
                  </a:lnTo>
                  <a:lnTo>
                    <a:pt x="115809" y="620769"/>
                  </a:lnTo>
                  <a:lnTo>
                    <a:pt x="115809" y="389577"/>
                  </a:lnTo>
                  <a:lnTo>
                    <a:pt x="389577" y="389577"/>
                  </a:lnTo>
                  <a:lnTo>
                    <a:pt x="389577" y="288670"/>
                  </a:lnTo>
                  <a:lnTo>
                    <a:pt x="115383" y="288670"/>
                  </a:lnTo>
                  <a:lnTo>
                    <a:pt x="115383" y="144335"/>
                  </a:lnTo>
                  <a:cubicBezTo>
                    <a:pt x="115383" y="128582"/>
                    <a:pt x="128156" y="115809"/>
                    <a:pt x="143909" y="115809"/>
                  </a:cubicBezTo>
                  <a:lnTo>
                    <a:pt x="504960" y="115809"/>
                  </a:lnTo>
                  <a:lnTo>
                    <a:pt x="504960" y="114957"/>
                  </a:lnTo>
                  <a:lnTo>
                    <a:pt x="505386" y="114957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554F1D2-A5B6-EE5B-49FF-2543DC3A8050}"/>
                </a:ext>
              </a:extLst>
            </p:cNvPr>
            <p:cNvSpPr/>
            <p:nvPr/>
          </p:nvSpPr>
          <p:spPr>
            <a:xfrm>
              <a:off x="6487699" y="3608175"/>
              <a:ext cx="625452" cy="635245"/>
            </a:xfrm>
            <a:custGeom>
              <a:avLst/>
              <a:gdLst>
                <a:gd name="connsiteX0" fmla="*/ 503257 w 625452"/>
                <a:gd name="connsiteY0" fmla="*/ 395964 h 635245"/>
                <a:gd name="connsiteX1" fmla="*/ 317197 w 625452"/>
                <a:gd name="connsiteY1" fmla="*/ 518585 h 635245"/>
                <a:gd name="connsiteX2" fmla="*/ 172862 w 625452"/>
                <a:gd name="connsiteY2" fmla="*/ 458126 h 635245"/>
                <a:gd name="connsiteX3" fmla="*/ 512198 w 625452"/>
                <a:gd name="connsiteY3" fmla="*/ 262699 h 635245"/>
                <a:gd name="connsiteX4" fmla="*/ 614383 w 625452"/>
                <a:gd name="connsiteY4" fmla="*/ 203943 h 635245"/>
                <a:gd name="connsiteX5" fmla="*/ 563716 w 625452"/>
                <a:gd name="connsiteY5" fmla="*/ 116660 h 635245"/>
                <a:gd name="connsiteX6" fmla="*/ 317623 w 625452"/>
                <a:gd name="connsiteY6" fmla="*/ 0 h 635245"/>
                <a:gd name="connsiteX7" fmla="*/ 0 w 625452"/>
                <a:gd name="connsiteY7" fmla="*/ 317623 h 635245"/>
                <a:gd name="connsiteX8" fmla="*/ 20863 w 625452"/>
                <a:gd name="connsiteY8" fmla="*/ 430877 h 635245"/>
                <a:gd name="connsiteX9" fmla="*/ 71529 w 625452"/>
                <a:gd name="connsiteY9" fmla="*/ 518159 h 635245"/>
                <a:gd name="connsiteX10" fmla="*/ 317623 w 625452"/>
                <a:gd name="connsiteY10" fmla="*/ 635245 h 635245"/>
                <a:gd name="connsiteX11" fmla="*/ 625453 w 625452"/>
                <a:gd name="connsiteY11" fmla="*/ 397241 h 635245"/>
                <a:gd name="connsiteX12" fmla="*/ 503257 w 625452"/>
                <a:gd name="connsiteY12" fmla="*/ 395964 h 635245"/>
                <a:gd name="connsiteX13" fmla="*/ 503257 w 625452"/>
                <a:gd name="connsiteY13" fmla="*/ 395964 h 635245"/>
                <a:gd name="connsiteX14" fmla="*/ 115383 w 625452"/>
                <a:gd name="connsiteY14" fmla="*/ 316771 h 635245"/>
                <a:gd name="connsiteX15" fmla="*/ 317623 w 625452"/>
                <a:gd name="connsiteY15" fmla="*/ 114531 h 635245"/>
                <a:gd name="connsiteX16" fmla="*/ 461958 w 625452"/>
                <a:gd name="connsiteY16" fmla="*/ 174990 h 635245"/>
                <a:gd name="connsiteX17" fmla="*/ 123047 w 625452"/>
                <a:gd name="connsiteY17" fmla="*/ 370844 h 635245"/>
                <a:gd name="connsiteX18" fmla="*/ 115383 w 625452"/>
                <a:gd name="connsiteY18" fmla="*/ 316771 h 63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5452" h="635245">
                  <a:moveTo>
                    <a:pt x="503257" y="395964"/>
                  </a:moveTo>
                  <a:cubicBezTo>
                    <a:pt x="472602" y="467918"/>
                    <a:pt x="401073" y="518585"/>
                    <a:pt x="317197" y="518585"/>
                  </a:cubicBezTo>
                  <a:cubicBezTo>
                    <a:pt x="260570" y="518585"/>
                    <a:pt x="209478" y="495593"/>
                    <a:pt x="172862" y="458126"/>
                  </a:cubicBezTo>
                  <a:lnTo>
                    <a:pt x="512198" y="262699"/>
                  </a:lnTo>
                  <a:lnTo>
                    <a:pt x="614383" y="203943"/>
                  </a:lnTo>
                  <a:cubicBezTo>
                    <a:pt x="602035" y="172010"/>
                    <a:pt x="585005" y="142632"/>
                    <a:pt x="563716" y="116660"/>
                  </a:cubicBezTo>
                  <a:cubicBezTo>
                    <a:pt x="505812" y="45131"/>
                    <a:pt x="417252" y="0"/>
                    <a:pt x="317623" y="0"/>
                  </a:cubicBezTo>
                  <a:cubicBezTo>
                    <a:pt x="142206" y="0"/>
                    <a:pt x="0" y="142206"/>
                    <a:pt x="0" y="317623"/>
                  </a:cubicBezTo>
                  <a:cubicBezTo>
                    <a:pt x="0" y="357219"/>
                    <a:pt x="7238" y="395538"/>
                    <a:pt x="20863" y="430877"/>
                  </a:cubicBezTo>
                  <a:cubicBezTo>
                    <a:pt x="33210" y="462809"/>
                    <a:pt x="50241" y="492187"/>
                    <a:pt x="71529" y="518159"/>
                  </a:cubicBezTo>
                  <a:cubicBezTo>
                    <a:pt x="129859" y="589688"/>
                    <a:pt x="218419" y="635245"/>
                    <a:pt x="317623" y="635245"/>
                  </a:cubicBezTo>
                  <a:cubicBezTo>
                    <a:pt x="465790" y="635245"/>
                    <a:pt x="589688" y="534338"/>
                    <a:pt x="625453" y="397241"/>
                  </a:cubicBezTo>
                  <a:lnTo>
                    <a:pt x="503257" y="395964"/>
                  </a:lnTo>
                  <a:lnTo>
                    <a:pt x="503257" y="395964"/>
                  </a:lnTo>
                  <a:close/>
                  <a:moveTo>
                    <a:pt x="115383" y="316771"/>
                  </a:moveTo>
                  <a:cubicBezTo>
                    <a:pt x="115383" y="205220"/>
                    <a:pt x="206072" y="114531"/>
                    <a:pt x="317623" y="114531"/>
                  </a:cubicBezTo>
                  <a:cubicBezTo>
                    <a:pt x="374250" y="114531"/>
                    <a:pt x="425342" y="137523"/>
                    <a:pt x="461958" y="174990"/>
                  </a:cubicBezTo>
                  <a:lnTo>
                    <a:pt x="123047" y="370844"/>
                  </a:lnTo>
                  <a:cubicBezTo>
                    <a:pt x="118363" y="353813"/>
                    <a:pt x="115383" y="335931"/>
                    <a:pt x="115383" y="316771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57D4325B-3ADC-C217-A2E2-A701DF7D8CA9}"/>
                </a:ext>
              </a:extLst>
            </p:cNvPr>
            <p:cNvSpPr/>
            <p:nvPr/>
          </p:nvSpPr>
          <p:spPr>
            <a:xfrm>
              <a:off x="8659524" y="4396917"/>
              <a:ext cx="366355" cy="371489"/>
            </a:xfrm>
            <a:custGeom>
              <a:avLst/>
              <a:gdLst>
                <a:gd name="connsiteX0" fmla="*/ 242704 w 366355"/>
                <a:gd name="connsiteY0" fmla="*/ 64921 h 371489"/>
                <a:gd name="connsiteX1" fmla="*/ 180542 w 366355"/>
                <a:gd name="connsiteY1" fmla="*/ 44059 h 371489"/>
                <a:gd name="connsiteX2" fmla="*/ 114122 w 366355"/>
                <a:gd name="connsiteY2" fmla="*/ 61941 h 371489"/>
                <a:gd name="connsiteX3" fmla="*/ 63881 w 366355"/>
                <a:gd name="connsiteY3" fmla="*/ 111330 h 371489"/>
                <a:gd name="connsiteX4" fmla="*/ 47702 w 366355"/>
                <a:gd name="connsiteY4" fmla="*/ 178601 h 371489"/>
                <a:gd name="connsiteX5" fmla="*/ 70268 w 366355"/>
                <a:gd name="connsiteY5" fmla="*/ 252259 h 371489"/>
                <a:gd name="connsiteX6" fmla="*/ 122637 w 366355"/>
                <a:gd name="connsiteY6" fmla="*/ 308460 h 371489"/>
                <a:gd name="connsiteX7" fmla="*/ 188631 w 366355"/>
                <a:gd name="connsiteY7" fmla="*/ 327620 h 371489"/>
                <a:gd name="connsiteX8" fmla="*/ 256328 w 366355"/>
                <a:gd name="connsiteY8" fmla="*/ 308460 h 371489"/>
                <a:gd name="connsiteX9" fmla="*/ 315936 w 366355"/>
                <a:gd name="connsiteY9" fmla="*/ 237357 h 371489"/>
                <a:gd name="connsiteX10" fmla="*/ 307420 w 366355"/>
                <a:gd name="connsiteY10" fmla="*/ 143262 h 371489"/>
                <a:gd name="connsiteX11" fmla="*/ 182245 w 366355"/>
                <a:gd name="connsiteY11" fmla="*/ 215643 h 371489"/>
                <a:gd name="connsiteX12" fmla="*/ 163085 w 366355"/>
                <a:gd name="connsiteY12" fmla="*/ 182433 h 371489"/>
                <a:gd name="connsiteX13" fmla="*/ 331689 w 366355"/>
                <a:gd name="connsiteY13" fmla="*/ 84932 h 371489"/>
                <a:gd name="connsiteX14" fmla="*/ 349571 w 366355"/>
                <a:gd name="connsiteY14" fmla="*/ 116439 h 371489"/>
                <a:gd name="connsiteX15" fmla="*/ 366176 w 366355"/>
                <a:gd name="connsiteY15" fmla="*/ 201167 h 371489"/>
                <a:gd name="connsiteX16" fmla="*/ 341056 w 366355"/>
                <a:gd name="connsiteY16" fmla="*/ 283766 h 371489"/>
                <a:gd name="connsiteX17" fmla="*/ 276765 w 366355"/>
                <a:gd name="connsiteY17" fmla="*/ 345928 h 371489"/>
                <a:gd name="connsiteX18" fmla="*/ 185225 w 366355"/>
                <a:gd name="connsiteY18" fmla="*/ 371474 h 371489"/>
                <a:gd name="connsiteX19" fmla="*/ 95388 w 366355"/>
                <a:gd name="connsiteY19" fmla="*/ 347631 h 371489"/>
                <a:gd name="connsiteX20" fmla="*/ 26840 w 366355"/>
                <a:gd name="connsiteY20" fmla="*/ 277379 h 371489"/>
                <a:gd name="connsiteX21" fmla="*/ 16 w 366355"/>
                <a:gd name="connsiteY21" fmla="*/ 182859 h 371489"/>
                <a:gd name="connsiteX22" fmla="*/ 23859 w 366355"/>
                <a:gd name="connsiteY22" fmla="*/ 93022 h 371489"/>
                <a:gd name="connsiteX23" fmla="*/ 91556 w 366355"/>
                <a:gd name="connsiteY23" fmla="*/ 26602 h 371489"/>
                <a:gd name="connsiteX24" fmla="*/ 194166 w 366355"/>
                <a:gd name="connsiteY24" fmla="*/ 205 h 371489"/>
                <a:gd name="connsiteX25" fmla="*/ 290390 w 366355"/>
                <a:gd name="connsiteY25" fmla="*/ 37672 h 371489"/>
                <a:gd name="connsiteX26" fmla="*/ 242704 w 366355"/>
                <a:gd name="connsiteY26" fmla="*/ 64921 h 371489"/>
                <a:gd name="connsiteX27" fmla="*/ 242704 w 366355"/>
                <a:gd name="connsiteY27" fmla="*/ 64921 h 37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6355" h="371489">
                  <a:moveTo>
                    <a:pt x="242704" y="64921"/>
                  </a:moveTo>
                  <a:cubicBezTo>
                    <a:pt x="223544" y="51722"/>
                    <a:pt x="202682" y="44910"/>
                    <a:pt x="180542" y="44059"/>
                  </a:cubicBezTo>
                  <a:cubicBezTo>
                    <a:pt x="158402" y="43633"/>
                    <a:pt x="135836" y="49594"/>
                    <a:pt x="114122" y="61941"/>
                  </a:cubicBezTo>
                  <a:cubicBezTo>
                    <a:pt x="92408" y="74288"/>
                    <a:pt x="75377" y="91319"/>
                    <a:pt x="63881" y="111330"/>
                  </a:cubicBezTo>
                  <a:cubicBezTo>
                    <a:pt x="52386" y="131341"/>
                    <a:pt x="46425" y="153907"/>
                    <a:pt x="47702" y="178601"/>
                  </a:cubicBezTo>
                  <a:cubicBezTo>
                    <a:pt x="48554" y="203296"/>
                    <a:pt x="56217" y="227564"/>
                    <a:pt x="70268" y="252259"/>
                  </a:cubicBezTo>
                  <a:cubicBezTo>
                    <a:pt x="84318" y="276953"/>
                    <a:pt x="101775" y="295687"/>
                    <a:pt x="122637" y="308460"/>
                  </a:cubicBezTo>
                  <a:cubicBezTo>
                    <a:pt x="143500" y="321233"/>
                    <a:pt x="165214" y="327620"/>
                    <a:pt x="188631" y="327620"/>
                  </a:cubicBezTo>
                  <a:cubicBezTo>
                    <a:pt x="212048" y="327620"/>
                    <a:pt x="234614" y="321233"/>
                    <a:pt x="256328" y="308460"/>
                  </a:cubicBezTo>
                  <a:cubicBezTo>
                    <a:pt x="286983" y="290578"/>
                    <a:pt x="306569" y="267161"/>
                    <a:pt x="315936" y="237357"/>
                  </a:cubicBezTo>
                  <a:cubicBezTo>
                    <a:pt x="325303" y="207979"/>
                    <a:pt x="322322" y="176047"/>
                    <a:pt x="307420" y="143262"/>
                  </a:cubicBezTo>
                  <a:lnTo>
                    <a:pt x="182245" y="215643"/>
                  </a:lnTo>
                  <a:lnTo>
                    <a:pt x="163085" y="182433"/>
                  </a:lnTo>
                  <a:lnTo>
                    <a:pt x="331689" y="84932"/>
                  </a:lnTo>
                  <a:lnTo>
                    <a:pt x="349571" y="116439"/>
                  </a:lnTo>
                  <a:cubicBezTo>
                    <a:pt x="361918" y="143688"/>
                    <a:pt x="367454" y="172215"/>
                    <a:pt x="366176" y="201167"/>
                  </a:cubicBezTo>
                  <a:cubicBezTo>
                    <a:pt x="364899" y="230545"/>
                    <a:pt x="356384" y="258220"/>
                    <a:pt x="341056" y="283766"/>
                  </a:cubicBezTo>
                  <a:cubicBezTo>
                    <a:pt x="325728" y="309312"/>
                    <a:pt x="304014" y="330174"/>
                    <a:pt x="276765" y="345928"/>
                  </a:cubicBezTo>
                  <a:cubicBezTo>
                    <a:pt x="247387" y="362533"/>
                    <a:pt x="217157" y="371474"/>
                    <a:pt x="185225" y="371474"/>
                  </a:cubicBezTo>
                  <a:cubicBezTo>
                    <a:pt x="153292" y="371900"/>
                    <a:pt x="123489" y="363810"/>
                    <a:pt x="95388" y="347631"/>
                  </a:cubicBezTo>
                  <a:cubicBezTo>
                    <a:pt x="67287" y="331452"/>
                    <a:pt x="44722" y="308034"/>
                    <a:pt x="26840" y="277379"/>
                  </a:cubicBezTo>
                  <a:cubicBezTo>
                    <a:pt x="8957" y="246724"/>
                    <a:pt x="442" y="215217"/>
                    <a:pt x="16" y="182859"/>
                  </a:cubicBezTo>
                  <a:cubicBezTo>
                    <a:pt x="-410" y="150500"/>
                    <a:pt x="7680" y="120271"/>
                    <a:pt x="23859" y="93022"/>
                  </a:cubicBezTo>
                  <a:cubicBezTo>
                    <a:pt x="40038" y="65773"/>
                    <a:pt x="62604" y="43207"/>
                    <a:pt x="91556" y="26602"/>
                  </a:cubicBezTo>
                  <a:cubicBezTo>
                    <a:pt x="124766" y="7443"/>
                    <a:pt x="158828" y="-1499"/>
                    <a:pt x="194166" y="205"/>
                  </a:cubicBezTo>
                  <a:cubicBezTo>
                    <a:pt x="229505" y="1908"/>
                    <a:pt x="261437" y="14681"/>
                    <a:pt x="290390" y="37672"/>
                  </a:cubicBezTo>
                  <a:lnTo>
                    <a:pt x="242704" y="64921"/>
                  </a:lnTo>
                  <a:lnTo>
                    <a:pt x="242704" y="64921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911D84D-23F6-E8BC-61A1-A247CF66AF2C}"/>
                </a:ext>
              </a:extLst>
            </p:cNvPr>
            <p:cNvSpPr/>
            <p:nvPr/>
          </p:nvSpPr>
          <p:spPr>
            <a:xfrm>
              <a:off x="6794252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9 w 284838"/>
                <a:gd name="connsiteY8" fmla="*/ 362754 h 362753"/>
                <a:gd name="connsiteX9" fmla="*/ 284839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9" y="362754"/>
                  </a:lnTo>
                  <a:lnTo>
                    <a:pt x="284839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61DC715-7F79-4BCF-DA6E-7EEE29FF20F4}"/>
                </a:ext>
              </a:extLst>
            </p:cNvPr>
            <p:cNvSpPr/>
            <p:nvPr/>
          </p:nvSpPr>
          <p:spPr>
            <a:xfrm>
              <a:off x="7762873" y="4402657"/>
              <a:ext cx="173713" cy="362328"/>
            </a:xfrm>
            <a:custGeom>
              <a:avLst/>
              <a:gdLst>
                <a:gd name="connsiteX0" fmla="*/ 0 w 173713"/>
                <a:gd name="connsiteY0" fmla="*/ 0 h 362328"/>
                <a:gd name="connsiteX1" fmla="*/ 0 w 173713"/>
                <a:gd name="connsiteY1" fmla="*/ 362328 h 362328"/>
                <a:gd name="connsiteX2" fmla="*/ 173713 w 173713"/>
                <a:gd name="connsiteY2" fmla="*/ 362328 h 362328"/>
                <a:gd name="connsiteX3" fmla="*/ 173713 w 173713"/>
                <a:gd name="connsiteY3" fmla="*/ 323583 h 362328"/>
                <a:gd name="connsiteX4" fmla="*/ 47260 w 173713"/>
                <a:gd name="connsiteY4" fmla="*/ 323583 h 362328"/>
                <a:gd name="connsiteX5" fmla="*/ 47260 w 173713"/>
                <a:gd name="connsiteY5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13" h="362328">
                  <a:moveTo>
                    <a:pt x="0" y="0"/>
                  </a:moveTo>
                  <a:lnTo>
                    <a:pt x="0" y="362328"/>
                  </a:lnTo>
                  <a:lnTo>
                    <a:pt x="173713" y="362328"/>
                  </a:lnTo>
                  <a:lnTo>
                    <a:pt x="173713" y="323583"/>
                  </a:lnTo>
                  <a:lnTo>
                    <a:pt x="47260" y="323583"/>
                  </a:lnTo>
                  <a:lnTo>
                    <a:pt x="47260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353D75A-5009-91A1-CE11-66DDB48FF949}"/>
                </a:ext>
              </a:extLst>
            </p:cNvPr>
            <p:cNvSpPr/>
            <p:nvPr/>
          </p:nvSpPr>
          <p:spPr>
            <a:xfrm>
              <a:off x="7909337" y="4402657"/>
              <a:ext cx="245667" cy="362328"/>
            </a:xfrm>
            <a:custGeom>
              <a:avLst/>
              <a:gdLst>
                <a:gd name="connsiteX0" fmla="*/ 0 w 245667"/>
                <a:gd name="connsiteY0" fmla="*/ 0 h 362328"/>
                <a:gd name="connsiteX1" fmla="*/ 0 w 245667"/>
                <a:gd name="connsiteY1" fmla="*/ 38745 h 362328"/>
                <a:gd name="connsiteX2" fmla="*/ 99630 w 245667"/>
                <a:gd name="connsiteY2" fmla="*/ 38745 h 362328"/>
                <a:gd name="connsiteX3" fmla="*/ 99630 w 245667"/>
                <a:gd name="connsiteY3" fmla="*/ 362328 h 362328"/>
                <a:gd name="connsiteX4" fmla="*/ 146890 w 245667"/>
                <a:gd name="connsiteY4" fmla="*/ 362328 h 362328"/>
                <a:gd name="connsiteX5" fmla="*/ 146890 w 245667"/>
                <a:gd name="connsiteY5" fmla="*/ 38745 h 362328"/>
                <a:gd name="connsiteX6" fmla="*/ 245668 w 245667"/>
                <a:gd name="connsiteY6" fmla="*/ 38745 h 362328"/>
                <a:gd name="connsiteX7" fmla="*/ 245668 w 245667"/>
                <a:gd name="connsiteY7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667" h="362328">
                  <a:moveTo>
                    <a:pt x="0" y="0"/>
                  </a:moveTo>
                  <a:lnTo>
                    <a:pt x="0" y="38745"/>
                  </a:lnTo>
                  <a:lnTo>
                    <a:pt x="99630" y="38745"/>
                  </a:lnTo>
                  <a:lnTo>
                    <a:pt x="99630" y="362328"/>
                  </a:lnTo>
                  <a:lnTo>
                    <a:pt x="146890" y="362328"/>
                  </a:lnTo>
                  <a:lnTo>
                    <a:pt x="146890" y="38745"/>
                  </a:lnTo>
                  <a:lnTo>
                    <a:pt x="245668" y="38745"/>
                  </a:lnTo>
                  <a:lnTo>
                    <a:pt x="245668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11C68A4-CB8A-8E04-3B7A-9FBD1A6F8E93}"/>
                </a:ext>
              </a:extLst>
            </p:cNvPr>
            <p:cNvSpPr/>
            <p:nvPr/>
          </p:nvSpPr>
          <p:spPr>
            <a:xfrm>
              <a:off x="8212910" y="4402657"/>
              <a:ext cx="47260" cy="362328"/>
            </a:xfrm>
            <a:custGeom>
              <a:avLst/>
              <a:gdLst>
                <a:gd name="connsiteX0" fmla="*/ 0 w 47260"/>
                <a:gd name="connsiteY0" fmla="*/ 0 h 362328"/>
                <a:gd name="connsiteX1" fmla="*/ 47260 w 47260"/>
                <a:gd name="connsiteY1" fmla="*/ 0 h 362328"/>
                <a:gd name="connsiteX2" fmla="*/ 47260 w 47260"/>
                <a:gd name="connsiteY2" fmla="*/ 362328 h 362328"/>
                <a:gd name="connsiteX3" fmla="*/ 0 w 47260"/>
                <a:gd name="connsiteY3" fmla="*/ 362328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260" h="362328">
                  <a:moveTo>
                    <a:pt x="0" y="0"/>
                  </a:moveTo>
                  <a:lnTo>
                    <a:pt x="47260" y="0"/>
                  </a:lnTo>
                  <a:lnTo>
                    <a:pt x="47260" y="362328"/>
                  </a:lnTo>
                  <a:lnTo>
                    <a:pt x="0" y="362328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63CC40C-EE78-0C71-7EA6-D4B304D5D117}"/>
                </a:ext>
              </a:extLst>
            </p:cNvPr>
            <p:cNvSpPr/>
            <p:nvPr/>
          </p:nvSpPr>
          <p:spPr>
            <a:xfrm>
              <a:off x="7432478" y="4402657"/>
              <a:ext cx="272065" cy="365734"/>
            </a:xfrm>
            <a:custGeom>
              <a:avLst/>
              <a:gdLst>
                <a:gd name="connsiteX0" fmla="*/ 46834 w 272065"/>
                <a:gd name="connsiteY0" fmla="*/ 0 h 365734"/>
                <a:gd name="connsiteX1" fmla="*/ 46834 w 272065"/>
                <a:gd name="connsiteY1" fmla="*/ 229063 h 365734"/>
                <a:gd name="connsiteX2" fmla="*/ 70252 w 272065"/>
                <a:gd name="connsiteY2" fmla="*/ 300592 h 365734"/>
                <a:gd name="connsiteX3" fmla="*/ 135820 w 272065"/>
                <a:gd name="connsiteY3" fmla="*/ 324009 h 365734"/>
                <a:gd name="connsiteX4" fmla="*/ 201388 w 272065"/>
                <a:gd name="connsiteY4" fmla="*/ 300592 h 365734"/>
                <a:gd name="connsiteX5" fmla="*/ 224805 w 272065"/>
                <a:gd name="connsiteY5" fmla="*/ 229063 h 365734"/>
                <a:gd name="connsiteX6" fmla="*/ 224805 w 272065"/>
                <a:gd name="connsiteY6" fmla="*/ 0 h 365734"/>
                <a:gd name="connsiteX7" fmla="*/ 272066 w 272065"/>
                <a:gd name="connsiteY7" fmla="*/ 0 h 365734"/>
                <a:gd name="connsiteX8" fmla="*/ 272066 w 272065"/>
                <a:gd name="connsiteY8" fmla="*/ 228637 h 365734"/>
                <a:gd name="connsiteX9" fmla="*/ 254183 w 272065"/>
                <a:gd name="connsiteY9" fmla="*/ 304850 h 365734"/>
                <a:gd name="connsiteX10" fmla="*/ 205220 w 272065"/>
                <a:gd name="connsiteY10" fmla="*/ 350832 h 365734"/>
                <a:gd name="connsiteX11" fmla="*/ 135820 w 272065"/>
                <a:gd name="connsiteY11" fmla="*/ 365734 h 365734"/>
                <a:gd name="connsiteX12" fmla="*/ 66420 w 272065"/>
                <a:gd name="connsiteY12" fmla="*/ 350832 h 365734"/>
                <a:gd name="connsiteX13" fmla="*/ 17882 w 272065"/>
                <a:gd name="connsiteY13" fmla="*/ 304850 h 365734"/>
                <a:gd name="connsiteX14" fmla="*/ 0 w 272065"/>
                <a:gd name="connsiteY14" fmla="*/ 228637 h 365734"/>
                <a:gd name="connsiteX15" fmla="*/ 0 w 272065"/>
                <a:gd name="connsiteY15" fmla="*/ 0 h 365734"/>
                <a:gd name="connsiteX16" fmla="*/ 46834 w 272065"/>
                <a:gd name="connsiteY16" fmla="*/ 0 h 365734"/>
                <a:gd name="connsiteX17" fmla="*/ 46834 w 272065"/>
                <a:gd name="connsiteY17" fmla="*/ 0 h 36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2065" h="365734">
                  <a:moveTo>
                    <a:pt x="46834" y="0"/>
                  </a:moveTo>
                  <a:lnTo>
                    <a:pt x="46834" y="229063"/>
                  </a:lnTo>
                  <a:cubicBezTo>
                    <a:pt x="46834" y="261421"/>
                    <a:pt x="54924" y="285264"/>
                    <a:pt x="70252" y="300592"/>
                  </a:cubicBezTo>
                  <a:cubicBezTo>
                    <a:pt x="86005" y="316345"/>
                    <a:pt x="107719" y="324009"/>
                    <a:pt x="135820" y="324009"/>
                  </a:cubicBezTo>
                  <a:cubicBezTo>
                    <a:pt x="163921" y="324009"/>
                    <a:pt x="185209" y="316345"/>
                    <a:pt x="201388" y="300592"/>
                  </a:cubicBezTo>
                  <a:cubicBezTo>
                    <a:pt x="217141" y="284838"/>
                    <a:pt x="224805" y="260995"/>
                    <a:pt x="224805" y="229063"/>
                  </a:cubicBezTo>
                  <a:lnTo>
                    <a:pt x="224805" y="0"/>
                  </a:lnTo>
                  <a:lnTo>
                    <a:pt x="272066" y="0"/>
                  </a:lnTo>
                  <a:lnTo>
                    <a:pt x="272066" y="228637"/>
                  </a:lnTo>
                  <a:cubicBezTo>
                    <a:pt x="272066" y="258867"/>
                    <a:pt x="266105" y="284413"/>
                    <a:pt x="254183" y="304850"/>
                  </a:cubicBezTo>
                  <a:cubicBezTo>
                    <a:pt x="241836" y="325286"/>
                    <a:pt x="225657" y="340614"/>
                    <a:pt x="205220" y="350832"/>
                  </a:cubicBezTo>
                  <a:cubicBezTo>
                    <a:pt x="184783" y="361051"/>
                    <a:pt x="161366" y="365734"/>
                    <a:pt x="135820" y="365734"/>
                  </a:cubicBezTo>
                  <a:cubicBezTo>
                    <a:pt x="110274" y="365734"/>
                    <a:pt x="87282" y="361051"/>
                    <a:pt x="66420" y="350832"/>
                  </a:cubicBezTo>
                  <a:cubicBezTo>
                    <a:pt x="45983" y="340614"/>
                    <a:pt x="29804" y="325286"/>
                    <a:pt x="17882" y="304850"/>
                  </a:cubicBezTo>
                  <a:cubicBezTo>
                    <a:pt x="5961" y="284413"/>
                    <a:pt x="0" y="258867"/>
                    <a:pt x="0" y="228637"/>
                  </a:cubicBezTo>
                  <a:lnTo>
                    <a:pt x="0" y="0"/>
                  </a:lnTo>
                  <a:lnTo>
                    <a:pt x="46834" y="0"/>
                  </a:lnTo>
                  <a:lnTo>
                    <a:pt x="46834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5789DEF1-38C7-3B79-B8DE-699B8A347C54}"/>
                </a:ext>
              </a:extLst>
            </p:cNvPr>
            <p:cNvSpPr/>
            <p:nvPr/>
          </p:nvSpPr>
          <p:spPr>
            <a:xfrm>
              <a:off x="7136995" y="4398399"/>
              <a:ext cx="245667" cy="369595"/>
            </a:xfrm>
            <a:custGeom>
              <a:avLst/>
              <a:gdLst>
                <a:gd name="connsiteX0" fmla="*/ 61311 w 245667"/>
                <a:gd name="connsiteY0" fmla="*/ 357645 h 369595"/>
                <a:gd name="connsiteX1" fmla="*/ 16605 w 245667"/>
                <a:gd name="connsiteY1" fmla="*/ 322306 h 369595"/>
                <a:gd name="connsiteX2" fmla="*/ 0 w 245667"/>
                <a:gd name="connsiteY2" fmla="*/ 269937 h 369595"/>
                <a:gd name="connsiteX3" fmla="*/ 50241 w 245667"/>
                <a:gd name="connsiteY3" fmla="*/ 269937 h 369595"/>
                <a:gd name="connsiteX4" fmla="*/ 71103 w 245667"/>
                <a:gd name="connsiteY4" fmla="*/ 312513 h 369595"/>
                <a:gd name="connsiteX5" fmla="*/ 124750 w 245667"/>
                <a:gd name="connsiteY5" fmla="*/ 329970 h 369595"/>
                <a:gd name="connsiteX6" fmla="*/ 177971 w 245667"/>
                <a:gd name="connsiteY6" fmla="*/ 312939 h 369595"/>
                <a:gd name="connsiteX7" fmla="*/ 197556 w 245667"/>
                <a:gd name="connsiteY7" fmla="*/ 269511 h 369595"/>
                <a:gd name="connsiteX8" fmla="*/ 186061 w 245667"/>
                <a:gd name="connsiteY8" fmla="*/ 235875 h 369595"/>
                <a:gd name="connsiteX9" fmla="*/ 157534 w 245667"/>
                <a:gd name="connsiteY9" fmla="*/ 216290 h 369595"/>
                <a:gd name="connsiteX10" fmla="*/ 111125 w 245667"/>
                <a:gd name="connsiteY10" fmla="*/ 201814 h 369595"/>
                <a:gd name="connsiteX11" fmla="*/ 53647 w 245667"/>
                <a:gd name="connsiteY11" fmla="*/ 183080 h 369595"/>
                <a:gd name="connsiteX12" fmla="*/ 17031 w 245667"/>
                <a:gd name="connsiteY12" fmla="*/ 153702 h 369595"/>
                <a:gd name="connsiteX13" fmla="*/ 1703 w 245667"/>
                <a:gd name="connsiteY13" fmla="*/ 100055 h 369595"/>
                <a:gd name="connsiteX14" fmla="*/ 16605 w 245667"/>
                <a:gd name="connsiteY14" fmla="*/ 47686 h 369595"/>
                <a:gd name="connsiteX15" fmla="*/ 59182 w 245667"/>
                <a:gd name="connsiteY15" fmla="*/ 12347 h 369595"/>
                <a:gd name="connsiteX16" fmla="*/ 121770 w 245667"/>
                <a:gd name="connsiteY16" fmla="*/ 0 h 369595"/>
                <a:gd name="connsiteX17" fmla="*/ 205220 w 245667"/>
                <a:gd name="connsiteY17" fmla="*/ 25546 h 369595"/>
                <a:gd name="connsiteX18" fmla="*/ 241836 w 245667"/>
                <a:gd name="connsiteY18" fmla="*/ 92817 h 369595"/>
                <a:gd name="connsiteX19" fmla="*/ 189892 w 245667"/>
                <a:gd name="connsiteY19" fmla="*/ 92817 h 369595"/>
                <a:gd name="connsiteX20" fmla="*/ 168178 w 245667"/>
                <a:gd name="connsiteY20" fmla="*/ 56201 h 369595"/>
                <a:gd name="connsiteX21" fmla="*/ 117512 w 245667"/>
                <a:gd name="connsiteY21" fmla="*/ 40022 h 369595"/>
                <a:gd name="connsiteX22" fmla="*/ 68974 w 245667"/>
                <a:gd name="connsiteY22" fmla="*/ 55350 h 369595"/>
                <a:gd name="connsiteX23" fmla="*/ 50241 w 245667"/>
                <a:gd name="connsiteY23" fmla="*/ 97927 h 369595"/>
                <a:gd name="connsiteX24" fmla="*/ 61311 w 245667"/>
                <a:gd name="connsiteY24" fmla="*/ 130285 h 369595"/>
                <a:gd name="connsiteX25" fmla="*/ 88985 w 245667"/>
                <a:gd name="connsiteY25" fmla="*/ 149444 h 369595"/>
                <a:gd name="connsiteX26" fmla="*/ 134968 w 245667"/>
                <a:gd name="connsiteY26" fmla="*/ 164346 h 369595"/>
                <a:gd name="connsiteX27" fmla="*/ 192447 w 245667"/>
                <a:gd name="connsiteY27" fmla="*/ 183932 h 369595"/>
                <a:gd name="connsiteX28" fmla="*/ 229915 w 245667"/>
                <a:gd name="connsiteY28" fmla="*/ 213310 h 369595"/>
                <a:gd name="connsiteX29" fmla="*/ 245668 w 245667"/>
                <a:gd name="connsiteY29" fmla="*/ 267382 h 369595"/>
                <a:gd name="connsiteX30" fmla="*/ 231618 w 245667"/>
                <a:gd name="connsiteY30" fmla="*/ 317197 h 369595"/>
                <a:gd name="connsiteX31" fmla="*/ 189892 w 245667"/>
                <a:gd name="connsiteY31" fmla="*/ 355090 h 369595"/>
                <a:gd name="connsiteX32" fmla="*/ 124750 w 245667"/>
                <a:gd name="connsiteY32" fmla="*/ 369566 h 369595"/>
                <a:gd name="connsiteX33" fmla="*/ 61311 w 245667"/>
                <a:gd name="connsiteY33" fmla="*/ 357645 h 369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45667" h="369595">
                  <a:moveTo>
                    <a:pt x="61311" y="357645"/>
                  </a:moveTo>
                  <a:cubicBezTo>
                    <a:pt x="42577" y="349129"/>
                    <a:pt x="27675" y="337634"/>
                    <a:pt x="16605" y="322306"/>
                  </a:cubicBezTo>
                  <a:cubicBezTo>
                    <a:pt x="5961" y="307404"/>
                    <a:pt x="426" y="289948"/>
                    <a:pt x="0" y="269937"/>
                  </a:cubicBezTo>
                  <a:lnTo>
                    <a:pt x="50241" y="269937"/>
                  </a:lnTo>
                  <a:cubicBezTo>
                    <a:pt x="51944" y="286967"/>
                    <a:pt x="58756" y="301443"/>
                    <a:pt x="71103" y="312513"/>
                  </a:cubicBezTo>
                  <a:cubicBezTo>
                    <a:pt x="83450" y="323583"/>
                    <a:pt x="101333" y="329970"/>
                    <a:pt x="124750" y="329970"/>
                  </a:cubicBezTo>
                  <a:cubicBezTo>
                    <a:pt x="148167" y="329970"/>
                    <a:pt x="165198" y="324435"/>
                    <a:pt x="177971" y="312939"/>
                  </a:cubicBezTo>
                  <a:cubicBezTo>
                    <a:pt x="190744" y="301869"/>
                    <a:pt x="197556" y="287393"/>
                    <a:pt x="197556" y="269511"/>
                  </a:cubicBezTo>
                  <a:cubicBezTo>
                    <a:pt x="197556" y="255461"/>
                    <a:pt x="193724" y="244391"/>
                    <a:pt x="186061" y="235875"/>
                  </a:cubicBezTo>
                  <a:cubicBezTo>
                    <a:pt x="178397" y="227360"/>
                    <a:pt x="169030" y="220548"/>
                    <a:pt x="157534" y="216290"/>
                  </a:cubicBezTo>
                  <a:cubicBezTo>
                    <a:pt x="146038" y="211607"/>
                    <a:pt x="130711" y="206923"/>
                    <a:pt x="111125" y="201814"/>
                  </a:cubicBezTo>
                  <a:cubicBezTo>
                    <a:pt x="87282" y="195427"/>
                    <a:pt x="68123" y="189467"/>
                    <a:pt x="53647" y="183080"/>
                  </a:cubicBezTo>
                  <a:cubicBezTo>
                    <a:pt x="39171" y="176694"/>
                    <a:pt x="26823" y="166901"/>
                    <a:pt x="17031" y="153702"/>
                  </a:cubicBezTo>
                  <a:cubicBezTo>
                    <a:pt x="6812" y="140503"/>
                    <a:pt x="1703" y="122195"/>
                    <a:pt x="1703" y="100055"/>
                  </a:cubicBezTo>
                  <a:cubicBezTo>
                    <a:pt x="1703" y="80470"/>
                    <a:pt x="6387" y="63014"/>
                    <a:pt x="16605" y="47686"/>
                  </a:cubicBezTo>
                  <a:cubicBezTo>
                    <a:pt x="26823" y="32358"/>
                    <a:pt x="40874" y="20437"/>
                    <a:pt x="59182" y="12347"/>
                  </a:cubicBezTo>
                  <a:cubicBezTo>
                    <a:pt x="77064" y="3832"/>
                    <a:pt x="97927" y="0"/>
                    <a:pt x="121770" y="0"/>
                  </a:cubicBezTo>
                  <a:cubicBezTo>
                    <a:pt x="155831" y="0"/>
                    <a:pt x="183506" y="8515"/>
                    <a:pt x="205220" y="25546"/>
                  </a:cubicBezTo>
                  <a:cubicBezTo>
                    <a:pt x="226934" y="42577"/>
                    <a:pt x="238856" y="65142"/>
                    <a:pt x="241836" y="92817"/>
                  </a:cubicBezTo>
                  <a:lnTo>
                    <a:pt x="189892" y="92817"/>
                  </a:lnTo>
                  <a:cubicBezTo>
                    <a:pt x="188189" y="78767"/>
                    <a:pt x="180951" y="66846"/>
                    <a:pt x="168178" y="56201"/>
                  </a:cubicBezTo>
                  <a:cubicBezTo>
                    <a:pt x="155405" y="45983"/>
                    <a:pt x="138374" y="40022"/>
                    <a:pt x="117512" y="40022"/>
                  </a:cubicBezTo>
                  <a:cubicBezTo>
                    <a:pt x="96649" y="40022"/>
                    <a:pt x="81747" y="45131"/>
                    <a:pt x="68974" y="55350"/>
                  </a:cubicBezTo>
                  <a:cubicBezTo>
                    <a:pt x="56201" y="65568"/>
                    <a:pt x="50241" y="79619"/>
                    <a:pt x="50241" y="97927"/>
                  </a:cubicBezTo>
                  <a:cubicBezTo>
                    <a:pt x="50241" y="111125"/>
                    <a:pt x="54073" y="121770"/>
                    <a:pt x="61311" y="130285"/>
                  </a:cubicBezTo>
                  <a:cubicBezTo>
                    <a:pt x="68549" y="138800"/>
                    <a:pt x="77915" y="144761"/>
                    <a:pt x="88985" y="149444"/>
                  </a:cubicBezTo>
                  <a:cubicBezTo>
                    <a:pt x="99630" y="153702"/>
                    <a:pt x="115383" y="158811"/>
                    <a:pt x="134968" y="164346"/>
                  </a:cubicBezTo>
                  <a:cubicBezTo>
                    <a:pt x="158811" y="171159"/>
                    <a:pt x="177971" y="177545"/>
                    <a:pt x="192447" y="183932"/>
                  </a:cubicBezTo>
                  <a:cubicBezTo>
                    <a:pt x="206923" y="190318"/>
                    <a:pt x="219696" y="200111"/>
                    <a:pt x="229915" y="213310"/>
                  </a:cubicBezTo>
                  <a:cubicBezTo>
                    <a:pt x="240133" y="226508"/>
                    <a:pt x="245668" y="244816"/>
                    <a:pt x="245668" y="267382"/>
                  </a:cubicBezTo>
                  <a:cubicBezTo>
                    <a:pt x="245668" y="285264"/>
                    <a:pt x="240985" y="301869"/>
                    <a:pt x="231618" y="317197"/>
                  </a:cubicBezTo>
                  <a:cubicBezTo>
                    <a:pt x="222251" y="332950"/>
                    <a:pt x="208200" y="345297"/>
                    <a:pt x="189892" y="355090"/>
                  </a:cubicBezTo>
                  <a:cubicBezTo>
                    <a:pt x="171584" y="364883"/>
                    <a:pt x="149870" y="369566"/>
                    <a:pt x="124750" y="369566"/>
                  </a:cubicBezTo>
                  <a:cubicBezTo>
                    <a:pt x="100055" y="369992"/>
                    <a:pt x="79619" y="365734"/>
                    <a:pt x="61311" y="357645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2F0FF05-D128-DE67-5E8C-F474F0F17E43}"/>
                </a:ext>
              </a:extLst>
            </p:cNvPr>
            <p:cNvSpPr/>
            <p:nvPr/>
          </p:nvSpPr>
          <p:spPr>
            <a:xfrm>
              <a:off x="8318074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8 w 284838"/>
                <a:gd name="connsiteY8" fmla="*/ 362754 h 362753"/>
                <a:gd name="connsiteX9" fmla="*/ 284838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8" y="362754"/>
                  </a:lnTo>
                  <a:lnTo>
                    <a:pt x="284838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DF01C69-12CF-C9A8-1E6A-17A9DB22FB0F}"/>
                </a:ext>
              </a:extLst>
            </p:cNvPr>
            <p:cNvSpPr/>
            <p:nvPr/>
          </p:nvSpPr>
          <p:spPr>
            <a:xfrm>
              <a:off x="6372742" y="4398399"/>
              <a:ext cx="363605" cy="369140"/>
            </a:xfrm>
            <a:custGeom>
              <a:avLst/>
              <a:gdLst>
                <a:gd name="connsiteX0" fmla="*/ 89837 w 363605"/>
                <a:gd name="connsiteY0" fmla="*/ 346575 h 369140"/>
                <a:gd name="connsiteX1" fmla="*/ 24269 w 363605"/>
                <a:gd name="connsiteY1" fmla="*/ 280581 h 369140"/>
                <a:gd name="connsiteX2" fmla="*/ 0 w 363605"/>
                <a:gd name="connsiteY2" fmla="*/ 185209 h 369140"/>
                <a:gd name="connsiteX3" fmla="*/ 24269 w 363605"/>
                <a:gd name="connsiteY3" fmla="*/ 89837 h 369140"/>
                <a:gd name="connsiteX4" fmla="*/ 89837 w 363605"/>
                <a:gd name="connsiteY4" fmla="*/ 23843 h 369140"/>
                <a:gd name="connsiteX5" fmla="*/ 181803 w 363605"/>
                <a:gd name="connsiteY5" fmla="*/ 0 h 369140"/>
                <a:gd name="connsiteX6" fmla="*/ 274194 w 363605"/>
                <a:gd name="connsiteY6" fmla="*/ 23843 h 369140"/>
                <a:gd name="connsiteX7" fmla="*/ 339763 w 363605"/>
                <a:gd name="connsiteY7" fmla="*/ 89411 h 369140"/>
                <a:gd name="connsiteX8" fmla="*/ 363606 w 363605"/>
                <a:gd name="connsiteY8" fmla="*/ 184783 h 369140"/>
                <a:gd name="connsiteX9" fmla="*/ 339763 w 363605"/>
                <a:gd name="connsiteY9" fmla="*/ 280155 h 369140"/>
                <a:gd name="connsiteX10" fmla="*/ 274194 w 363605"/>
                <a:gd name="connsiteY10" fmla="*/ 345723 h 369140"/>
                <a:gd name="connsiteX11" fmla="*/ 181803 w 363605"/>
                <a:gd name="connsiteY11" fmla="*/ 369140 h 369140"/>
                <a:gd name="connsiteX12" fmla="*/ 89837 w 363605"/>
                <a:gd name="connsiteY12" fmla="*/ 346575 h 369140"/>
                <a:gd name="connsiteX13" fmla="*/ 249926 w 363605"/>
                <a:gd name="connsiteY13" fmla="*/ 311236 h 369140"/>
                <a:gd name="connsiteX14" fmla="*/ 297612 w 363605"/>
                <a:gd name="connsiteY14" fmla="*/ 260995 h 369140"/>
                <a:gd name="connsiteX15" fmla="*/ 315068 w 363605"/>
                <a:gd name="connsiteY15" fmla="*/ 185209 h 369140"/>
                <a:gd name="connsiteX16" fmla="*/ 297612 w 363605"/>
                <a:gd name="connsiteY16" fmla="*/ 108997 h 369140"/>
                <a:gd name="connsiteX17" fmla="*/ 249926 w 363605"/>
                <a:gd name="connsiteY17" fmla="*/ 58756 h 369140"/>
                <a:gd name="connsiteX18" fmla="*/ 181377 w 363605"/>
                <a:gd name="connsiteY18" fmla="*/ 40874 h 369140"/>
                <a:gd name="connsiteX19" fmla="*/ 112828 w 363605"/>
                <a:gd name="connsiteY19" fmla="*/ 58756 h 369140"/>
                <a:gd name="connsiteX20" fmla="*/ 65142 w 363605"/>
                <a:gd name="connsiteY20" fmla="*/ 108997 h 369140"/>
                <a:gd name="connsiteX21" fmla="*/ 47686 w 363605"/>
                <a:gd name="connsiteY21" fmla="*/ 185209 h 369140"/>
                <a:gd name="connsiteX22" fmla="*/ 65142 w 363605"/>
                <a:gd name="connsiteY22" fmla="*/ 260995 h 369140"/>
                <a:gd name="connsiteX23" fmla="*/ 112828 w 363605"/>
                <a:gd name="connsiteY23" fmla="*/ 311236 h 369140"/>
                <a:gd name="connsiteX24" fmla="*/ 180951 w 363605"/>
                <a:gd name="connsiteY24" fmla="*/ 329118 h 369140"/>
                <a:gd name="connsiteX25" fmla="*/ 249926 w 363605"/>
                <a:gd name="connsiteY25" fmla="*/ 311236 h 369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3605" h="369140">
                  <a:moveTo>
                    <a:pt x="89837" y="346575"/>
                  </a:moveTo>
                  <a:cubicBezTo>
                    <a:pt x="62162" y="330821"/>
                    <a:pt x="40022" y="308681"/>
                    <a:pt x="24269" y="280581"/>
                  </a:cubicBezTo>
                  <a:cubicBezTo>
                    <a:pt x="8090" y="252480"/>
                    <a:pt x="0" y="220548"/>
                    <a:pt x="0" y="185209"/>
                  </a:cubicBezTo>
                  <a:cubicBezTo>
                    <a:pt x="0" y="149870"/>
                    <a:pt x="8090" y="117938"/>
                    <a:pt x="24269" y="89837"/>
                  </a:cubicBezTo>
                  <a:cubicBezTo>
                    <a:pt x="40448" y="61736"/>
                    <a:pt x="62162" y="39596"/>
                    <a:pt x="89837" y="23843"/>
                  </a:cubicBezTo>
                  <a:cubicBezTo>
                    <a:pt x="117512" y="8090"/>
                    <a:pt x="148167" y="0"/>
                    <a:pt x="181803" y="0"/>
                  </a:cubicBezTo>
                  <a:cubicBezTo>
                    <a:pt x="215438" y="0"/>
                    <a:pt x="246519" y="8090"/>
                    <a:pt x="274194" y="23843"/>
                  </a:cubicBezTo>
                  <a:cubicBezTo>
                    <a:pt x="301869" y="39596"/>
                    <a:pt x="323583" y="61311"/>
                    <a:pt x="339763" y="89411"/>
                  </a:cubicBezTo>
                  <a:cubicBezTo>
                    <a:pt x="355942" y="117512"/>
                    <a:pt x="363606" y="149444"/>
                    <a:pt x="363606" y="184783"/>
                  </a:cubicBezTo>
                  <a:cubicBezTo>
                    <a:pt x="363606" y="220122"/>
                    <a:pt x="355516" y="252054"/>
                    <a:pt x="339763" y="280155"/>
                  </a:cubicBezTo>
                  <a:cubicBezTo>
                    <a:pt x="324009" y="308256"/>
                    <a:pt x="301869" y="330396"/>
                    <a:pt x="274194" y="345723"/>
                  </a:cubicBezTo>
                  <a:cubicBezTo>
                    <a:pt x="246519" y="361477"/>
                    <a:pt x="215864" y="369140"/>
                    <a:pt x="181803" y="369140"/>
                  </a:cubicBezTo>
                  <a:cubicBezTo>
                    <a:pt x="147741" y="369140"/>
                    <a:pt x="117086" y="362328"/>
                    <a:pt x="89837" y="346575"/>
                  </a:cubicBezTo>
                  <a:moveTo>
                    <a:pt x="249926" y="311236"/>
                  </a:moveTo>
                  <a:cubicBezTo>
                    <a:pt x="269937" y="299315"/>
                    <a:pt x="286116" y="282710"/>
                    <a:pt x="297612" y="260995"/>
                  </a:cubicBezTo>
                  <a:cubicBezTo>
                    <a:pt x="309107" y="239281"/>
                    <a:pt x="315068" y="213735"/>
                    <a:pt x="315068" y="185209"/>
                  </a:cubicBezTo>
                  <a:cubicBezTo>
                    <a:pt x="315068" y="156682"/>
                    <a:pt x="309107" y="130711"/>
                    <a:pt x="297612" y="108997"/>
                  </a:cubicBezTo>
                  <a:cubicBezTo>
                    <a:pt x="286116" y="87282"/>
                    <a:pt x="270362" y="70677"/>
                    <a:pt x="249926" y="58756"/>
                  </a:cubicBezTo>
                  <a:cubicBezTo>
                    <a:pt x="229489" y="46834"/>
                    <a:pt x="206923" y="40874"/>
                    <a:pt x="181377" y="40874"/>
                  </a:cubicBezTo>
                  <a:cubicBezTo>
                    <a:pt x="155831" y="40874"/>
                    <a:pt x="132839" y="46834"/>
                    <a:pt x="112828" y="58756"/>
                  </a:cubicBezTo>
                  <a:cubicBezTo>
                    <a:pt x="92817" y="70677"/>
                    <a:pt x="77064" y="87282"/>
                    <a:pt x="65142" y="108997"/>
                  </a:cubicBezTo>
                  <a:cubicBezTo>
                    <a:pt x="53647" y="130711"/>
                    <a:pt x="47686" y="155831"/>
                    <a:pt x="47686" y="185209"/>
                  </a:cubicBezTo>
                  <a:cubicBezTo>
                    <a:pt x="47686" y="214587"/>
                    <a:pt x="53647" y="238856"/>
                    <a:pt x="65142" y="260995"/>
                  </a:cubicBezTo>
                  <a:cubicBezTo>
                    <a:pt x="76638" y="282710"/>
                    <a:pt x="92392" y="299740"/>
                    <a:pt x="112828" y="311236"/>
                  </a:cubicBezTo>
                  <a:cubicBezTo>
                    <a:pt x="132839" y="323158"/>
                    <a:pt x="155831" y="329118"/>
                    <a:pt x="180951" y="329118"/>
                  </a:cubicBezTo>
                  <a:cubicBezTo>
                    <a:pt x="206072" y="329118"/>
                    <a:pt x="229489" y="323158"/>
                    <a:pt x="249926" y="311236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DDC471D3-027C-A633-C51E-B1544679D20B}"/>
                </a:ext>
              </a:extLst>
            </p:cNvPr>
            <p:cNvSpPr/>
            <p:nvPr/>
          </p:nvSpPr>
          <p:spPr>
            <a:xfrm>
              <a:off x="5978481" y="4397973"/>
              <a:ext cx="348703" cy="369991"/>
            </a:xfrm>
            <a:custGeom>
              <a:avLst/>
              <a:gdLst>
                <a:gd name="connsiteX0" fmla="*/ 24269 w 348703"/>
                <a:gd name="connsiteY0" fmla="*/ 90263 h 369991"/>
                <a:gd name="connsiteX1" fmla="*/ 89411 w 348703"/>
                <a:gd name="connsiteY1" fmla="*/ 23843 h 369991"/>
                <a:gd name="connsiteX2" fmla="*/ 181377 w 348703"/>
                <a:gd name="connsiteY2" fmla="*/ 0 h 369991"/>
                <a:gd name="connsiteX3" fmla="*/ 284413 w 348703"/>
                <a:gd name="connsiteY3" fmla="*/ 28526 h 369991"/>
                <a:gd name="connsiteX4" fmla="*/ 348704 w 348703"/>
                <a:gd name="connsiteY4" fmla="*/ 109422 h 369991"/>
                <a:gd name="connsiteX5" fmla="*/ 292077 w 348703"/>
                <a:gd name="connsiteY5" fmla="*/ 109422 h 369991"/>
                <a:gd name="connsiteX6" fmla="*/ 248648 w 348703"/>
                <a:gd name="connsiteY6" fmla="*/ 59182 h 369991"/>
                <a:gd name="connsiteX7" fmla="*/ 180951 w 348703"/>
                <a:gd name="connsiteY7" fmla="*/ 41299 h 369991"/>
                <a:gd name="connsiteX8" fmla="*/ 112828 w 348703"/>
                <a:gd name="connsiteY8" fmla="*/ 59182 h 369991"/>
                <a:gd name="connsiteX9" fmla="*/ 65568 w 348703"/>
                <a:gd name="connsiteY9" fmla="*/ 109422 h 369991"/>
                <a:gd name="connsiteX10" fmla="*/ 48538 w 348703"/>
                <a:gd name="connsiteY10" fmla="*/ 185635 h 369991"/>
                <a:gd name="connsiteX11" fmla="*/ 65568 w 348703"/>
                <a:gd name="connsiteY11" fmla="*/ 260995 h 369991"/>
                <a:gd name="connsiteX12" fmla="*/ 112828 w 348703"/>
                <a:gd name="connsiteY12" fmla="*/ 311236 h 369991"/>
                <a:gd name="connsiteX13" fmla="*/ 180951 w 348703"/>
                <a:gd name="connsiteY13" fmla="*/ 329118 h 369991"/>
                <a:gd name="connsiteX14" fmla="*/ 248648 w 348703"/>
                <a:gd name="connsiteY14" fmla="*/ 311662 h 369991"/>
                <a:gd name="connsiteX15" fmla="*/ 292077 w 348703"/>
                <a:gd name="connsiteY15" fmla="*/ 261421 h 369991"/>
                <a:gd name="connsiteX16" fmla="*/ 348704 w 348703"/>
                <a:gd name="connsiteY16" fmla="*/ 261421 h 369991"/>
                <a:gd name="connsiteX17" fmla="*/ 284413 w 348703"/>
                <a:gd name="connsiteY17" fmla="*/ 341891 h 369991"/>
                <a:gd name="connsiteX18" fmla="*/ 181377 w 348703"/>
                <a:gd name="connsiteY18" fmla="*/ 369992 h 369991"/>
                <a:gd name="connsiteX19" fmla="*/ 89411 w 348703"/>
                <a:gd name="connsiteY19" fmla="*/ 346575 h 369991"/>
                <a:gd name="connsiteX20" fmla="*/ 23843 w 348703"/>
                <a:gd name="connsiteY20" fmla="*/ 281007 h 369991"/>
                <a:gd name="connsiteX21" fmla="*/ 0 w 348703"/>
                <a:gd name="connsiteY21" fmla="*/ 186060 h 369991"/>
                <a:gd name="connsiteX22" fmla="*/ 24269 w 348703"/>
                <a:gd name="connsiteY22" fmla="*/ 90263 h 36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8703" h="369991">
                  <a:moveTo>
                    <a:pt x="24269" y="90263"/>
                  </a:moveTo>
                  <a:cubicBezTo>
                    <a:pt x="40448" y="62162"/>
                    <a:pt x="61736" y="40022"/>
                    <a:pt x="89411" y="23843"/>
                  </a:cubicBezTo>
                  <a:cubicBezTo>
                    <a:pt x="117086" y="7664"/>
                    <a:pt x="147316" y="0"/>
                    <a:pt x="181377" y="0"/>
                  </a:cubicBezTo>
                  <a:cubicBezTo>
                    <a:pt x="220973" y="0"/>
                    <a:pt x="255461" y="9367"/>
                    <a:pt x="284413" y="28526"/>
                  </a:cubicBezTo>
                  <a:cubicBezTo>
                    <a:pt x="313791" y="47686"/>
                    <a:pt x="335079" y="74935"/>
                    <a:pt x="348704" y="109422"/>
                  </a:cubicBezTo>
                  <a:lnTo>
                    <a:pt x="292077" y="109422"/>
                  </a:lnTo>
                  <a:cubicBezTo>
                    <a:pt x="281858" y="87708"/>
                    <a:pt x="267808" y="70677"/>
                    <a:pt x="248648" y="59182"/>
                  </a:cubicBezTo>
                  <a:cubicBezTo>
                    <a:pt x="229915" y="47260"/>
                    <a:pt x="207349" y="41299"/>
                    <a:pt x="180951" y="41299"/>
                  </a:cubicBezTo>
                  <a:cubicBezTo>
                    <a:pt x="154554" y="41299"/>
                    <a:pt x="132839" y="47260"/>
                    <a:pt x="112828" y="59182"/>
                  </a:cubicBezTo>
                  <a:cubicBezTo>
                    <a:pt x="92817" y="71103"/>
                    <a:pt x="77064" y="87708"/>
                    <a:pt x="65568" y="109422"/>
                  </a:cubicBezTo>
                  <a:cubicBezTo>
                    <a:pt x="54072" y="131136"/>
                    <a:pt x="48538" y="156257"/>
                    <a:pt x="48538" y="185635"/>
                  </a:cubicBezTo>
                  <a:cubicBezTo>
                    <a:pt x="48538" y="215013"/>
                    <a:pt x="54072" y="239281"/>
                    <a:pt x="65568" y="260995"/>
                  </a:cubicBezTo>
                  <a:cubicBezTo>
                    <a:pt x="77064" y="282710"/>
                    <a:pt x="92817" y="299315"/>
                    <a:pt x="112828" y="311236"/>
                  </a:cubicBezTo>
                  <a:cubicBezTo>
                    <a:pt x="132839" y="323158"/>
                    <a:pt x="155405" y="329118"/>
                    <a:pt x="180951" y="329118"/>
                  </a:cubicBezTo>
                  <a:cubicBezTo>
                    <a:pt x="206497" y="329118"/>
                    <a:pt x="229915" y="323158"/>
                    <a:pt x="248648" y="311662"/>
                  </a:cubicBezTo>
                  <a:cubicBezTo>
                    <a:pt x="267382" y="300166"/>
                    <a:pt x="281858" y="283561"/>
                    <a:pt x="292077" y="261421"/>
                  </a:cubicBezTo>
                  <a:lnTo>
                    <a:pt x="348704" y="261421"/>
                  </a:lnTo>
                  <a:cubicBezTo>
                    <a:pt x="335079" y="296334"/>
                    <a:pt x="313791" y="323158"/>
                    <a:pt x="284413" y="341891"/>
                  </a:cubicBezTo>
                  <a:cubicBezTo>
                    <a:pt x="255035" y="360625"/>
                    <a:pt x="220548" y="369992"/>
                    <a:pt x="181377" y="369992"/>
                  </a:cubicBezTo>
                  <a:cubicBezTo>
                    <a:pt x="147741" y="369992"/>
                    <a:pt x="117086" y="361902"/>
                    <a:pt x="89411" y="346575"/>
                  </a:cubicBezTo>
                  <a:cubicBezTo>
                    <a:pt x="62162" y="330821"/>
                    <a:pt x="40022" y="309107"/>
                    <a:pt x="23843" y="281007"/>
                  </a:cubicBezTo>
                  <a:cubicBezTo>
                    <a:pt x="7664" y="252906"/>
                    <a:pt x="0" y="221399"/>
                    <a:pt x="0" y="186060"/>
                  </a:cubicBezTo>
                  <a:cubicBezTo>
                    <a:pt x="0" y="150722"/>
                    <a:pt x="8090" y="118363"/>
                    <a:pt x="24269" y="90263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676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861965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550862" y="2059201"/>
            <a:ext cx="11088000" cy="42495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sz="1200" dirty="0"/>
            </a:lvl3pPr>
            <a:lvl4pPr>
              <a:defRPr lang="en-US" dirty="0"/>
            </a:lvl4pPr>
          </a:lstStyle>
          <a:p>
            <a:pPr lvl="0"/>
            <a:r>
              <a:rPr lang="en-US" dirty="0"/>
              <a:t>CHAPTER</a:t>
            </a:r>
          </a:p>
          <a:p>
            <a:pPr marL="216000" lvl="1" indent="-216000"/>
            <a:r>
              <a:rPr lang="en-US" dirty="0"/>
              <a:t>Chapter 1.1</a:t>
            </a:r>
          </a:p>
          <a:p>
            <a:pPr marL="432000" lvl="2" indent="-216000"/>
            <a:r>
              <a:rPr lang="en-US" dirty="0"/>
              <a:t>Chapter 1.1.1</a:t>
            </a:r>
          </a:p>
          <a:p>
            <a:pPr lvl="3"/>
            <a:r>
              <a:rPr lang="en-US" dirty="0"/>
              <a:t>Chapter 1.1.1.1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0F528328-15E4-4408-B847-FB31F83032F5}"/>
              </a:ext>
            </a:extLst>
          </p:cNvPr>
          <p:cNvCxnSpPr>
            <a:cxnSpLocks/>
          </p:cNvCxnSpPr>
          <p:nvPr/>
        </p:nvCxnSpPr>
        <p:spPr>
          <a:xfrm>
            <a:off x="0" y="1872000"/>
            <a:ext cx="17280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E0D27AD-6988-4A24-8513-B891D6AAC3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384" y="1348383"/>
            <a:ext cx="3888432" cy="352425"/>
          </a:xfrm>
          <a:prstGeom prst="rect">
            <a:avLst/>
          </a:prstGeom>
        </p:spPr>
        <p:txBody>
          <a:bodyPr vert="horz" lIns="0" tIns="0" rIns="144000" bIns="0" rtlCol="0" anchor="b">
            <a:noAutofit/>
          </a:bodyPr>
          <a:lstStyle>
            <a:lvl1pPr rtl="0">
              <a:defRPr lang="en-US" sz="2400" cap="all" baseline="0" dirty="0"/>
            </a:lvl1pPr>
          </a:lstStyle>
          <a:p>
            <a:pPr lvl="0"/>
            <a:r>
              <a:rPr lang="en-US" noProof="0"/>
              <a:t>Placeholder: „AGENDA“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52A98DEF-6621-400C-843B-A0A0DF2D58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Source/Note: </a:t>
            </a:r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EFBEDC77-6BAF-4162-B203-56D1D8B3E9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557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_Slide">
    <p:bg>
      <p:bgPr>
        <a:gradFill flip="none" rotWithShape="1">
          <a:gsLst>
            <a:gs pos="10000">
              <a:schemeClr val="bg1">
                <a:lumMod val="75000"/>
                <a:lumOff val="25000"/>
              </a:schemeClr>
            </a:gs>
            <a:gs pos="43000">
              <a:schemeClr val="bg1">
                <a:lumMod val="80000"/>
                <a:lumOff val="20000"/>
              </a:schemeClr>
            </a:gs>
            <a:gs pos="100000">
              <a:schemeClr val="bg1"/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BD21B3A-22DF-4AC5-AD56-2FB5FF878F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7089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BD21B3A-22DF-4AC5-AD56-2FB5FF878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phic 8">
            <a:extLst>
              <a:ext uri="{FF2B5EF4-FFF2-40B4-BE49-F238E27FC236}">
                <a16:creationId xmlns:a16="http://schemas.microsoft.com/office/drawing/2014/main" id="{6A4E8737-FEDA-82B6-736A-8BA957838FC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b="47875"/>
          <a:stretch>
            <a:fillRect/>
          </a:stretch>
        </p:blipFill>
        <p:spPr>
          <a:xfrm>
            <a:off x="1" y="4366420"/>
            <a:ext cx="12192000" cy="2491581"/>
          </a:xfrm>
          <a:custGeom>
            <a:avLst/>
            <a:gdLst>
              <a:gd name="connsiteX0" fmla="*/ 0 w 12192000"/>
              <a:gd name="connsiteY0" fmla="*/ 0 h 2491581"/>
              <a:gd name="connsiteX1" fmla="*/ 12192000 w 12192000"/>
              <a:gd name="connsiteY1" fmla="*/ 0 h 2491581"/>
              <a:gd name="connsiteX2" fmla="*/ 12192000 w 12192000"/>
              <a:gd name="connsiteY2" fmla="*/ 2491581 h 2491581"/>
              <a:gd name="connsiteX3" fmla="*/ 0 w 12192000"/>
              <a:gd name="connsiteY3" fmla="*/ 2491581 h 2491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491581">
                <a:moveTo>
                  <a:pt x="0" y="0"/>
                </a:moveTo>
                <a:lnTo>
                  <a:pt x="12192000" y="0"/>
                </a:lnTo>
                <a:lnTo>
                  <a:pt x="12192000" y="2491581"/>
                </a:lnTo>
                <a:lnTo>
                  <a:pt x="0" y="2491581"/>
                </a:lnTo>
                <a:close/>
              </a:path>
            </a:pathLst>
          </a:cu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6FDEA5AD-5903-D85D-4C36-F173682B5C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38508" y="840326"/>
            <a:ext cx="702000" cy="267011"/>
            <a:chOff x="5975501" y="3608175"/>
            <a:chExt cx="3050378" cy="1160231"/>
          </a:xfrm>
          <a:solidFill>
            <a:schemeClr val="tx1"/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14685EDB-ED11-90DF-FC70-BE1953C7579A}"/>
                </a:ext>
              </a:extLst>
            </p:cNvPr>
            <p:cNvSpPr/>
            <p:nvPr/>
          </p:nvSpPr>
          <p:spPr>
            <a:xfrm>
              <a:off x="7098250" y="3614987"/>
              <a:ext cx="608847" cy="620768"/>
            </a:xfrm>
            <a:custGeom>
              <a:avLst/>
              <a:gdLst>
                <a:gd name="connsiteX0" fmla="*/ 369141 w 608847"/>
                <a:gd name="connsiteY0" fmla="*/ 620769 h 620768"/>
                <a:gd name="connsiteX1" fmla="*/ 608848 w 608847"/>
                <a:gd name="connsiteY1" fmla="*/ 0 h 620768"/>
                <a:gd name="connsiteX2" fmla="*/ 485375 w 608847"/>
                <a:gd name="connsiteY2" fmla="*/ 0 h 620768"/>
                <a:gd name="connsiteX3" fmla="*/ 304424 w 608847"/>
                <a:gd name="connsiteY3" fmla="*/ 467493 h 620768"/>
                <a:gd name="connsiteX4" fmla="*/ 123473 w 608847"/>
                <a:gd name="connsiteY4" fmla="*/ 0 h 620768"/>
                <a:gd name="connsiteX5" fmla="*/ 0 w 608847"/>
                <a:gd name="connsiteY5" fmla="*/ 0 h 620768"/>
                <a:gd name="connsiteX6" fmla="*/ 240133 w 608847"/>
                <a:gd name="connsiteY6" fmla="*/ 620769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8847" h="620768">
                  <a:moveTo>
                    <a:pt x="369141" y="620769"/>
                  </a:moveTo>
                  <a:lnTo>
                    <a:pt x="608848" y="0"/>
                  </a:lnTo>
                  <a:lnTo>
                    <a:pt x="485375" y="0"/>
                  </a:lnTo>
                  <a:lnTo>
                    <a:pt x="304424" y="467493"/>
                  </a:lnTo>
                  <a:lnTo>
                    <a:pt x="123473" y="0"/>
                  </a:lnTo>
                  <a:lnTo>
                    <a:pt x="0" y="0"/>
                  </a:lnTo>
                  <a:lnTo>
                    <a:pt x="240133" y="620769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B120707-1BF4-E515-64A8-BD11E64A47C3}"/>
                </a:ext>
              </a:extLst>
            </p:cNvPr>
            <p:cNvSpPr/>
            <p:nvPr/>
          </p:nvSpPr>
          <p:spPr>
            <a:xfrm>
              <a:off x="5975501" y="3614987"/>
              <a:ext cx="505386" cy="620768"/>
            </a:xfrm>
            <a:custGeom>
              <a:avLst/>
              <a:gdLst>
                <a:gd name="connsiteX0" fmla="*/ 505386 w 505386"/>
                <a:gd name="connsiteY0" fmla="*/ 114957 h 620768"/>
                <a:gd name="connsiteX1" fmla="*/ 505386 w 505386"/>
                <a:gd name="connsiteY1" fmla="*/ 0 h 620768"/>
                <a:gd name="connsiteX2" fmla="*/ 144335 w 505386"/>
                <a:gd name="connsiteY2" fmla="*/ 0 h 620768"/>
                <a:gd name="connsiteX3" fmla="*/ 0 w 505386"/>
                <a:gd name="connsiteY3" fmla="*/ 144335 h 620768"/>
                <a:gd name="connsiteX4" fmla="*/ 0 w 505386"/>
                <a:gd name="connsiteY4" fmla="*/ 620769 h 620768"/>
                <a:gd name="connsiteX5" fmla="*/ 115809 w 505386"/>
                <a:gd name="connsiteY5" fmla="*/ 620769 h 620768"/>
                <a:gd name="connsiteX6" fmla="*/ 115809 w 505386"/>
                <a:gd name="connsiteY6" fmla="*/ 389577 h 620768"/>
                <a:gd name="connsiteX7" fmla="*/ 389577 w 505386"/>
                <a:gd name="connsiteY7" fmla="*/ 389577 h 620768"/>
                <a:gd name="connsiteX8" fmla="*/ 389577 w 505386"/>
                <a:gd name="connsiteY8" fmla="*/ 288670 h 620768"/>
                <a:gd name="connsiteX9" fmla="*/ 115383 w 505386"/>
                <a:gd name="connsiteY9" fmla="*/ 288670 h 620768"/>
                <a:gd name="connsiteX10" fmla="*/ 115383 w 505386"/>
                <a:gd name="connsiteY10" fmla="*/ 144335 h 620768"/>
                <a:gd name="connsiteX11" fmla="*/ 143909 w 505386"/>
                <a:gd name="connsiteY11" fmla="*/ 115809 h 620768"/>
                <a:gd name="connsiteX12" fmla="*/ 504960 w 505386"/>
                <a:gd name="connsiteY12" fmla="*/ 115809 h 620768"/>
                <a:gd name="connsiteX13" fmla="*/ 504960 w 505386"/>
                <a:gd name="connsiteY13" fmla="*/ 114957 h 620768"/>
                <a:gd name="connsiteX14" fmla="*/ 505386 w 505386"/>
                <a:gd name="connsiteY14" fmla="*/ 114957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5386" h="620768">
                  <a:moveTo>
                    <a:pt x="505386" y="114957"/>
                  </a:moveTo>
                  <a:lnTo>
                    <a:pt x="505386" y="0"/>
                  </a:lnTo>
                  <a:lnTo>
                    <a:pt x="144335" y="0"/>
                  </a:lnTo>
                  <a:cubicBezTo>
                    <a:pt x="64717" y="0"/>
                    <a:pt x="0" y="64717"/>
                    <a:pt x="0" y="144335"/>
                  </a:cubicBezTo>
                  <a:lnTo>
                    <a:pt x="0" y="620769"/>
                  </a:lnTo>
                  <a:lnTo>
                    <a:pt x="115809" y="620769"/>
                  </a:lnTo>
                  <a:lnTo>
                    <a:pt x="115809" y="389577"/>
                  </a:lnTo>
                  <a:lnTo>
                    <a:pt x="389577" y="389577"/>
                  </a:lnTo>
                  <a:lnTo>
                    <a:pt x="389577" y="288670"/>
                  </a:lnTo>
                  <a:lnTo>
                    <a:pt x="115383" y="288670"/>
                  </a:lnTo>
                  <a:lnTo>
                    <a:pt x="115383" y="144335"/>
                  </a:lnTo>
                  <a:cubicBezTo>
                    <a:pt x="115383" y="128582"/>
                    <a:pt x="128156" y="115809"/>
                    <a:pt x="143909" y="115809"/>
                  </a:cubicBezTo>
                  <a:lnTo>
                    <a:pt x="504960" y="115809"/>
                  </a:lnTo>
                  <a:lnTo>
                    <a:pt x="504960" y="114957"/>
                  </a:lnTo>
                  <a:lnTo>
                    <a:pt x="505386" y="114957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BB2E36E-1434-7338-0E5D-363A46993412}"/>
                </a:ext>
              </a:extLst>
            </p:cNvPr>
            <p:cNvSpPr/>
            <p:nvPr/>
          </p:nvSpPr>
          <p:spPr>
            <a:xfrm>
              <a:off x="6487699" y="3608175"/>
              <a:ext cx="625452" cy="635245"/>
            </a:xfrm>
            <a:custGeom>
              <a:avLst/>
              <a:gdLst>
                <a:gd name="connsiteX0" fmla="*/ 503257 w 625452"/>
                <a:gd name="connsiteY0" fmla="*/ 395964 h 635245"/>
                <a:gd name="connsiteX1" fmla="*/ 317197 w 625452"/>
                <a:gd name="connsiteY1" fmla="*/ 518585 h 635245"/>
                <a:gd name="connsiteX2" fmla="*/ 172862 w 625452"/>
                <a:gd name="connsiteY2" fmla="*/ 458126 h 635245"/>
                <a:gd name="connsiteX3" fmla="*/ 512198 w 625452"/>
                <a:gd name="connsiteY3" fmla="*/ 262699 h 635245"/>
                <a:gd name="connsiteX4" fmla="*/ 614383 w 625452"/>
                <a:gd name="connsiteY4" fmla="*/ 203943 h 635245"/>
                <a:gd name="connsiteX5" fmla="*/ 563716 w 625452"/>
                <a:gd name="connsiteY5" fmla="*/ 116660 h 635245"/>
                <a:gd name="connsiteX6" fmla="*/ 317623 w 625452"/>
                <a:gd name="connsiteY6" fmla="*/ 0 h 635245"/>
                <a:gd name="connsiteX7" fmla="*/ 0 w 625452"/>
                <a:gd name="connsiteY7" fmla="*/ 317623 h 635245"/>
                <a:gd name="connsiteX8" fmla="*/ 20863 w 625452"/>
                <a:gd name="connsiteY8" fmla="*/ 430877 h 635245"/>
                <a:gd name="connsiteX9" fmla="*/ 71529 w 625452"/>
                <a:gd name="connsiteY9" fmla="*/ 518159 h 635245"/>
                <a:gd name="connsiteX10" fmla="*/ 317623 w 625452"/>
                <a:gd name="connsiteY10" fmla="*/ 635245 h 635245"/>
                <a:gd name="connsiteX11" fmla="*/ 625453 w 625452"/>
                <a:gd name="connsiteY11" fmla="*/ 397241 h 635245"/>
                <a:gd name="connsiteX12" fmla="*/ 503257 w 625452"/>
                <a:gd name="connsiteY12" fmla="*/ 395964 h 635245"/>
                <a:gd name="connsiteX13" fmla="*/ 503257 w 625452"/>
                <a:gd name="connsiteY13" fmla="*/ 395964 h 635245"/>
                <a:gd name="connsiteX14" fmla="*/ 115383 w 625452"/>
                <a:gd name="connsiteY14" fmla="*/ 316771 h 635245"/>
                <a:gd name="connsiteX15" fmla="*/ 317623 w 625452"/>
                <a:gd name="connsiteY15" fmla="*/ 114531 h 635245"/>
                <a:gd name="connsiteX16" fmla="*/ 461958 w 625452"/>
                <a:gd name="connsiteY16" fmla="*/ 174990 h 635245"/>
                <a:gd name="connsiteX17" fmla="*/ 123047 w 625452"/>
                <a:gd name="connsiteY17" fmla="*/ 370844 h 635245"/>
                <a:gd name="connsiteX18" fmla="*/ 115383 w 625452"/>
                <a:gd name="connsiteY18" fmla="*/ 316771 h 63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5452" h="635245">
                  <a:moveTo>
                    <a:pt x="503257" y="395964"/>
                  </a:moveTo>
                  <a:cubicBezTo>
                    <a:pt x="472602" y="467918"/>
                    <a:pt x="401073" y="518585"/>
                    <a:pt x="317197" y="518585"/>
                  </a:cubicBezTo>
                  <a:cubicBezTo>
                    <a:pt x="260570" y="518585"/>
                    <a:pt x="209478" y="495593"/>
                    <a:pt x="172862" y="458126"/>
                  </a:cubicBezTo>
                  <a:lnTo>
                    <a:pt x="512198" y="262699"/>
                  </a:lnTo>
                  <a:lnTo>
                    <a:pt x="614383" y="203943"/>
                  </a:lnTo>
                  <a:cubicBezTo>
                    <a:pt x="602035" y="172010"/>
                    <a:pt x="585005" y="142632"/>
                    <a:pt x="563716" y="116660"/>
                  </a:cubicBezTo>
                  <a:cubicBezTo>
                    <a:pt x="505812" y="45131"/>
                    <a:pt x="417252" y="0"/>
                    <a:pt x="317623" y="0"/>
                  </a:cubicBezTo>
                  <a:cubicBezTo>
                    <a:pt x="142206" y="0"/>
                    <a:pt x="0" y="142206"/>
                    <a:pt x="0" y="317623"/>
                  </a:cubicBezTo>
                  <a:cubicBezTo>
                    <a:pt x="0" y="357219"/>
                    <a:pt x="7238" y="395538"/>
                    <a:pt x="20863" y="430877"/>
                  </a:cubicBezTo>
                  <a:cubicBezTo>
                    <a:pt x="33210" y="462809"/>
                    <a:pt x="50241" y="492187"/>
                    <a:pt x="71529" y="518159"/>
                  </a:cubicBezTo>
                  <a:cubicBezTo>
                    <a:pt x="129859" y="589688"/>
                    <a:pt x="218419" y="635245"/>
                    <a:pt x="317623" y="635245"/>
                  </a:cubicBezTo>
                  <a:cubicBezTo>
                    <a:pt x="465790" y="635245"/>
                    <a:pt x="589688" y="534338"/>
                    <a:pt x="625453" y="397241"/>
                  </a:cubicBezTo>
                  <a:lnTo>
                    <a:pt x="503257" y="395964"/>
                  </a:lnTo>
                  <a:lnTo>
                    <a:pt x="503257" y="395964"/>
                  </a:lnTo>
                  <a:close/>
                  <a:moveTo>
                    <a:pt x="115383" y="316771"/>
                  </a:moveTo>
                  <a:cubicBezTo>
                    <a:pt x="115383" y="205220"/>
                    <a:pt x="206072" y="114531"/>
                    <a:pt x="317623" y="114531"/>
                  </a:cubicBezTo>
                  <a:cubicBezTo>
                    <a:pt x="374250" y="114531"/>
                    <a:pt x="425342" y="137523"/>
                    <a:pt x="461958" y="174990"/>
                  </a:cubicBezTo>
                  <a:lnTo>
                    <a:pt x="123047" y="370844"/>
                  </a:lnTo>
                  <a:cubicBezTo>
                    <a:pt x="118363" y="353813"/>
                    <a:pt x="115383" y="335931"/>
                    <a:pt x="115383" y="316771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86E3FA6-5413-D61E-D889-6A2CC1FE38BC}"/>
                </a:ext>
              </a:extLst>
            </p:cNvPr>
            <p:cNvSpPr/>
            <p:nvPr/>
          </p:nvSpPr>
          <p:spPr>
            <a:xfrm>
              <a:off x="8659524" y="4396917"/>
              <a:ext cx="366355" cy="371489"/>
            </a:xfrm>
            <a:custGeom>
              <a:avLst/>
              <a:gdLst>
                <a:gd name="connsiteX0" fmla="*/ 242704 w 366355"/>
                <a:gd name="connsiteY0" fmla="*/ 64921 h 371489"/>
                <a:gd name="connsiteX1" fmla="*/ 180542 w 366355"/>
                <a:gd name="connsiteY1" fmla="*/ 44059 h 371489"/>
                <a:gd name="connsiteX2" fmla="*/ 114122 w 366355"/>
                <a:gd name="connsiteY2" fmla="*/ 61941 h 371489"/>
                <a:gd name="connsiteX3" fmla="*/ 63881 w 366355"/>
                <a:gd name="connsiteY3" fmla="*/ 111330 h 371489"/>
                <a:gd name="connsiteX4" fmla="*/ 47702 w 366355"/>
                <a:gd name="connsiteY4" fmla="*/ 178601 h 371489"/>
                <a:gd name="connsiteX5" fmla="*/ 70268 w 366355"/>
                <a:gd name="connsiteY5" fmla="*/ 252259 h 371489"/>
                <a:gd name="connsiteX6" fmla="*/ 122637 w 366355"/>
                <a:gd name="connsiteY6" fmla="*/ 308460 h 371489"/>
                <a:gd name="connsiteX7" fmla="*/ 188631 w 366355"/>
                <a:gd name="connsiteY7" fmla="*/ 327620 h 371489"/>
                <a:gd name="connsiteX8" fmla="*/ 256328 w 366355"/>
                <a:gd name="connsiteY8" fmla="*/ 308460 h 371489"/>
                <a:gd name="connsiteX9" fmla="*/ 315936 w 366355"/>
                <a:gd name="connsiteY9" fmla="*/ 237357 h 371489"/>
                <a:gd name="connsiteX10" fmla="*/ 307420 w 366355"/>
                <a:gd name="connsiteY10" fmla="*/ 143262 h 371489"/>
                <a:gd name="connsiteX11" fmla="*/ 182245 w 366355"/>
                <a:gd name="connsiteY11" fmla="*/ 215643 h 371489"/>
                <a:gd name="connsiteX12" fmla="*/ 163085 w 366355"/>
                <a:gd name="connsiteY12" fmla="*/ 182433 h 371489"/>
                <a:gd name="connsiteX13" fmla="*/ 331689 w 366355"/>
                <a:gd name="connsiteY13" fmla="*/ 84932 h 371489"/>
                <a:gd name="connsiteX14" fmla="*/ 349571 w 366355"/>
                <a:gd name="connsiteY14" fmla="*/ 116439 h 371489"/>
                <a:gd name="connsiteX15" fmla="*/ 366176 w 366355"/>
                <a:gd name="connsiteY15" fmla="*/ 201167 h 371489"/>
                <a:gd name="connsiteX16" fmla="*/ 341056 w 366355"/>
                <a:gd name="connsiteY16" fmla="*/ 283766 h 371489"/>
                <a:gd name="connsiteX17" fmla="*/ 276765 w 366355"/>
                <a:gd name="connsiteY17" fmla="*/ 345928 h 371489"/>
                <a:gd name="connsiteX18" fmla="*/ 185225 w 366355"/>
                <a:gd name="connsiteY18" fmla="*/ 371474 h 371489"/>
                <a:gd name="connsiteX19" fmla="*/ 95388 w 366355"/>
                <a:gd name="connsiteY19" fmla="*/ 347631 h 371489"/>
                <a:gd name="connsiteX20" fmla="*/ 26840 w 366355"/>
                <a:gd name="connsiteY20" fmla="*/ 277379 h 371489"/>
                <a:gd name="connsiteX21" fmla="*/ 16 w 366355"/>
                <a:gd name="connsiteY21" fmla="*/ 182859 h 371489"/>
                <a:gd name="connsiteX22" fmla="*/ 23859 w 366355"/>
                <a:gd name="connsiteY22" fmla="*/ 93022 h 371489"/>
                <a:gd name="connsiteX23" fmla="*/ 91556 w 366355"/>
                <a:gd name="connsiteY23" fmla="*/ 26602 h 371489"/>
                <a:gd name="connsiteX24" fmla="*/ 194166 w 366355"/>
                <a:gd name="connsiteY24" fmla="*/ 205 h 371489"/>
                <a:gd name="connsiteX25" fmla="*/ 290390 w 366355"/>
                <a:gd name="connsiteY25" fmla="*/ 37672 h 371489"/>
                <a:gd name="connsiteX26" fmla="*/ 242704 w 366355"/>
                <a:gd name="connsiteY26" fmla="*/ 64921 h 371489"/>
                <a:gd name="connsiteX27" fmla="*/ 242704 w 366355"/>
                <a:gd name="connsiteY27" fmla="*/ 64921 h 37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6355" h="371489">
                  <a:moveTo>
                    <a:pt x="242704" y="64921"/>
                  </a:moveTo>
                  <a:cubicBezTo>
                    <a:pt x="223544" y="51722"/>
                    <a:pt x="202682" y="44910"/>
                    <a:pt x="180542" y="44059"/>
                  </a:cubicBezTo>
                  <a:cubicBezTo>
                    <a:pt x="158402" y="43633"/>
                    <a:pt x="135836" y="49594"/>
                    <a:pt x="114122" y="61941"/>
                  </a:cubicBezTo>
                  <a:cubicBezTo>
                    <a:pt x="92408" y="74288"/>
                    <a:pt x="75377" y="91319"/>
                    <a:pt x="63881" y="111330"/>
                  </a:cubicBezTo>
                  <a:cubicBezTo>
                    <a:pt x="52386" y="131341"/>
                    <a:pt x="46425" y="153907"/>
                    <a:pt x="47702" y="178601"/>
                  </a:cubicBezTo>
                  <a:cubicBezTo>
                    <a:pt x="48554" y="203296"/>
                    <a:pt x="56217" y="227564"/>
                    <a:pt x="70268" y="252259"/>
                  </a:cubicBezTo>
                  <a:cubicBezTo>
                    <a:pt x="84318" y="276953"/>
                    <a:pt x="101775" y="295687"/>
                    <a:pt x="122637" y="308460"/>
                  </a:cubicBezTo>
                  <a:cubicBezTo>
                    <a:pt x="143500" y="321233"/>
                    <a:pt x="165214" y="327620"/>
                    <a:pt x="188631" y="327620"/>
                  </a:cubicBezTo>
                  <a:cubicBezTo>
                    <a:pt x="212048" y="327620"/>
                    <a:pt x="234614" y="321233"/>
                    <a:pt x="256328" y="308460"/>
                  </a:cubicBezTo>
                  <a:cubicBezTo>
                    <a:pt x="286983" y="290578"/>
                    <a:pt x="306569" y="267161"/>
                    <a:pt x="315936" y="237357"/>
                  </a:cubicBezTo>
                  <a:cubicBezTo>
                    <a:pt x="325303" y="207979"/>
                    <a:pt x="322322" y="176047"/>
                    <a:pt x="307420" y="143262"/>
                  </a:cubicBezTo>
                  <a:lnTo>
                    <a:pt x="182245" y="215643"/>
                  </a:lnTo>
                  <a:lnTo>
                    <a:pt x="163085" y="182433"/>
                  </a:lnTo>
                  <a:lnTo>
                    <a:pt x="331689" y="84932"/>
                  </a:lnTo>
                  <a:lnTo>
                    <a:pt x="349571" y="116439"/>
                  </a:lnTo>
                  <a:cubicBezTo>
                    <a:pt x="361918" y="143688"/>
                    <a:pt x="367454" y="172215"/>
                    <a:pt x="366176" y="201167"/>
                  </a:cubicBezTo>
                  <a:cubicBezTo>
                    <a:pt x="364899" y="230545"/>
                    <a:pt x="356384" y="258220"/>
                    <a:pt x="341056" y="283766"/>
                  </a:cubicBezTo>
                  <a:cubicBezTo>
                    <a:pt x="325728" y="309312"/>
                    <a:pt x="304014" y="330174"/>
                    <a:pt x="276765" y="345928"/>
                  </a:cubicBezTo>
                  <a:cubicBezTo>
                    <a:pt x="247387" y="362533"/>
                    <a:pt x="217157" y="371474"/>
                    <a:pt x="185225" y="371474"/>
                  </a:cubicBezTo>
                  <a:cubicBezTo>
                    <a:pt x="153292" y="371900"/>
                    <a:pt x="123489" y="363810"/>
                    <a:pt x="95388" y="347631"/>
                  </a:cubicBezTo>
                  <a:cubicBezTo>
                    <a:pt x="67287" y="331452"/>
                    <a:pt x="44722" y="308034"/>
                    <a:pt x="26840" y="277379"/>
                  </a:cubicBezTo>
                  <a:cubicBezTo>
                    <a:pt x="8957" y="246724"/>
                    <a:pt x="442" y="215217"/>
                    <a:pt x="16" y="182859"/>
                  </a:cubicBezTo>
                  <a:cubicBezTo>
                    <a:pt x="-410" y="150500"/>
                    <a:pt x="7680" y="120271"/>
                    <a:pt x="23859" y="93022"/>
                  </a:cubicBezTo>
                  <a:cubicBezTo>
                    <a:pt x="40038" y="65773"/>
                    <a:pt x="62604" y="43207"/>
                    <a:pt x="91556" y="26602"/>
                  </a:cubicBezTo>
                  <a:cubicBezTo>
                    <a:pt x="124766" y="7443"/>
                    <a:pt x="158828" y="-1499"/>
                    <a:pt x="194166" y="205"/>
                  </a:cubicBezTo>
                  <a:cubicBezTo>
                    <a:pt x="229505" y="1908"/>
                    <a:pt x="261437" y="14681"/>
                    <a:pt x="290390" y="37672"/>
                  </a:cubicBezTo>
                  <a:lnTo>
                    <a:pt x="242704" y="64921"/>
                  </a:lnTo>
                  <a:lnTo>
                    <a:pt x="242704" y="64921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F8B793CD-0754-49CA-99A3-171875C60247}"/>
                </a:ext>
              </a:extLst>
            </p:cNvPr>
            <p:cNvSpPr/>
            <p:nvPr/>
          </p:nvSpPr>
          <p:spPr>
            <a:xfrm>
              <a:off x="6794252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9 w 284838"/>
                <a:gd name="connsiteY8" fmla="*/ 362754 h 362753"/>
                <a:gd name="connsiteX9" fmla="*/ 284839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9" y="362754"/>
                  </a:lnTo>
                  <a:lnTo>
                    <a:pt x="284839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8C5294B-BD40-684B-D8F8-01F95DE0D0C6}"/>
                </a:ext>
              </a:extLst>
            </p:cNvPr>
            <p:cNvSpPr/>
            <p:nvPr/>
          </p:nvSpPr>
          <p:spPr>
            <a:xfrm>
              <a:off x="7762873" y="4402657"/>
              <a:ext cx="173713" cy="362328"/>
            </a:xfrm>
            <a:custGeom>
              <a:avLst/>
              <a:gdLst>
                <a:gd name="connsiteX0" fmla="*/ 0 w 173713"/>
                <a:gd name="connsiteY0" fmla="*/ 0 h 362328"/>
                <a:gd name="connsiteX1" fmla="*/ 0 w 173713"/>
                <a:gd name="connsiteY1" fmla="*/ 362328 h 362328"/>
                <a:gd name="connsiteX2" fmla="*/ 173713 w 173713"/>
                <a:gd name="connsiteY2" fmla="*/ 362328 h 362328"/>
                <a:gd name="connsiteX3" fmla="*/ 173713 w 173713"/>
                <a:gd name="connsiteY3" fmla="*/ 323583 h 362328"/>
                <a:gd name="connsiteX4" fmla="*/ 47260 w 173713"/>
                <a:gd name="connsiteY4" fmla="*/ 323583 h 362328"/>
                <a:gd name="connsiteX5" fmla="*/ 47260 w 173713"/>
                <a:gd name="connsiteY5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13" h="362328">
                  <a:moveTo>
                    <a:pt x="0" y="0"/>
                  </a:moveTo>
                  <a:lnTo>
                    <a:pt x="0" y="362328"/>
                  </a:lnTo>
                  <a:lnTo>
                    <a:pt x="173713" y="362328"/>
                  </a:lnTo>
                  <a:lnTo>
                    <a:pt x="173713" y="323583"/>
                  </a:lnTo>
                  <a:lnTo>
                    <a:pt x="47260" y="323583"/>
                  </a:lnTo>
                  <a:lnTo>
                    <a:pt x="47260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175B784-CC80-B722-B511-B386FE8EB647}"/>
                </a:ext>
              </a:extLst>
            </p:cNvPr>
            <p:cNvSpPr/>
            <p:nvPr/>
          </p:nvSpPr>
          <p:spPr>
            <a:xfrm>
              <a:off x="7909337" y="4402657"/>
              <a:ext cx="245667" cy="362328"/>
            </a:xfrm>
            <a:custGeom>
              <a:avLst/>
              <a:gdLst>
                <a:gd name="connsiteX0" fmla="*/ 0 w 245667"/>
                <a:gd name="connsiteY0" fmla="*/ 0 h 362328"/>
                <a:gd name="connsiteX1" fmla="*/ 0 w 245667"/>
                <a:gd name="connsiteY1" fmla="*/ 38745 h 362328"/>
                <a:gd name="connsiteX2" fmla="*/ 99630 w 245667"/>
                <a:gd name="connsiteY2" fmla="*/ 38745 h 362328"/>
                <a:gd name="connsiteX3" fmla="*/ 99630 w 245667"/>
                <a:gd name="connsiteY3" fmla="*/ 362328 h 362328"/>
                <a:gd name="connsiteX4" fmla="*/ 146890 w 245667"/>
                <a:gd name="connsiteY4" fmla="*/ 362328 h 362328"/>
                <a:gd name="connsiteX5" fmla="*/ 146890 w 245667"/>
                <a:gd name="connsiteY5" fmla="*/ 38745 h 362328"/>
                <a:gd name="connsiteX6" fmla="*/ 245668 w 245667"/>
                <a:gd name="connsiteY6" fmla="*/ 38745 h 362328"/>
                <a:gd name="connsiteX7" fmla="*/ 245668 w 245667"/>
                <a:gd name="connsiteY7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667" h="362328">
                  <a:moveTo>
                    <a:pt x="0" y="0"/>
                  </a:moveTo>
                  <a:lnTo>
                    <a:pt x="0" y="38745"/>
                  </a:lnTo>
                  <a:lnTo>
                    <a:pt x="99630" y="38745"/>
                  </a:lnTo>
                  <a:lnTo>
                    <a:pt x="99630" y="362328"/>
                  </a:lnTo>
                  <a:lnTo>
                    <a:pt x="146890" y="362328"/>
                  </a:lnTo>
                  <a:lnTo>
                    <a:pt x="146890" y="38745"/>
                  </a:lnTo>
                  <a:lnTo>
                    <a:pt x="245668" y="38745"/>
                  </a:lnTo>
                  <a:lnTo>
                    <a:pt x="245668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7B5514A-D434-46AB-576D-F5CA091123A9}"/>
                </a:ext>
              </a:extLst>
            </p:cNvPr>
            <p:cNvSpPr/>
            <p:nvPr/>
          </p:nvSpPr>
          <p:spPr>
            <a:xfrm>
              <a:off x="8212910" y="4402657"/>
              <a:ext cx="47260" cy="362328"/>
            </a:xfrm>
            <a:custGeom>
              <a:avLst/>
              <a:gdLst>
                <a:gd name="connsiteX0" fmla="*/ 0 w 47260"/>
                <a:gd name="connsiteY0" fmla="*/ 0 h 362328"/>
                <a:gd name="connsiteX1" fmla="*/ 47260 w 47260"/>
                <a:gd name="connsiteY1" fmla="*/ 0 h 362328"/>
                <a:gd name="connsiteX2" fmla="*/ 47260 w 47260"/>
                <a:gd name="connsiteY2" fmla="*/ 362328 h 362328"/>
                <a:gd name="connsiteX3" fmla="*/ 0 w 47260"/>
                <a:gd name="connsiteY3" fmla="*/ 362328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260" h="362328">
                  <a:moveTo>
                    <a:pt x="0" y="0"/>
                  </a:moveTo>
                  <a:lnTo>
                    <a:pt x="47260" y="0"/>
                  </a:lnTo>
                  <a:lnTo>
                    <a:pt x="47260" y="362328"/>
                  </a:lnTo>
                  <a:lnTo>
                    <a:pt x="0" y="362328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D91B571-BDFF-C784-46D3-354717C4257A}"/>
                </a:ext>
              </a:extLst>
            </p:cNvPr>
            <p:cNvSpPr/>
            <p:nvPr/>
          </p:nvSpPr>
          <p:spPr>
            <a:xfrm>
              <a:off x="7432478" y="4402657"/>
              <a:ext cx="272065" cy="365734"/>
            </a:xfrm>
            <a:custGeom>
              <a:avLst/>
              <a:gdLst>
                <a:gd name="connsiteX0" fmla="*/ 46834 w 272065"/>
                <a:gd name="connsiteY0" fmla="*/ 0 h 365734"/>
                <a:gd name="connsiteX1" fmla="*/ 46834 w 272065"/>
                <a:gd name="connsiteY1" fmla="*/ 229063 h 365734"/>
                <a:gd name="connsiteX2" fmla="*/ 70252 w 272065"/>
                <a:gd name="connsiteY2" fmla="*/ 300592 h 365734"/>
                <a:gd name="connsiteX3" fmla="*/ 135820 w 272065"/>
                <a:gd name="connsiteY3" fmla="*/ 324009 h 365734"/>
                <a:gd name="connsiteX4" fmla="*/ 201388 w 272065"/>
                <a:gd name="connsiteY4" fmla="*/ 300592 h 365734"/>
                <a:gd name="connsiteX5" fmla="*/ 224805 w 272065"/>
                <a:gd name="connsiteY5" fmla="*/ 229063 h 365734"/>
                <a:gd name="connsiteX6" fmla="*/ 224805 w 272065"/>
                <a:gd name="connsiteY6" fmla="*/ 0 h 365734"/>
                <a:gd name="connsiteX7" fmla="*/ 272066 w 272065"/>
                <a:gd name="connsiteY7" fmla="*/ 0 h 365734"/>
                <a:gd name="connsiteX8" fmla="*/ 272066 w 272065"/>
                <a:gd name="connsiteY8" fmla="*/ 228637 h 365734"/>
                <a:gd name="connsiteX9" fmla="*/ 254183 w 272065"/>
                <a:gd name="connsiteY9" fmla="*/ 304850 h 365734"/>
                <a:gd name="connsiteX10" fmla="*/ 205220 w 272065"/>
                <a:gd name="connsiteY10" fmla="*/ 350832 h 365734"/>
                <a:gd name="connsiteX11" fmla="*/ 135820 w 272065"/>
                <a:gd name="connsiteY11" fmla="*/ 365734 h 365734"/>
                <a:gd name="connsiteX12" fmla="*/ 66420 w 272065"/>
                <a:gd name="connsiteY12" fmla="*/ 350832 h 365734"/>
                <a:gd name="connsiteX13" fmla="*/ 17882 w 272065"/>
                <a:gd name="connsiteY13" fmla="*/ 304850 h 365734"/>
                <a:gd name="connsiteX14" fmla="*/ 0 w 272065"/>
                <a:gd name="connsiteY14" fmla="*/ 228637 h 365734"/>
                <a:gd name="connsiteX15" fmla="*/ 0 w 272065"/>
                <a:gd name="connsiteY15" fmla="*/ 0 h 365734"/>
                <a:gd name="connsiteX16" fmla="*/ 46834 w 272065"/>
                <a:gd name="connsiteY16" fmla="*/ 0 h 365734"/>
                <a:gd name="connsiteX17" fmla="*/ 46834 w 272065"/>
                <a:gd name="connsiteY17" fmla="*/ 0 h 36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2065" h="365734">
                  <a:moveTo>
                    <a:pt x="46834" y="0"/>
                  </a:moveTo>
                  <a:lnTo>
                    <a:pt x="46834" y="229063"/>
                  </a:lnTo>
                  <a:cubicBezTo>
                    <a:pt x="46834" y="261421"/>
                    <a:pt x="54924" y="285264"/>
                    <a:pt x="70252" y="300592"/>
                  </a:cubicBezTo>
                  <a:cubicBezTo>
                    <a:pt x="86005" y="316345"/>
                    <a:pt x="107719" y="324009"/>
                    <a:pt x="135820" y="324009"/>
                  </a:cubicBezTo>
                  <a:cubicBezTo>
                    <a:pt x="163921" y="324009"/>
                    <a:pt x="185209" y="316345"/>
                    <a:pt x="201388" y="300592"/>
                  </a:cubicBezTo>
                  <a:cubicBezTo>
                    <a:pt x="217141" y="284838"/>
                    <a:pt x="224805" y="260995"/>
                    <a:pt x="224805" y="229063"/>
                  </a:cubicBezTo>
                  <a:lnTo>
                    <a:pt x="224805" y="0"/>
                  </a:lnTo>
                  <a:lnTo>
                    <a:pt x="272066" y="0"/>
                  </a:lnTo>
                  <a:lnTo>
                    <a:pt x="272066" y="228637"/>
                  </a:lnTo>
                  <a:cubicBezTo>
                    <a:pt x="272066" y="258867"/>
                    <a:pt x="266105" y="284413"/>
                    <a:pt x="254183" y="304850"/>
                  </a:cubicBezTo>
                  <a:cubicBezTo>
                    <a:pt x="241836" y="325286"/>
                    <a:pt x="225657" y="340614"/>
                    <a:pt x="205220" y="350832"/>
                  </a:cubicBezTo>
                  <a:cubicBezTo>
                    <a:pt x="184783" y="361051"/>
                    <a:pt x="161366" y="365734"/>
                    <a:pt x="135820" y="365734"/>
                  </a:cubicBezTo>
                  <a:cubicBezTo>
                    <a:pt x="110274" y="365734"/>
                    <a:pt x="87282" y="361051"/>
                    <a:pt x="66420" y="350832"/>
                  </a:cubicBezTo>
                  <a:cubicBezTo>
                    <a:pt x="45983" y="340614"/>
                    <a:pt x="29804" y="325286"/>
                    <a:pt x="17882" y="304850"/>
                  </a:cubicBezTo>
                  <a:cubicBezTo>
                    <a:pt x="5961" y="284413"/>
                    <a:pt x="0" y="258867"/>
                    <a:pt x="0" y="228637"/>
                  </a:cubicBezTo>
                  <a:lnTo>
                    <a:pt x="0" y="0"/>
                  </a:lnTo>
                  <a:lnTo>
                    <a:pt x="46834" y="0"/>
                  </a:lnTo>
                  <a:lnTo>
                    <a:pt x="46834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C7BFB09-343C-CE68-380E-79B770CB0DAD}"/>
                </a:ext>
              </a:extLst>
            </p:cNvPr>
            <p:cNvSpPr/>
            <p:nvPr/>
          </p:nvSpPr>
          <p:spPr>
            <a:xfrm>
              <a:off x="7136995" y="4398399"/>
              <a:ext cx="245667" cy="369595"/>
            </a:xfrm>
            <a:custGeom>
              <a:avLst/>
              <a:gdLst>
                <a:gd name="connsiteX0" fmla="*/ 61311 w 245667"/>
                <a:gd name="connsiteY0" fmla="*/ 357645 h 369595"/>
                <a:gd name="connsiteX1" fmla="*/ 16605 w 245667"/>
                <a:gd name="connsiteY1" fmla="*/ 322306 h 369595"/>
                <a:gd name="connsiteX2" fmla="*/ 0 w 245667"/>
                <a:gd name="connsiteY2" fmla="*/ 269937 h 369595"/>
                <a:gd name="connsiteX3" fmla="*/ 50241 w 245667"/>
                <a:gd name="connsiteY3" fmla="*/ 269937 h 369595"/>
                <a:gd name="connsiteX4" fmla="*/ 71103 w 245667"/>
                <a:gd name="connsiteY4" fmla="*/ 312513 h 369595"/>
                <a:gd name="connsiteX5" fmla="*/ 124750 w 245667"/>
                <a:gd name="connsiteY5" fmla="*/ 329970 h 369595"/>
                <a:gd name="connsiteX6" fmla="*/ 177971 w 245667"/>
                <a:gd name="connsiteY6" fmla="*/ 312939 h 369595"/>
                <a:gd name="connsiteX7" fmla="*/ 197556 w 245667"/>
                <a:gd name="connsiteY7" fmla="*/ 269511 h 369595"/>
                <a:gd name="connsiteX8" fmla="*/ 186061 w 245667"/>
                <a:gd name="connsiteY8" fmla="*/ 235875 h 369595"/>
                <a:gd name="connsiteX9" fmla="*/ 157534 w 245667"/>
                <a:gd name="connsiteY9" fmla="*/ 216290 h 369595"/>
                <a:gd name="connsiteX10" fmla="*/ 111125 w 245667"/>
                <a:gd name="connsiteY10" fmla="*/ 201814 h 369595"/>
                <a:gd name="connsiteX11" fmla="*/ 53647 w 245667"/>
                <a:gd name="connsiteY11" fmla="*/ 183080 h 369595"/>
                <a:gd name="connsiteX12" fmla="*/ 17031 w 245667"/>
                <a:gd name="connsiteY12" fmla="*/ 153702 h 369595"/>
                <a:gd name="connsiteX13" fmla="*/ 1703 w 245667"/>
                <a:gd name="connsiteY13" fmla="*/ 100055 h 369595"/>
                <a:gd name="connsiteX14" fmla="*/ 16605 w 245667"/>
                <a:gd name="connsiteY14" fmla="*/ 47686 h 369595"/>
                <a:gd name="connsiteX15" fmla="*/ 59182 w 245667"/>
                <a:gd name="connsiteY15" fmla="*/ 12347 h 369595"/>
                <a:gd name="connsiteX16" fmla="*/ 121770 w 245667"/>
                <a:gd name="connsiteY16" fmla="*/ 0 h 369595"/>
                <a:gd name="connsiteX17" fmla="*/ 205220 w 245667"/>
                <a:gd name="connsiteY17" fmla="*/ 25546 h 369595"/>
                <a:gd name="connsiteX18" fmla="*/ 241836 w 245667"/>
                <a:gd name="connsiteY18" fmla="*/ 92817 h 369595"/>
                <a:gd name="connsiteX19" fmla="*/ 189892 w 245667"/>
                <a:gd name="connsiteY19" fmla="*/ 92817 h 369595"/>
                <a:gd name="connsiteX20" fmla="*/ 168178 w 245667"/>
                <a:gd name="connsiteY20" fmla="*/ 56201 h 369595"/>
                <a:gd name="connsiteX21" fmla="*/ 117512 w 245667"/>
                <a:gd name="connsiteY21" fmla="*/ 40022 h 369595"/>
                <a:gd name="connsiteX22" fmla="*/ 68974 w 245667"/>
                <a:gd name="connsiteY22" fmla="*/ 55350 h 369595"/>
                <a:gd name="connsiteX23" fmla="*/ 50241 w 245667"/>
                <a:gd name="connsiteY23" fmla="*/ 97927 h 369595"/>
                <a:gd name="connsiteX24" fmla="*/ 61311 w 245667"/>
                <a:gd name="connsiteY24" fmla="*/ 130285 h 369595"/>
                <a:gd name="connsiteX25" fmla="*/ 88985 w 245667"/>
                <a:gd name="connsiteY25" fmla="*/ 149444 h 369595"/>
                <a:gd name="connsiteX26" fmla="*/ 134968 w 245667"/>
                <a:gd name="connsiteY26" fmla="*/ 164346 h 369595"/>
                <a:gd name="connsiteX27" fmla="*/ 192447 w 245667"/>
                <a:gd name="connsiteY27" fmla="*/ 183932 h 369595"/>
                <a:gd name="connsiteX28" fmla="*/ 229915 w 245667"/>
                <a:gd name="connsiteY28" fmla="*/ 213310 h 369595"/>
                <a:gd name="connsiteX29" fmla="*/ 245668 w 245667"/>
                <a:gd name="connsiteY29" fmla="*/ 267382 h 369595"/>
                <a:gd name="connsiteX30" fmla="*/ 231618 w 245667"/>
                <a:gd name="connsiteY30" fmla="*/ 317197 h 369595"/>
                <a:gd name="connsiteX31" fmla="*/ 189892 w 245667"/>
                <a:gd name="connsiteY31" fmla="*/ 355090 h 369595"/>
                <a:gd name="connsiteX32" fmla="*/ 124750 w 245667"/>
                <a:gd name="connsiteY32" fmla="*/ 369566 h 369595"/>
                <a:gd name="connsiteX33" fmla="*/ 61311 w 245667"/>
                <a:gd name="connsiteY33" fmla="*/ 357645 h 369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45667" h="369595">
                  <a:moveTo>
                    <a:pt x="61311" y="357645"/>
                  </a:moveTo>
                  <a:cubicBezTo>
                    <a:pt x="42577" y="349129"/>
                    <a:pt x="27675" y="337634"/>
                    <a:pt x="16605" y="322306"/>
                  </a:cubicBezTo>
                  <a:cubicBezTo>
                    <a:pt x="5961" y="307404"/>
                    <a:pt x="426" y="289948"/>
                    <a:pt x="0" y="269937"/>
                  </a:cubicBezTo>
                  <a:lnTo>
                    <a:pt x="50241" y="269937"/>
                  </a:lnTo>
                  <a:cubicBezTo>
                    <a:pt x="51944" y="286967"/>
                    <a:pt x="58756" y="301443"/>
                    <a:pt x="71103" y="312513"/>
                  </a:cubicBezTo>
                  <a:cubicBezTo>
                    <a:pt x="83450" y="323583"/>
                    <a:pt x="101333" y="329970"/>
                    <a:pt x="124750" y="329970"/>
                  </a:cubicBezTo>
                  <a:cubicBezTo>
                    <a:pt x="148167" y="329970"/>
                    <a:pt x="165198" y="324435"/>
                    <a:pt x="177971" y="312939"/>
                  </a:cubicBezTo>
                  <a:cubicBezTo>
                    <a:pt x="190744" y="301869"/>
                    <a:pt x="197556" y="287393"/>
                    <a:pt x="197556" y="269511"/>
                  </a:cubicBezTo>
                  <a:cubicBezTo>
                    <a:pt x="197556" y="255461"/>
                    <a:pt x="193724" y="244391"/>
                    <a:pt x="186061" y="235875"/>
                  </a:cubicBezTo>
                  <a:cubicBezTo>
                    <a:pt x="178397" y="227360"/>
                    <a:pt x="169030" y="220548"/>
                    <a:pt x="157534" y="216290"/>
                  </a:cubicBezTo>
                  <a:cubicBezTo>
                    <a:pt x="146038" y="211607"/>
                    <a:pt x="130711" y="206923"/>
                    <a:pt x="111125" y="201814"/>
                  </a:cubicBezTo>
                  <a:cubicBezTo>
                    <a:pt x="87282" y="195427"/>
                    <a:pt x="68123" y="189467"/>
                    <a:pt x="53647" y="183080"/>
                  </a:cubicBezTo>
                  <a:cubicBezTo>
                    <a:pt x="39171" y="176694"/>
                    <a:pt x="26823" y="166901"/>
                    <a:pt x="17031" y="153702"/>
                  </a:cubicBezTo>
                  <a:cubicBezTo>
                    <a:pt x="6812" y="140503"/>
                    <a:pt x="1703" y="122195"/>
                    <a:pt x="1703" y="100055"/>
                  </a:cubicBezTo>
                  <a:cubicBezTo>
                    <a:pt x="1703" y="80470"/>
                    <a:pt x="6387" y="63014"/>
                    <a:pt x="16605" y="47686"/>
                  </a:cubicBezTo>
                  <a:cubicBezTo>
                    <a:pt x="26823" y="32358"/>
                    <a:pt x="40874" y="20437"/>
                    <a:pt x="59182" y="12347"/>
                  </a:cubicBezTo>
                  <a:cubicBezTo>
                    <a:pt x="77064" y="3832"/>
                    <a:pt x="97927" y="0"/>
                    <a:pt x="121770" y="0"/>
                  </a:cubicBezTo>
                  <a:cubicBezTo>
                    <a:pt x="155831" y="0"/>
                    <a:pt x="183506" y="8515"/>
                    <a:pt x="205220" y="25546"/>
                  </a:cubicBezTo>
                  <a:cubicBezTo>
                    <a:pt x="226934" y="42577"/>
                    <a:pt x="238856" y="65142"/>
                    <a:pt x="241836" y="92817"/>
                  </a:cubicBezTo>
                  <a:lnTo>
                    <a:pt x="189892" y="92817"/>
                  </a:lnTo>
                  <a:cubicBezTo>
                    <a:pt x="188189" y="78767"/>
                    <a:pt x="180951" y="66846"/>
                    <a:pt x="168178" y="56201"/>
                  </a:cubicBezTo>
                  <a:cubicBezTo>
                    <a:pt x="155405" y="45983"/>
                    <a:pt x="138374" y="40022"/>
                    <a:pt x="117512" y="40022"/>
                  </a:cubicBezTo>
                  <a:cubicBezTo>
                    <a:pt x="96649" y="40022"/>
                    <a:pt x="81747" y="45131"/>
                    <a:pt x="68974" y="55350"/>
                  </a:cubicBezTo>
                  <a:cubicBezTo>
                    <a:pt x="56201" y="65568"/>
                    <a:pt x="50241" y="79619"/>
                    <a:pt x="50241" y="97927"/>
                  </a:cubicBezTo>
                  <a:cubicBezTo>
                    <a:pt x="50241" y="111125"/>
                    <a:pt x="54073" y="121770"/>
                    <a:pt x="61311" y="130285"/>
                  </a:cubicBezTo>
                  <a:cubicBezTo>
                    <a:pt x="68549" y="138800"/>
                    <a:pt x="77915" y="144761"/>
                    <a:pt x="88985" y="149444"/>
                  </a:cubicBezTo>
                  <a:cubicBezTo>
                    <a:pt x="99630" y="153702"/>
                    <a:pt x="115383" y="158811"/>
                    <a:pt x="134968" y="164346"/>
                  </a:cubicBezTo>
                  <a:cubicBezTo>
                    <a:pt x="158811" y="171159"/>
                    <a:pt x="177971" y="177545"/>
                    <a:pt x="192447" y="183932"/>
                  </a:cubicBezTo>
                  <a:cubicBezTo>
                    <a:pt x="206923" y="190318"/>
                    <a:pt x="219696" y="200111"/>
                    <a:pt x="229915" y="213310"/>
                  </a:cubicBezTo>
                  <a:cubicBezTo>
                    <a:pt x="240133" y="226508"/>
                    <a:pt x="245668" y="244816"/>
                    <a:pt x="245668" y="267382"/>
                  </a:cubicBezTo>
                  <a:cubicBezTo>
                    <a:pt x="245668" y="285264"/>
                    <a:pt x="240985" y="301869"/>
                    <a:pt x="231618" y="317197"/>
                  </a:cubicBezTo>
                  <a:cubicBezTo>
                    <a:pt x="222251" y="332950"/>
                    <a:pt x="208200" y="345297"/>
                    <a:pt x="189892" y="355090"/>
                  </a:cubicBezTo>
                  <a:cubicBezTo>
                    <a:pt x="171584" y="364883"/>
                    <a:pt x="149870" y="369566"/>
                    <a:pt x="124750" y="369566"/>
                  </a:cubicBezTo>
                  <a:cubicBezTo>
                    <a:pt x="100055" y="369992"/>
                    <a:pt x="79619" y="365734"/>
                    <a:pt x="61311" y="357645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B8336FE-98F8-6BBC-7778-A9CC4C7F22EB}"/>
                </a:ext>
              </a:extLst>
            </p:cNvPr>
            <p:cNvSpPr/>
            <p:nvPr/>
          </p:nvSpPr>
          <p:spPr>
            <a:xfrm>
              <a:off x="8318074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8 w 284838"/>
                <a:gd name="connsiteY8" fmla="*/ 362754 h 362753"/>
                <a:gd name="connsiteX9" fmla="*/ 284838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8" y="362754"/>
                  </a:lnTo>
                  <a:lnTo>
                    <a:pt x="284838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A39EB348-F48F-F2D2-C201-D290A79FAA78}"/>
                </a:ext>
              </a:extLst>
            </p:cNvPr>
            <p:cNvSpPr/>
            <p:nvPr/>
          </p:nvSpPr>
          <p:spPr>
            <a:xfrm>
              <a:off x="6372742" y="4398399"/>
              <a:ext cx="363605" cy="369140"/>
            </a:xfrm>
            <a:custGeom>
              <a:avLst/>
              <a:gdLst>
                <a:gd name="connsiteX0" fmla="*/ 89837 w 363605"/>
                <a:gd name="connsiteY0" fmla="*/ 346575 h 369140"/>
                <a:gd name="connsiteX1" fmla="*/ 24269 w 363605"/>
                <a:gd name="connsiteY1" fmla="*/ 280581 h 369140"/>
                <a:gd name="connsiteX2" fmla="*/ 0 w 363605"/>
                <a:gd name="connsiteY2" fmla="*/ 185209 h 369140"/>
                <a:gd name="connsiteX3" fmla="*/ 24269 w 363605"/>
                <a:gd name="connsiteY3" fmla="*/ 89837 h 369140"/>
                <a:gd name="connsiteX4" fmla="*/ 89837 w 363605"/>
                <a:gd name="connsiteY4" fmla="*/ 23843 h 369140"/>
                <a:gd name="connsiteX5" fmla="*/ 181803 w 363605"/>
                <a:gd name="connsiteY5" fmla="*/ 0 h 369140"/>
                <a:gd name="connsiteX6" fmla="*/ 274194 w 363605"/>
                <a:gd name="connsiteY6" fmla="*/ 23843 h 369140"/>
                <a:gd name="connsiteX7" fmla="*/ 339763 w 363605"/>
                <a:gd name="connsiteY7" fmla="*/ 89411 h 369140"/>
                <a:gd name="connsiteX8" fmla="*/ 363606 w 363605"/>
                <a:gd name="connsiteY8" fmla="*/ 184783 h 369140"/>
                <a:gd name="connsiteX9" fmla="*/ 339763 w 363605"/>
                <a:gd name="connsiteY9" fmla="*/ 280155 h 369140"/>
                <a:gd name="connsiteX10" fmla="*/ 274194 w 363605"/>
                <a:gd name="connsiteY10" fmla="*/ 345723 h 369140"/>
                <a:gd name="connsiteX11" fmla="*/ 181803 w 363605"/>
                <a:gd name="connsiteY11" fmla="*/ 369140 h 369140"/>
                <a:gd name="connsiteX12" fmla="*/ 89837 w 363605"/>
                <a:gd name="connsiteY12" fmla="*/ 346575 h 369140"/>
                <a:gd name="connsiteX13" fmla="*/ 249926 w 363605"/>
                <a:gd name="connsiteY13" fmla="*/ 311236 h 369140"/>
                <a:gd name="connsiteX14" fmla="*/ 297612 w 363605"/>
                <a:gd name="connsiteY14" fmla="*/ 260995 h 369140"/>
                <a:gd name="connsiteX15" fmla="*/ 315068 w 363605"/>
                <a:gd name="connsiteY15" fmla="*/ 185209 h 369140"/>
                <a:gd name="connsiteX16" fmla="*/ 297612 w 363605"/>
                <a:gd name="connsiteY16" fmla="*/ 108997 h 369140"/>
                <a:gd name="connsiteX17" fmla="*/ 249926 w 363605"/>
                <a:gd name="connsiteY17" fmla="*/ 58756 h 369140"/>
                <a:gd name="connsiteX18" fmla="*/ 181377 w 363605"/>
                <a:gd name="connsiteY18" fmla="*/ 40874 h 369140"/>
                <a:gd name="connsiteX19" fmla="*/ 112828 w 363605"/>
                <a:gd name="connsiteY19" fmla="*/ 58756 h 369140"/>
                <a:gd name="connsiteX20" fmla="*/ 65142 w 363605"/>
                <a:gd name="connsiteY20" fmla="*/ 108997 h 369140"/>
                <a:gd name="connsiteX21" fmla="*/ 47686 w 363605"/>
                <a:gd name="connsiteY21" fmla="*/ 185209 h 369140"/>
                <a:gd name="connsiteX22" fmla="*/ 65142 w 363605"/>
                <a:gd name="connsiteY22" fmla="*/ 260995 h 369140"/>
                <a:gd name="connsiteX23" fmla="*/ 112828 w 363605"/>
                <a:gd name="connsiteY23" fmla="*/ 311236 h 369140"/>
                <a:gd name="connsiteX24" fmla="*/ 180951 w 363605"/>
                <a:gd name="connsiteY24" fmla="*/ 329118 h 369140"/>
                <a:gd name="connsiteX25" fmla="*/ 249926 w 363605"/>
                <a:gd name="connsiteY25" fmla="*/ 311236 h 369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3605" h="369140">
                  <a:moveTo>
                    <a:pt x="89837" y="346575"/>
                  </a:moveTo>
                  <a:cubicBezTo>
                    <a:pt x="62162" y="330821"/>
                    <a:pt x="40022" y="308681"/>
                    <a:pt x="24269" y="280581"/>
                  </a:cubicBezTo>
                  <a:cubicBezTo>
                    <a:pt x="8090" y="252480"/>
                    <a:pt x="0" y="220548"/>
                    <a:pt x="0" y="185209"/>
                  </a:cubicBezTo>
                  <a:cubicBezTo>
                    <a:pt x="0" y="149870"/>
                    <a:pt x="8090" y="117938"/>
                    <a:pt x="24269" y="89837"/>
                  </a:cubicBezTo>
                  <a:cubicBezTo>
                    <a:pt x="40448" y="61736"/>
                    <a:pt x="62162" y="39596"/>
                    <a:pt x="89837" y="23843"/>
                  </a:cubicBezTo>
                  <a:cubicBezTo>
                    <a:pt x="117512" y="8090"/>
                    <a:pt x="148167" y="0"/>
                    <a:pt x="181803" y="0"/>
                  </a:cubicBezTo>
                  <a:cubicBezTo>
                    <a:pt x="215438" y="0"/>
                    <a:pt x="246519" y="8090"/>
                    <a:pt x="274194" y="23843"/>
                  </a:cubicBezTo>
                  <a:cubicBezTo>
                    <a:pt x="301869" y="39596"/>
                    <a:pt x="323583" y="61311"/>
                    <a:pt x="339763" y="89411"/>
                  </a:cubicBezTo>
                  <a:cubicBezTo>
                    <a:pt x="355942" y="117512"/>
                    <a:pt x="363606" y="149444"/>
                    <a:pt x="363606" y="184783"/>
                  </a:cubicBezTo>
                  <a:cubicBezTo>
                    <a:pt x="363606" y="220122"/>
                    <a:pt x="355516" y="252054"/>
                    <a:pt x="339763" y="280155"/>
                  </a:cubicBezTo>
                  <a:cubicBezTo>
                    <a:pt x="324009" y="308256"/>
                    <a:pt x="301869" y="330396"/>
                    <a:pt x="274194" y="345723"/>
                  </a:cubicBezTo>
                  <a:cubicBezTo>
                    <a:pt x="246519" y="361477"/>
                    <a:pt x="215864" y="369140"/>
                    <a:pt x="181803" y="369140"/>
                  </a:cubicBezTo>
                  <a:cubicBezTo>
                    <a:pt x="147741" y="369140"/>
                    <a:pt x="117086" y="362328"/>
                    <a:pt x="89837" y="346575"/>
                  </a:cubicBezTo>
                  <a:moveTo>
                    <a:pt x="249926" y="311236"/>
                  </a:moveTo>
                  <a:cubicBezTo>
                    <a:pt x="269937" y="299315"/>
                    <a:pt x="286116" y="282710"/>
                    <a:pt x="297612" y="260995"/>
                  </a:cubicBezTo>
                  <a:cubicBezTo>
                    <a:pt x="309107" y="239281"/>
                    <a:pt x="315068" y="213735"/>
                    <a:pt x="315068" y="185209"/>
                  </a:cubicBezTo>
                  <a:cubicBezTo>
                    <a:pt x="315068" y="156682"/>
                    <a:pt x="309107" y="130711"/>
                    <a:pt x="297612" y="108997"/>
                  </a:cubicBezTo>
                  <a:cubicBezTo>
                    <a:pt x="286116" y="87282"/>
                    <a:pt x="270362" y="70677"/>
                    <a:pt x="249926" y="58756"/>
                  </a:cubicBezTo>
                  <a:cubicBezTo>
                    <a:pt x="229489" y="46834"/>
                    <a:pt x="206923" y="40874"/>
                    <a:pt x="181377" y="40874"/>
                  </a:cubicBezTo>
                  <a:cubicBezTo>
                    <a:pt x="155831" y="40874"/>
                    <a:pt x="132839" y="46834"/>
                    <a:pt x="112828" y="58756"/>
                  </a:cubicBezTo>
                  <a:cubicBezTo>
                    <a:pt x="92817" y="70677"/>
                    <a:pt x="77064" y="87282"/>
                    <a:pt x="65142" y="108997"/>
                  </a:cubicBezTo>
                  <a:cubicBezTo>
                    <a:pt x="53647" y="130711"/>
                    <a:pt x="47686" y="155831"/>
                    <a:pt x="47686" y="185209"/>
                  </a:cubicBezTo>
                  <a:cubicBezTo>
                    <a:pt x="47686" y="214587"/>
                    <a:pt x="53647" y="238856"/>
                    <a:pt x="65142" y="260995"/>
                  </a:cubicBezTo>
                  <a:cubicBezTo>
                    <a:pt x="76638" y="282710"/>
                    <a:pt x="92392" y="299740"/>
                    <a:pt x="112828" y="311236"/>
                  </a:cubicBezTo>
                  <a:cubicBezTo>
                    <a:pt x="132839" y="323158"/>
                    <a:pt x="155831" y="329118"/>
                    <a:pt x="180951" y="329118"/>
                  </a:cubicBezTo>
                  <a:cubicBezTo>
                    <a:pt x="206072" y="329118"/>
                    <a:pt x="229489" y="323158"/>
                    <a:pt x="249926" y="311236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2F2C69D-3581-55B8-23A8-717311FE8DA1}"/>
                </a:ext>
              </a:extLst>
            </p:cNvPr>
            <p:cNvSpPr/>
            <p:nvPr/>
          </p:nvSpPr>
          <p:spPr>
            <a:xfrm>
              <a:off x="5978481" y="4397973"/>
              <a:ext cx="348703" cy="369991"/>
            </a:xfrm>
            <a:custGeom>
              <a:avLst/>
              <a:gdLst>
                <a:gd name="connsiteX0" fmla="*/ 24269 w 348703"/>
                <a:gd name="connsiteY0" fmla="*/ 90263 h 369991"/>
                <a:gd name="connsiteX1" fmla="*/ 89411 w 348703"/>
                <a:gd name="connsiteY1" fmla="*/ 23843 h 369991"/>
                <a:gd name="connsiteX2" fmla="*/ 181377 w 348703"/>
                <a:gd name="connsiteY2" fmla="*/ 0 h 369991"/>
                <a:gd name="connsiteX3" fmla="*/ 284413 w 348703"/>
                <a:gd name="connsiteY3" fmla="*/ 28526 h 369991"/>
                <a:gd name="connsiteX4" fmla="*/ 348704 w 348703"/>
                <a:gd name="connsiteY4" fmla="*/ 109422 h 369991"/>
                <a:gd name="connsiteX5" fmla="*/ 292077 w 348703"/>
                <a:gd name="connsiteY5" fmla="*/ 109422 h 369991"/>
                <a:gd name="connsiteX6" fmla="*/ 248648 w 348703"/>
                <a:gd name="connsiteY6" fmla="*/ 59182 h 369991"/>
                <a:gd name="connsiteX7" fmla="*/ 180951 w 348703"/>
                <a:gd name="connsiteY7" fmla="*/ 41299 h 369991"/>
                <a:gd name="connsiteX8" fmla="*/ 112828 w 348703"/>
                <a:gd name="connsiteY8" fmla="*/ 59182 h 369991"/>
                <a:gd name="connsiteX9" fmla="*/ 65568 w 348703"/>
                <a:gd name="connsiteY9" fmla="*/ 109422 h 369991"/>
                <a:gd name="connsiteX10" fmla="*/ 48538 w 348703"/>
                <a:gd name="connsiteY10" fmla="*/ 185635 h 369991"/>
                <a:gd name="connsiteX11" fmla="*/ 65568 w 348703"/>
                <a:gd name="connsiteY11" fmla="*/ 260995 h 369991"/>
                <a:gd name="connsiteX12" fmla="*/ 112828 w 348703"/>
                <a:gd name="connsiteY12" fmla="*/ 311236 h 369991"/>
                <a:gd name="connsiteX13" fmla="*/ 180951 w 348703"/>
                <a:gd name="connsiteY13" fmla="*/ 329118 h 369991"/>
                <a:gd name="connsiteX14" fmla="*/ 248648 w 348703"/>
                <a:gd name="connsiteY14" fmla="*/ 311662 h 369991"/>
                <a:gd name="connsiteX15" fmla="*/ 292077 w 348703"/>
                <a:gd name="connsiteY15" fmla="*/ 261421 h 369991"/>
                <a:gd name="connsiteX16" fmla="*/ 348704 w 348703"/>
                <a:gd name="connsiteY16" fmla="*/ 261421 h 369991"/>
                <a:gd name="connsiteX17" fmla="*/ 284413 w 348703"/>
                <a:gd name="connsiteY17" fmla="*/ 341891 h 369991"/>
                <a:gd name="connsiteX18" fmla="*/ 181377 w 348703"/>
                <a:gd name="connsiteY18" fmla="*/ 369992 h 369991"/>
                <a:gd name="connsiteX19" fmla="*/ 89411 w 348703"/>
                <a:gd name="connsiteY19" fmla="*/ 346575 h 369991"/>
                <a:gd name="connsiteX20" fmla="*/ 23843 w 348703"/>
                <a:gd name="connsiteY20" fmla="*/ 281007 h 369991"/>
                <a:gd name="connsiteX21" fmla="*/ 0 w 348703"/>
                <a:gd name="connsiteY21" fmla="*/ 186060 h 369991"/>
                <a:gd name="connsiteX22" fmla="*/ 24269 w 348703"/>
                <a:gd name="connsiteY22" fmla="*/ 90263 h 36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8703" h="369991">
                  <a:moveTo>
                    <a:pt x="24269" y="90263"/>
                  </a:moveTo>
                  <a:cubicBezTo>
                    <a:pt x="40448" y="62162"/>
                    <a:pt x="61736" y="40022"/>
                    <a:pt x="89411" y="23843"/>
                  </a:cubicBezTo>
                  <a:cubicBezTo>
                    <a:pt x="117086" y="7664"/>
                    <a:pt x="147316" y="0"/>
                    <a:pt x="181377" y="0"/>
                  </a:cubicBezTo>
                  <a:cubicBezTo>
                    <a:pt x="220973" y="0"/>
                    <a:pt x="255461" y="9367"/>
                    <a:pt x="284413" y="28526"/>
                  </a:cubicBezTo>
                  <a:cubicBezTo>
                    <a:pt x="313791" y="47686"/>
                    <a:pt x="335079" y="74935"/>
                    <a:pt x="348704" y="109422"/>
                  </a:cubicBezTo>
                  <a:lnTo>
                    <a:pt x="292077" y="109422"/>
                  </a:lnTo>
                  <a:cubicBezTo>
                    <a:pt x="281858" y="87708"/>
                    <a:pt x="267808" y="70677"/>
                    <a:pt x="248648" y="59182"/>
                  </a:cubicBezTo>
                  <a:cubicBezTo>
                    <a:pt x="229915" y="47260"/>
                    <a:pt x="207349" y="41299"/>
                    <a:pt x="180951" y="41299"/>
                  </a:cubicBezTo>
                  <a:cubicBezTo>
                    <a:pt x="154554" y="41299"/>
                    <a:pt x="132839" y="47260"/>
                    <a:pt x="112828" y="59182"/>
                  </a:cubicBezTo>
                  <a:cubicBezTo>
                    <a:pt x="92817" y="71103"/>
                    <a:pt x="77064" y="87708"/>
                    <a:pt x="65568" y="109422"/>
                  </a:cubicBezTo>
                  <a:cubicBezTo>
                    <a:pt x="54072" y="131136"/>
                    <a:pt x="48538" y="156257"/>
                    <a:pt x="48538" y="185635"/>
                  </a:cubicBezTo>
                  <a:cubicBezTo>
                    <a:pt x="48538" y="215013"/>
                    <a:pt x="54072" y="239281"/>
                    <a:pt x="65568" y="260995"/>
                  </a:cubicBezTo>
                  <a:cubicBezTo>
                    <a:pt x="77064" y="282710"/>
                    <a:pt x="92817" y="299315"/>
                    <a:pt x="112828" y="311236"/>
                  </a:cubicBezTo>
                  <a:cubicBezTo>
                    <a:pt x="132839" y="323158"/>
                    <a:pt x="155405" y="329118"/>
                    <a:pt x="180951" y="329118"/>
                  </a:cubicBezTo>
                  <a:cubicBezTo>
                    <a:pt x="206497" y="329118"/>
                    <a:pt x="229915" y="323158"/>
                    <a:pt x="248648" y="311662"/>
                  </a:cubicBezTo>
                  <a:cubicBezTo>
                    <a:pt x="267382" y="300166"/>
                    <a:pt x="281858" y="283561"/>
                    <a:pt x="292077" y="261421"/>
                  </a:cubicBezTo>
                  <a:lnTo>
                    <a:pt x="348704" y="261421"/>
                  </a:lnTo>
                  <a:cubicBezTo>
                    <a:pt x="335079" y="296334"/>
                    <a:pt x="313791" y="323158"/>
                    <a:pt x="284413" y="341891"/>
                  </a:cubicBezTo>
                  <a:cubicBezTo>
                    <a:pt x="255035" y="360625"/>
                    <a:pt x="220548" y="369992"/>
                    <a:pt x="181377" y="369992"/>
                  </a:cubicBezTo>
                  <a:cubicBezTo>
                    <a:pt x="147741" y="369992"/>
                    <a:pt x="117086" y="361902"/>
                    <a:pt x="89411" y="346575"/>
                  </a:cubicBezTo>
                  <a:cubicBezTo>
                    <a:pt x="62162" y="330821"/>
                    <a:pt x="40022" y="309107"/>
                    <a:pt x="23843" y="281007"/>
                  </a:cubicBezTo>
                  <a:cubicBezTo>
                    <a:pt x="7664" y="252906"/>
                    <a:pt x="0" y="221399"/>
                    <a:pt x="0" y="186060"/>
                  </a:cubicBezTo>
                  <a:cubicBezTo>
                    <a:pt x="0" y="150722"/>
                    <a:pt x="8090" y="118363"/>
                    <a:pt x="24269" y="90263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828368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:asvg="http://schemas.microsoft.com/office/drawing/2016/SVG/main" xmlns:a14="http://schemas.microsoft.com/office/drawing/2010/main" xmlns:v="urn:schemas-microsoft-com:vml" xmlns:a16="http://schemas.microsoft.com/office/drawing/2014/main"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4762390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1811C93-D8BA-3F9D-B299-8659E7D46CA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4448174" y="1064251"/>
            <a:ext cx="7591426" cy="5685228"/>
          </a:xfrm>
          <a:prstGeom prst="roundRect">
            <a:avLst>
              <a:gd name="adj" fmla="val 82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r>
              <a:rPr lang="en-US" dirty="0">
                <a:latin typeface="Poppins" panose="00000500000000000000" pitchFamily="2" charset="0"/>
              </a:rPr>
              <a:t>Add </a:t>
            </a:r>
            <a:r>
              <a:rPr lang="en-US" noProof="0" dirty="0">
                <a:latin typeface="Poppins" panose="00000500000000000000" pitchFamily="2" charset="0"/>
              </a:rPr>
              <a:t>image</a:t>
            </a:r>
            <a:r>
              <a:rPr lang="en-US" dirty="0">
                <a:latin typeface="Poppins" panose="00000500000000000000" pitchFamily="2" charset="0"/>
              </a:rPr>
              <a:t> </a:t>
            </a:r>
            <a:r>
              <a:rPr lang="en-US" noProof="0" dirty="0">
                <a:latin typeface="Poppins" panose="00000500000000000000" pitchFamily="2" charset="0"/>
              </a:rPr>
              <a:t>by</a:t>
            </a:r>
            <a:r>
              <a:rPr lang="en-US" dirty="0">
                <a:latin typeface="Poppins" panose="00000500000000000000" pitchFamily="2" charset="0"/>
              </a:rPr>
              <a:t> clicking on the ico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382" y="2442665"/>
            <a:ext cx="3621756" cy="184666"/>
          </a:xfrm>
          <a:prstGeom prst="rect">
            <a:avLst/>
          </a:prstGeom>
        </p:spPr>
        <p:txBody>
          <a:bodyPr wrap="square" lIns="0" tIns="0" rIns="108000" bIns="0" anchor="t">
            <a:spAutoFit/>
          </a:bodyPr>
          <a:lstStyle>
            <a:lvl1pPr marL="0" indent="0" algn="l">
              <a:spcBef>
                <a:spcPts val="0"/>
              </a:spcBef>
              <a:buNone/>
              <a:defRPr sz="1200" b="0" cap="none" baseline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noProof="0" dirty="0"/>
              <a:t>Place holder “prepared for”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51382" y="2688131"/>
            <a:ext cx="362362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000" b="1" cap="none" baseline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ompany</a:t>
            </a:r>
          </a:p>
        </p:txBody>
      </p:sp>
      <p:sp>
        <p:nvSpPr>
          <p:cNvPr id="17" name="Author, business unit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51384" y="1594188"/>
            <a:ext cx="3621755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200" b="0" cap="none" baseline="0" noProof="0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pPr lvl="0">
              <a:spcBef>
                <a:spcPts val="237"/>
              </a:spcBef>
            </a:pPr>
            <a:r>
              <a:rPr lang="en-US" noProof="0" dirty="0"/>
              <a:t>Author, business unit/</a:t>
            </a:r>
            <a:r>
              <a:rPr lang="en-US" noProof="0" dirty="0" err="1"/>
              <a:t>deptmt</a:t>
            </a:r>
            <a:endParaRPr lang="en-US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337457" y="1628775"/>
            <a:ext cx="6702143" cy="430887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txBody>
          <a:bodyPr wrap="none" lIns="108000" tIns="0" rIns="550800" bIns="0" anchor="ctr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800" cap="none" baseline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pPr lvl="0" algn="r">
              <a:lnSpc>
                <a:spcPct val="100000"/>
              </a:lnSpc>
            </a:pPr>
            <a:r>
              <a:rPr lang="en-US" dirty="0"/>
              <a:t>Title of presentation (</a:t>
            </a:r>
            <a:r>
              <a:rPr lang="en-US" dirty="0" err="1"/>
              <a:t>autom</a:t>
            </a:r>
            <a:r>
              <a:rPr lang="en-US" dirty="0"/>
              <a:t>. size)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39471" y="2142955"/>
            <a:ext cx="5200129" cy="430887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txBody>
          <a:bodyPr wrap="none" lIns="108000" tIns="0" rIns="550800" bIns="0" anchor="ctr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800" cap="none" baseline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pPr lvl="0" algn="r">
              <a:lnSpc>
                <a:spcPct val="100000"/>
              </a:lnSpc>
            </a:pPr>
            <a:r>
              <a:rPr lang="en-US" noProof="0" dirty="0"/>
              <a:t>Second</a:t>
            </a:r>
            <a:r>
              <a:rPr lang="en-US" dirty="0"/>
              <a:t> line (</a:t>
            </a:r>
            <a:r>
              <a:rPr lang="en-US" dirty="0" err="1"/>
              <a:t>autom</a:t>
            </a:r>
            <a:r>
              <a:rPr lang="en-US" dirty="0"/>
              <a:t>. size)</a:t>
            </a:r>
          </a:p>
        </p:txBody>
      </p:sp>
      <p:sp>
        <p:nvSpPr>
          <p:cNvPr id="25" name="Place, date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51383" y="1340768"/>
            <a:ext cx="3621756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1200" b="0" cap="none" baseline="0" noProof="0" dirty="0"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pPr lvl="0">
              <a:spcBef>
                <a:spcPts val="237"/>
              </a:spcBef>
            </a:pPr>
            <a:r>
              <a:rPr lang="en-US" noProof="0" dirty="0"/>
              <a:t>Place holder place, date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A35F54E-56CB-42A7-B5FF-77F82E7A168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1382" y="3056708"/>
            <a:ext cx="3623891" cy="360363"/>
          </a:xfrm>
          <a:prstGeom prst="rect">
            <a:avLst/>
          </a:prstGeom>
        </p:spPr>
        <p:txBody>
          <a:bodyPr/>
          <a:lstStyle>
            <a:lvl1pPr>
              <a:defRPr cap="none" baseline="0"/>
            </a:lvl1pPr>
          </a:lstStyle>
          <a:p>
            <a:pPr lvl="0"/>
            <a:r>
              <a:rPr lang="en-US" dirty="0"/>
              <a:t>Names</a:t>
            </a:r>
          </a:p>
        </p:txBody>
      </p:sp>
      <p:sp>
        <p:nvSpPr>
          <p:cNvPr id="18" name="Author, business unit">
            <a:extLst>
              <a:ext uri="{FF2B5EF4-FFF2-40B4-BE49-F238E27FC236}">
                <a16:creationId xmlns:a16="http://schemas.microsoft.com/office/drawing/2014/main" id="{FBD350DA-942C-4903-B23D-F781164C4E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6124654"/>
            <a:ext cx="3363088" cy="184666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txBody>
          <a:bodyPr vert="horz" wrap="none" lIns="550800" tIns="0" rIns="108000" bIns="0" rtlCol="0" anchor="ctr">
            <a:spAutoFit/>
          </a:bodyPr>
          <a:lstStyle>
            <a:lvl1pPr>
              <a:defRPr lang="en-US" sz="1200" cap="none" baseline="0" noProof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noProof="0" dirty="0"/>
              <a:t>P-# or doc.-Type (</a:t>
            </a:r>
            <a:r>
              <a:rPr lang="en-US" noProof="0" dirty="0" err="1"/>
              <a:t>e.G.</a:t>
            </a:r>
            <a:r>
              <a:rPr lang="en-US" noProof="0" dirty="0"/>
              <a:t> Final report)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FF41AE47-64F0-4556-A72F-9D2E36140A1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50862" y="4473116"/>
            <a:ext cx="3622275" cy="1549400"/>
          </a:xfrm>
          <a:prstGeom prst="rect">
            <a:avLst/>
          </a:prstGeom>
        </p:spPr>
        <p:txBody>
          <a:bodyPr/>
          <a:lstStyle>
            <a:lvl1pPr>
              <a:defRPr>
                <a:latin typeface="Poppins" panose="00000500000000000000" pitchFamily="2" charset="0"/>
              </a:defRPr>
            </a:lvl1pPr>
          </a:lstStyle>
          <a:p>
            <a:r>
              <a:rPr lang="en-US" dirty="0">
                <a:latin typeface="Poppins" panose="00000500000000000000" pitchFamily="2" charset="0"/>
              </a:rPr>
              <a:t>Customer logo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5564257-6D6B-C34C-DDC5-C4DC261D3719}"/>
              </a:ext>
            </a:extLst>
          </p:cNvPr>
          <p:cNvGrpSpPr/>
          <p:nvPr userDrawn="1"/>
        </p:nvGrpSpPr>
        <p:grpSpPr>
          <a:xfrm>
            <a:off x="10468671" y="354978"/>
            <a:ext cx="1020022" cy="387972"/>
            <a:chOff x="5975501" y="3608175"/>
            <a:chExt cx="3050378" cy="1160231"/>
          </a:xfrm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DCC8B96-8F8A-A9A3-950B-189C4C7DDA33}"/>
                </a:ext>
              </a:extLst>
            </p:cNvPr>
            <p:cNvSpPr/>
            <p:nvPr/>
          </p:nvSpPr>
          <p:spPr>
            <a:xfrm>
              <a:off x="7098250" y="3614987"/>
              <a:ext cx="608847" cy="620768"/>
            </a:xfrm>
            <a:custGeom>
              <a:avLst/>
              <a:gdLst>
                <a:gd name="connsiteX0" fmla="*/ 369141 w 608847"/>
                <a:gd name="connsiteY0" fmla="*/ 620769 h 620768"/>
                <a:gd name="connsiteX1" fmla="*/ 608848 w 608847"/>
                <a:gd name="connsiteY1" fmla="*/ 0 h 620768"/>
                <a:gd name="connsiteX2" fmla="*/ 485375 w 608847"/>
                <a:gd name="connsiteY2" fmla="*/ 0 h 620768"/>
                <a:gd name="connsiteX3" fmla="*/ 304424 w 608847"/>
                <a:gd name="connsiteY3" fmla="*/ 467493 h 620768"/>
                <a:gd name="connsiteX4" fmla="*/ 123473 w 608847"/>
                <a:gd name="connsiteY4" fmla="*/ 0 h 620768"/>
                <a:gd name="connsiteX5" fmla="*/ 0 w 608847"/>
                <a:gd name="connsiteY5" fmla="*/ 0 h 620768"/>
                <a:gd name="connsiteX6" fmla="*/ 240133 w 608847"/>
                <a:gd name="connsiteY6" fmla="*/ 620769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8847" h="620768">
                  <a:moveTo>
                    <a:pt x="369141" y="620769"/>
                  </a:moveTo>
                  <a:lnTo>
                    <a:pt x="608848" y="0"/>
                  </a:lnTo>
                  <a:lnTo>
                    <a:pt x="485375" y="0"/>
                  </a:lnTo>
                  <a:lnTo>
                    <a:pt x="304424" y="467493"/>
                  </a:lnTo>
                  <a:lnTo>
                    <a:pt x="123473" y="0"/>
                  </a:lnTo>
                  <a:lnTo>
                    <a:pt x="0" y="0"/>
                  </a:lnTo>
                  <a:lnTo>
                    <a:pt x="240133" y="620769"/>
                  </a:lnTo>
                  <a:close/>
                </a:path>
              </a:pathLst>
            </a:custGeom>
            <a:solidFill>
              <a:srgbClr val="B9052D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C6CD4E6-571C-7C77-B96F-36C4AC0B2ACF}"/>
                </a:ext>
              </a:extLst>
            </p:cNvPr>
            <p:cNvSpPr/>
            <p:nvPr/>
          </p:nvSpPr>
          <p:spPr>
            <a:xfrm>
              <a:off x="5975501" y="3614987"/>
              <a:ext cx="505386" cy="620768"/>
            </a:xfrm>
            <a:custGeom>
              <a:avLst/>
              <a:gdLst>
                <a:gd name="connsiteX0" fmla="*/ 505386 w 505386"/>
                <a:gd name="connsiteY0" fmla="*/ 114957 h 620768"/>
                <a:gd name="connsiteX1" fmla="*/ 505386 w 505386"/>
                <a:gd name="connsiteY1" fmla="*/ 0 h 620768"/>
                <a:gd name="connsiteX2" fmla="*/ 144335 w 505386"/>
                <a:gd name="connsiteY2" fmla="*/ 0 h 620768"/>
                <a:gd name="connsiteX3" fmla="*/ 0 w 505386"/>
                <a:gd name="connsiteY3" fmla="*/ 144335 h 620768"/>
                <a:gd name="connsiteX4" fmla="*/ 0 w 505386"/>
                <a:gd name="connsiteY4" fmla="*/ 620769 h 620768"/>
                <a:gd name="connsiteX5" fmla="*/ 115809 w 505386"/>
                <a:gd name="connsiteY5" fmla="*/ 620769 h 620768"/>
                <a:gd name="connsiteX6" fmla="*/ 115809 w 505386"/>
                <a:gd name="connsiteY6" fmla="*/ 389577 h 620768"/>
                <a:gd name="connsiteX7" fmla="*/ 389577 w 505386"/>
                <a:gd name="connsiteY7" fmla="*/ 389577 h 620768"/>
                <a:gd name="connsiteX8" fmla="*/ 389577 w 505386"/>
                <a:gd name="connsiteY8" fmla="*/ 288670 h 620768"/>
                <a:gd name="connsiteX9" fmla="*/ 115383 w 505386"/>
                <a:gd name="connsiteY9" fmla="*/ 288670 h 620768"/>
                <a:gd name="connsiteX10" fmla="*/ 115383 w 505386"/>
                <a:gd name="connsiteY10" fmla="*/ 144335 h 620768"/>
                <a:gd name="connsiteX11" fmla="*/ 143909 w 505386"/>
                <a:gd name="connsiteY11" fmla="*/ 115809 h 620768"/>
                <a:gd name="connsiteX12" fmla="*/ 504960 w 505386"/>
                <a:gd name="connsiteY12" fmla="*/ 115809 h 620768"/>
                <a:gd name="connsiteX13" fmla="*/ 504960 w 505386"/>
                <a:gd name="connsiteY13" fmla="*/ 114957 h 620768"/>
                <a:gd name="connsiteX14" fmla="*/ 505386 w 505386"/>
                <a:gd name="connsiteY14" fmla="*/ 114957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5386" h="620768">
                  <a:moveTo>
                    <a:pt x="505386" y="114957"/>
                  </a:moveTo>
                  <a:lnTo>
                    <a:pt x="505386" y="0"/>
                  </a:lnTo>
                  <a:lnTo>
                    <a:pt x="144335" y="0"/>
                  </a:lnTo>
                  <a:cubicBezTo>
                    <a:pt x="64717" y="0"/>
                    <a:pt x="0" y="64717"/>
                    <a:pt x="0" y="144335"/>
                  </a:cubicBezTo>
                  <a:lnTo>
                    <a:pt x="0" y="620769"/>
                  </a:lnTo>
                  <a:lnTo>
                    <a:pt x="115809" y="620769"/>
                  </a:lnTo>
                  <a:lnTo>
                    <a:pt x="115809" y="389577"/>
                  </a:lnTo>
                  <a:lnTo>
                    <a:pt x="389577" y="389577"/>
                  </a:lnTo>
                  <a:lnTo>
                    <a:pt x="389577" y="288670"/>
                  </a:lnTo>
                  <a:lnTo>
                    <a:pt x="115383" y="288670"/>
                  </a:lnTo>
                  <a:lnTo>
                    <a:pt x="115383" y="144335"/>
                  </a:lnTo>
                  <a:cubicBezTo>
                    <a:pt x="115383" y="128582"/>
                    <a:pt x="128156" y="115809"/>
                    <a:pt x="143909" y="115809"/>
                  </a:cubicBezTo>
                  <a:lnTo>
                    <a:pt x="504960" y="115809"/>
                  </a:lnTo>
                  <a:lnTo>
                    <a:pt x="504960" y="114957"/>
                  </a:lnTo>
                  <a:lnTo>
                    <a:pt x="505386" y="114957"/>
                  </a:lnTo>
                  <a:close/>
                </a:path>
              </a:pathLst>
            </a:custGeom>
            <a:solidFill>
              <a:srgbClr val="B9052D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80EB3D69-9AD9-F587-4D94-775400148CC1}"/>
                </a:ext>
              </a:extLst>
            </p:cNvPr>
            <p:cNvSpPr/>
            <p:nvPr/>
          </p:nvSpPr>
          <p:spPr>
            <a:xfrm>
              <a:off x="6487699" y="3608175"/>
              <a:ext cx="625452" cy="635245"/>
            </a:xfrm>
            <a:custGeom>
              <a:avLst/>
              <a:gdLst>
                <a:gd name="connsiteX0" fmla="*/ 503257 w 625452"/>
                <a:gd name="connsiteY0" fmla="*/ 395964 h 635245"/>
                <a:gd name="connsiteX1" fmla="*/ 317197 w 625452"/>
                <a:gd name="connsiteY1" fmla="*/ 518585 h 635245"/>
                <a:gd name="connsiteX2" fmla="*/ 172862 w 625452"/>
                <a:gd name="connsiteY2" fmla="*/ 458126 h 635245"/>
                <a:gd name="connsiteX3" fmla="*/ 512198 w 625452"/>
                <a:gd name="connsiteY3" fmla="*/ 262699 h 635245"/>
                <a:gd name="connsiteX4" fmla="*/ 614383 w 625452"/>
                <a:gd name="connsiteY4" fmla="*/ 203943 h 635245"/>
                <a:gd name="connsiteX5" fmla="*/ 563716 w 625452"/>
                <a:gd name="connsiteY5" fmla="*/ 116660 h 635245"/>
                <a:gd name="connsiteX6" fmla="*/ 317623 w 625452"/>
                <a:gd name="connsiteY6" fmla="*/ 0 h 635245"/>
                <a:gd name="connsiteX7" fmla="*/ 0 w 625452"/>
                <a:gd name="connsiteY7" fmla="*/ 317623 h 635245"/>
                <a:gd name="connsiteX8" fmla="*/ 20863 w 625452"/>
                <a:gd name="connsiteY8" fmla="*/ 430877 h 635245"/>
                <a:gd name="connsiteX9" fmla="*/ 71529 w 625452"/>
                <a:gd name="connsiteY9" fmla="*/ 518159 h 635245"/>
                <a:gd name="connsiteX10" fmla="*/ 317623 w 625452"/>
                <a:gd name="connsiteY10" fmla="*/ 635245 h 635245"/>
                <a:gd name="connsiteX11" fmla="*/ 625453 w 625452"/>
                <a:gd name="connsiteY11" fmla="*/ 397241 h 635245"/>
                <a:gd name="connsiteX12" fmla="*/ 503257 w 625452"/>
                <a:gd name="connsiteY12" fmla="*/ 395964 h 635245"/>
                <a:gd name="connsiteX13" fmla="*/ 503257 w 625452"/>
                <a:gd name="connsiteY13" fmla="*/ 395964 h 635245"/>
                <a:gd name="connsiteX14" fmla="*/ 115383 w 625452"/>
                <a:gd name="connsiteY14" fmla="*/ 316771 h 635245"/>
                <a:gd name="connsiteX15" fmla="*/ 317623 w 625452"/>
                <a:gd name="connsiteY15" fmla="*/ 114531 h 635245"/>
                <a:gd name="connsiteX16" fmla="*/ 461958 w 625452"/>
                <a:gd name="connsiteY16" fmla="*/ 174990 h 635245"/>
                <a:gd name="connsiteX17" fmla="*/ 123047 w 625452"/>
                <a:gd name="connsiteY17" fmla="*/ 370844 h 635245"/>
                <a:gd name="connsiteX18" fmla="*/ 115383 w 625452"/>
                <a:gd name="connsiteY18" fmla="*/ 316771 h 63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5452" h="635245">
                  <a:moveTo>
                    <a:pt x="503257" y="395964"/>
                  </a:moveTo>
                  <a:cubicBezTo>
                    <a:pt x="472602" y="467918"/>
                    <a:pt x="401073" y="518585"/>
                    <a:pt x="317197" y="518585"/>
                  </a:cubicBezTo>
                  <a:cubicBezTo>
                    <a:pt x="260570" y="518585"/>
                    <a:pt x="209478" y="495593"/>
                    <a:pt x="172862" y="458126"/>
                  </a:cubicBezTo>
                  <a:lnTo>
                    <a:pt x="512198" y="262699"/>
                  </a:lnTo>
                  <a:lnTo>
                    <a:pt x="614383" y="203943"/>
                  </a:lnTo>
                  <a:cubicBezTo>
                    <a:pt x="602035" y="172010"/>
                    <a:pt x="585005" y="142632"/>
                    <a:pt x="563716" y="116660"/>
                  </a:cubicBezTo>
                  <a:cubicBezTo>
                    <a:pt x="505812" y="45131"/>
                    <a:pt x="417252" y="0"/>
                    <a:pt x="317623" y="0"/>
                  </a:cubicBezTo>
                  <a:cubicBezTo>
                    <a:pt x="142206" y="0"/>
                    <a:pt x="0" y="142206"/>
                    <a:pt x="0" y="317623"/>
                  </a:cubicBezTo>
                  <a:cubicBezTo>
                    <a:pt x="0" y="357219"/>
                    <a:pt x="7238" y="395538"/>
                    <a:pt x="20863" y="430877"/>
                  </a:cubicBezTo>
                  <a:cubicBezTo>
                    <a:pt x="33210" y="462809"/>
                    <a:pt x="50241" y="492187"/>
                    <a:pt x="71529" y="518159"/>
                  </a:cubicBezTo>
                  <a:cubicBezTo>
                    <a:pt x="129859" y="589688"/>
                    <a:pt x="218419" y="635245"/>
                    <a:pt x="317623" y="635245"/>
                  </a:cubicBezTo>
                  <a:cubicBezTo>
                    <a:pt x="465790" y="635245"/>
                    <a:pt x="589688" y="534338"/>
                    <a:pt x="625453" y="397241"/>
                  </a:cubicBezTo>
                  <a:lnTo>
                    <a:pt x="503257" y="395964"/>
                  </a:lnTo>
                  <a:lnTo>
                    <a:pt x="503257" y="395964"/>
                  </a:lnTo>
                  <a:close/>
                  <a:moveTo>
                    <a:pt x="115383" y="316771"/>
                  </a:moveTo>
                  <a:cubicBezTo>
                    <a:pt x="115383" y="205220"/>
                    <a:pt x="206072" y="114531"/>
                    <a:pt x="317623" y="114531"/>
                  </a:cubicBezTo>
                  <a:cubicBezTo>
                    <a:pt x="374250" y="114531"/>
                    <a:pt x="425342" y="137523"/>
                    <a:pt x="461958" y="174990"/>
                  </a:cubicBezTo>
                  <a:lnTo>
                    <a:pt x="123047" y="370844"/>
                  </a:lnTo>
                  <a:cubicBezTo>
                    <a:pt x="118363" y="353813"/>
                    <a:pt x="115383" y="335931"/>
                    <a:pt x="115383" y="316771"/>
                  </a:cubicBezTo>
                </a:path>
              </a:pathLst>
            </a:custGeom>
            <a:solidFill>
              <a:srgbClr val="B9052D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32E39AE-E79A-8AF0-F49C-E03D0F110EAD}"/>
                </a:ext>
              </a:extLst>
            </p:cNvPr>
            <p:cNvSpPr/>
            <p:nvPr/>
          </p:nvSpPr>
          <p:spPr>
            <a:xfrm>
              <a:off x="8659524" y="4396917"/>
              <a:ext cx="366355" cy="371489"/>
            </a:xfrm>
            <a:custGeom>
              <a:avLst/>
              <a:gdLst>
                <a:gd name="connsiteX0" fmla="*/ 242704 w 366355"/>
                <a:gd name="connsiteY0" fmla="*/ 64921 h 371489"/>
                <a:gd name="connsiteX1" fmla="*/ 180542 w 366355"/>
                <a:gd name="connsiteY1" fmla="*/ 44059 h 371489"/>
                <a:gd name="connsiteX2" fmla="*/ 114122 w 366355"/>
                <a:gd name="connsiteY2" fmla="*/ 61941 h 371489"/>
                <a:gd name="connsiteX3" fmla="*/ 63881 w 366355"/>
                <a:gd name="connsiteY3" fmla="*/ 111330 h 371489"/>
                <a:gd name="connsiteX4" fmla="*/ 47702 w 366355"/>
                <a:gd name="connsiteY4" fmla="*/ 178601 h 371489"/>
                <a:gd name="connsiteX5" fmla="*/ 70268 w 366355"/>
                <a:gd name="connsiteY5" fmla="*/ 252259 h 371489"/>
                <a:gd name="connsiteX6" fmla="*/ 122637 w 366355"/>
                <a:gd name="connsiteY6" fmla="*/ 308460 h 371489"/>
                <a:gd name="connsiteX7" fmla="*/ 188631 w 366355"/>
                <a:gd name="connsiteY7" fmla="*/ 327620 h 371489"/>
                <a:gd name="connsiteX8" fmla="*/ 256328 w 366355"/>
                <a:gd name="connsiteY8" fmla="*/ 308460 h 371489"/>
                <a:gd name="connsiteX9" fmla="*/ 315936 w 366355"/>
                <a:gd name="connsiteY9" fmla="*/ 237357 h 371489"/>
                <a:gd name="connsiteX10" fmla="*/ 307420 w 366355"/>
                <a:gd name="connsiteY10" fmla="*/ 143262 h 371489"/>
                <a:gd name="connsiteX11" fmla="*/ 182245 w 366355"/>
                <a:gd name="connsiteY11" fmla="*/ 215643 h 371489"/>
                <a:gd name="connsiteX12" fmla="*/ 163085 w 366355"/>
                <a:gd name="connsiteY12" fmla="*/ 182433 h 371489"/>
                <a:gd name="connsiteX13" fmla="*/ 331689 w 366355"/>
                <a:gd name="connsiteY13" fmla="*/ 84932 h 371489"/>
                <a:gd name="connsiteX14" fmla="*/ 349571 w 366355"/>
                <a:gd name="connsiteY14" fmla="*/ 116439 h 371489"/>
                <a:gd name="connsiteX15" fmla="*/ 366176 w 366355"/>
                <a:gd name="connsiteY15" fmla="*/ 201167 h 371489"/>
                <a:gd name="connsiteX16" fmla="*/ 341056 w 366355"/>
                <a:gd name="connsiteY16" fmla="*/ 283766 h 371489"/>
                <a:gd name="connsiteX17" fmla="*/ 276765 w 366355"/>
                <a:gd name="connsiteY17" fmla="*/ 345928 h 371489"/>
                <a:gd name="connsiteX18" fmla="*/ 185225 w 366355"/>
                <a:gd name="connsiteY18" fmla="*/ 371474 h 371489"/>
                <a:gd name="connsiteX19" fmla="*/ 95388 w 366355"/>
                <a:gd name="connsiteY19" fmla="*/ 347631 h 371489"/>
                <a:gd name="connsiteX20" fmla="*/ 26840 w 366355"/>
                <a:gd name="connsiteY20" fmla="*/ 277379 h 371489"/>
                <a:gd name="connsiteX21" fmla="*/ 16 w 366355"/>
                <a:gd name="connsiteY21" fmla="*/ 182859 h 371489"/>
                <a:gd name="connsiteX22" fmla="*/ 23859 w 366355"/>
                <a:gd name="connsiteY22" fmla="*/ 93022 h 371489"/>
                <a:gd name="connsiteX23" fmla="*/ 91556 w 366355"/>
                <a:gd name="connsiteY23" fmla="*/ 26602 h 371489"/>
                <a:gd name="connsiteX24" fmla="*/ 194166 w 366355"/>
                <a:gd name="connsiteY24" fmla="*/ 205 h 371489"/>
                <a:gd name="connsiteX25" fmla="*/ 290390 w 366355"/>
                <a:gd name="connsiteY25" fmla="*/ 37672 h 371489"/>
                <a:gd name="connsiteX26" fmla="*/ 242704 w 366355"/>
                <a:gd name="connsiteY26" fmla="*/ 64921 h 371489"/>
                <a:gd name="connsiteX27" fmla="*/ 242704 w 366355"/>
                <a:gd name="connsiteY27" fmla="*/ 64921 h 37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6355" h="371489">
                  <a:moveTo>
                    <a:pt x="242704" y="64921"/>
                  </a:moveTo>
                  <a:cubicBezTo>
                    <a:pt x="223544" y="51722"/>
                    <a:pt x="202682" y="44910"/>
                    <a:pt x="180542" y="44059"/>
                  </a:cubicBezTo>
                  <a:cubicBezTo>
                    <a:pt x="158402" y="43633"/>
                    <a:pt x="135836" y="49594"/>
                    <a:pt x="114122" y="61941"/>
                  </a:cubicBezTo>
                  <a:cubicBezTo>
                    <a:pt x="92408" y="74288"/>
                    <a:pt x="75377" y="91319"/>
                    <a:pt x="63881" y="111330"/>
                  </a:cubicBezTo>
                  <a:cubicBezTo>
                    <a:pt x="52386" y="131341"/>
                    <a:pt x="46425" y="153907"/>
                    <a:pt x="47702" y="178601"/>
                  </a:cubicBezTo>
                  <a:cubicBezTo>
                    <a:pt x="48554" y="203296"/>
                    <a:pt x="56217" y="227564"/>
                    <a:pt x="70268" y="252259"/>
                  </a:cubicBezTo>
                  <a:cubicBezTo>
                    <a:pt x="84318" y="276953"/>
                    <a:pt x="101775" y="295687"/>
                    <a:pt x="122637" y="308460"/>
                  </a:cubicBezTo>
                  <a:cubicBezTo>
                    <a:pt x="143500" y="321233"/>
                    <a:pt x="165214" y="327620"/>
                    <a:pt x="188631" y="327620"/>
                  </a:cubicBezTo>
                  <a:cubicBezTo>
                    <a:pt x="212048" y="327620"/>
                    <a:pt x="234614" y="321233"/>
                    <a:pt x="256328" y="308460"/>
                  </a:cubicBezTo>
                  <a:cubicBezTo>
                    <a:pt x="286983" y="290578"/>
                    <a:pt x="306569" y="267161"/>
                    <a:pt x="315936" y="237357"/>
                  </a:cubicBezTo>
                  <a:cubicBezTo>
                    <a:pt x="325303" y="207979"/>
                    <a:pt x="322322" y="176047"/>
                    <a:pt x="307420" y="143262"/>
                  </a:cubicBezTo>
                  <a:lnTo>
                    <a:pt x="182245" y="215643"/>
                  </a:lnTo>
                  <a:lnTo>
                    <a:pt x="163085" y="182433"/>
                  </a:lnTo>
                  <a:lnTo>
                    <a:pt x="331689" y="84932"/>
                  </a:lnTo>
                  <a:lnTo>
                    <a:pt x="349571" y="116439"/>
                  </a:lnTo>
                  <a:cubicBezTo>
                    <a:pt x="361918" y="143688"/>
                    <a:pt x="367454" y="172215"/>
                    <a:pt x="366176" y="201167"/>
                  </a:cubicBezTo>
                  <a:cubicBezTo>
                    <a:pt x="364899" y="230545"/>
                    <a:pt x="356384" y="258220"/>
                    <a:pt x="341056" y="283766"/>
                  </a:cubicBezTo>
                  <a:cubicBezTo>
                    <a:pt x="325728" y="309312"/>
                    <a:pt x="304014" y="330174"/>
                    <a:pt x="276765" y="345928"/>
                  </a:cubicBezTo>
                  <a:cubicBezTo>
                    <a:pt x="247387" y="362533"/>
                    <a:pt x="217157" y="371474"/>
                    <a:pt x="185225" y="371474"/>
                  </a:cubicBezTo>
                  <a:cubicBezTo>
                    <a:pt x="153292" y="371900"/>
                    <a:pt x="123489" y="363810"/>
                    <a:pt x="95388" y="347631"/>
                  </a:cubicBezTo>
                  <a:cubicBezTo>
                    <a:pt x="67287" y="331452"/>
                    <a:pt x="44722" y="308034"/>
                    <a:pt x="26840" y="277379"/>
                  </a:cubicBezTo>
                  <a:cubicBezTo>
                    <a:pt x="8957" y="246724"/>
                    <a:pt x="442" y="215217"/>
                    <a:pt x="16" y="182859"/>
                  </a:cubicBezTo>
                  <a:cubicBezTo>
                    <a:pt x="-410" y="150500"/>
                    <a:pt x="7680" y="120271"/>
                    <a:pt x="23859" y="93022"/>
                  </a:cubicBezTo>
                  <a:cubicBezTo>
                    <a:pt x="40038" y="65773"/>
                    <a:pt x="62604" y="43207"/>
                    <a:pt x="91556" y="26602"/>
                  </a:cubicBezTo>
                  <a:cubicBezTo>
                    <a:pt x="124766" y="7443"/>
                    <a:pt x="158828" y="-1499"/>
                    <a:pt x="194166" y="205"/>
                  </a:cubicBezTo>
                  <a:cubicBezTo>
                    <a:pt x="229505" y="1908"/>
                    <a:pt x="261437" y="14681"/>
                    <a:pt x="290390" y="37672"/>
                  </a:cubicBezTo>
                  <a:lnTo>
                    <a:pt x="242704" y="64921"/>
                  </a:lnTo>
                  <a:lnTo>
                    <a:pt x="242704" y="64921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E40E1EC-9C01-85B1-41DB-31BD7F998ED7}"/>
                </a:ext>
              </a:extLst>
            </p:cNvPr>
            <p:cNvSpPr/>
            <p:nvPr/>
          </p:nvSpPr>
          <p:spPr>
            <a:xfrm>
              <a:off x="6794252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9 w 284838"/>
                <a:gd name="connsiteY8" fmla="*/ 362754 h 362753"/>
                <a:gd name="connsiteX9" fmla="*/ 284839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9" y="362754"/>
                  </a:lnTo>
                  <a:lnTo>
                    <a:pt x="284839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3FDF9AE-52BD-5CA7-24B5-1BD4247FF3BD}"/>
                </a:ext>
              </a:extLst>
            </p:cNvPr>
            <p:cNvSpPr/>
            <p:nvPr/>
          </p:nvSpPr>
          <p:spPr>
            <a:xfrm>
              <a:off x="7762873" y="4402657"/>
              <a:ext cx="173713" cy="362328"/>
            </a:xfrm>
            <a:custGeom>
              <a:avLst/>
              <a:gdLst>
                <a:gd name="connsiteX0" fmla="*/ 0 w 173713"/>
                <a:gd name="connsiteY0" fmla="*/ 0 h 362328"/>
                <a:gd name="connsiteX1" fmla="*/ 0 w 173713"/>
                <a:gd name="connsiteY1" fmla="*/ 362328 h 362328"/>
                <a:gd name="connsiteX2" fmla="*/ 173713 w 173713"/>
                <a:gd name="connsiteY2" fmla="*/ 362328 h 362328"/>
                <a:gd name="connsiteX3" fmla="*/ 173713 w 173713"/>
                <a:gd name="connsiteY3" fmla="*/ 323583 h 362328"/>
                <a:gd name="connsiteX4" fmla="*/ 47260 w 173713"/>
                <a:gd name="connsiteY4" fmla="*/ 323583 h 362328"/>
                <a:gd name="connsiteX5" fmla="*/ 47260 w 173713"/>
                <a:gd name="connsiteY5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13" h="362328">
                  <a:moveTo>
                    <a:pt x="0" y="0"/>
                  </a:moveTo>
                  <a:lnTo>
                    <a:pt x="0" y="362328"/>
                  </a:lnTo>
                  <a:lnTo>
                    <a:pt x="173713" y="362328"/>
                  </a:lnTo>
                  <a:lnTo>
                    <a:pt x="173713" y="323583"/>
                  </a:lnTo>
                  <a:lnTo>
                    <a:pt x="47260" y="323583"/>
                  </a:lnTo>
                  <a:lnTo>
                    <a:pt x="47260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E70430A-84AB-1D5D-D38F-3C16E286ED7E}"/>
                </a:ext>
              </a:extLst>
            </p:cNvPr>
            <p:cNvSpPr/>
            <p:nvPr/>
          </p:nvSpPr>
          <p:spPr>
            <a:xfrm>
              <a:off x="7909337" y="4402657"/>
              <a:ext cx="245667" cy="362328"/>
            </a:xfrm>
            <a:custGeom>
              <a:avLst/>
              <a:gdLst>
                <a:gd name="connsiteX0" fmla="*/ 0 w 245667"/>
                <a:gd name="connsiteY0" fmla="*/ 0 h 362328"/>
                <a:gd name="connsiteX1" fmla="*/ 0 w 245667"/>
                <a:gd name="connsiteY1" fmla="*/ 38745 h 362328"/>
                <a:gd name="connsiteX2" fmla="*/ 99630 w 245667"/>
                <a:gd name="connsiteY2" fmla="*/ 38745 h 362328"/>
                <a:gd name="connsiteX3" fmla="*/ 99630 w 245667"/>
                <a:gd name="connsiteY3" fmla="*/ 362328 h 362328"/>
                <a:gd name="connsiteX4" fmla="*/ 146890 w 245667"/>
                <a:gd name="connsiteY4" fmla="*/ 362328 h 362328"/>
                <a:gd name="connsiteX5" fmla="*/ 146890 w 245667"/>
                <a:gd name="connsiteY5" fmla="*/ 38745 h 362328"/>
                <a:gd name="connsiteX6" fmla="*/ 245668 w 245667"/>
                <a:gd name="connsiteY6" fmla="*/ 38745 h 362328"/>
                <a:gd name="connsiteX7" fmla="*/ 245668 w 245667"/>
                <a:gd name="connsiteY7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667" h="362328">
                  <a:moveTo>
                    <a:pt x="0" y="0"/>
                  </a:moveTo>
                  <a:lnTo>
                    <a:pt x="0" y="38745"/>
                  </a:lnTo>
                  <a:lnTo>
                    <a:pt x="99630" y="38745"/>
                  </a:lnTo>
                  <a:lnTo>
                    <a:pt x="99630" y="362328"/>
                  </a:lnTo>
                  <a:lnTo>
                    <a:pt x="146890" y="362328"/>
                  </a:lnTo>
                  <a:lnTo>
                    <a:pt x="146890" y="38745"/>
                  </a:lnTo>
                  <a:lnTo>
                    <a:pt x="245668" y="38745"/>
                  </a:lnTo>
                  <a:lnTo>
                    <a:pt x="245668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141FA50-18CB-01FE-2351-013B24E1A8BE}"/>
                </a:ext>
              </a:extLst>
            </p:cNvPr>
            <p:cNvSpPr/>
            <p:nvPr/>
          </p:nvSpPr>
          <p:spPr>
            <a:xfrm>
              <a:off x="8212910" y="4402657"/>
              <a:ext cx="47260" cy="362328"/>
            </a:xfrm>
            <a:custGeom>
              <a:avLst/>
              <a:gdLst>
                <a:gd name="connsiteX0" fmla="*/ 0 w 47260"/>
                <a:gd name="connsiteY0" fmla="*/ 0 h 362328"/>
                <a:gd name="connsiteX1" fmla="*/ 47260 w 47260"/>
                <a:gd name="connsiteY1" fmla="*/ 0 h 362328"/>
                <a:gd name="connsiteX2" fmla="*/ 47260 w 47260"/>
                <a:gd name="connsiteY2" fmla="*/ 362328 h 362328"/>
                <a:gd name="connsiteX3" fmla="*/ 0 w 47260"/>
                <a:gd name="connsiteY3" fmla="*/ 362328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260" h="362328">
                  <a:moveTo>
                    <a:pt x="0" y="0"/>
                  </a:moveTo>
                  <a:lnTo>
                    <a:pt x="47260" y="0"/>
                  </a:lnTo>
                  <a:lnTo>
                    <a:pt x="47260" y="362328"/>
                  </a:lnTo>
                  <a:lnTo>
                    <a:pt x="0" y="362328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820BB54-F0AF-5D38-EDCD-A0880638BE99}"/>
                </a:ext>
              </a:extLst>
            </p:cNvPr>
            <p:cNvSpPr/>
            <p:nvPr/>
          </p:nvSpPr>
          <p:spPr>
            <a:xfrm>
              <a:off x="7432478" y="4402657"/>
              <a:ext cx="272065" cy="365734"/>
            </a:xfrm>
            <a:custGeom>
              <a:avLst/>
              <a:gdLst>
                <a:gd name="connsiteX0" fmla="*/ 46834 w 272065"/>
                <a:gd name="connsiteY0" fmla="*/ 0 h 365734"/>
                <a:gd name="connsiteX1" fmla="*/ 46834 w 272065"/>
                <a:gd name="connsiteY1" fmla="*/ 229063 h 365734"/>
                <a:gd name="connsiteX2" fmla="*/ 70252 w 272065"/>
                <a:gd name="connsiteY2" fmla="*/ 300592 h 365734"/>
                <a:gd name="connsiteX3" fmla="*/ 135820 w 272065"/>
                <a:gd name="connsiteY3" fmla="*/ 324009 h 365734"/>
                <a:gd name="connsiteX4" fmla="*/ 201388 w 272065"/>
                <a:gd name="connsiteY4" fmla="*/ 300592 h 365734"/>
                <a:gd name="connsiteX5" fmla="*/ 224805 w 272065"/>
                <a:gd name="connsiteY5" fmla="*/ 229063 h 365734"/>
                <a:gd name="connsiteX6" fmla="*/ 224805 w 272065"/>
                <a:gd name="connsiteY6" fmla="*/ 0 h 365734"/>
                <a:gd name="connsiteX7" fmla="*/ 272066 w 272065"/>
                <a:gd name="connsiteY7" fmla="*/ 0 h 365734"/>
                <a:gd name="connsiteX8" fmla="*/ 272066 w 272065"/>
                <a:gd name="connsiteY8" fmla="*/ 228637 h 365734"/>
                <a:gd name="connsiteX9" fmla="*/ 254183 w 272065"/>
                <a:gd name="connsiteY9" fmla="*/ 304850 h 365734"/>
                <a:gd name="connsiteX10" fmla="*/ 205220 w 272065"/>
                <a:gd name="connsiteY10" fmla="*/ 350832 h 365734"/>
                <a:gd name="connsiteX11" fmla="*/ 135820 w 272065"/>
                <a:gd name="connsiteY11" fmla="*/ 365734 h 365734"/>
                <a:gd name="connsiteX12" fmla="*/ 66420 w 272065"/>
                <a:gd name="connsiteY12" fmla="*/ 350832 h 365734"/>
                <a:gd name="connsiteX13" fmla="*/ 17882 w 272065"/>
                <a:gd name="connsiteY13" fmla="*/ 304850 h 365734"/>
                <a:gd name="connsiteX14" fmla="*/ 0 w 272065"/>
                <a:gd name="connsiteY14" fmla="*/ 228637 h 365734"/>
                <a:gd name="connsiteX15" fmla="*/ 0 w 272065"/>
                <a:gd name="connsiteY15" fmla="*/ 0 h 365734"/>
                <a:gd name="connsiteX16" fmla="*/ 46834 w 272065"/>
                <a:gd name="connsiteY16" fmla="*/ 0 h 365734"/>
                <a:gd name="connsiteX17" fmla="*/ 46834 w 272065"/>
                <a:gd name="connsiteY17" fmla="*/ 0 h 36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2065" h="365734">
                  <a:moveTo>
                    <a:pt x="46834" y="0"/>
                  </a:moveTo>
                  <a:lnTo>
                    <a:pt x="46834" y="229063"/>
                  </a:lnTo>
                  <a:cubicBezTo>
                    <a:pt x="46834" y="261421"/>
                    <a:pt x="54924" y="285264"/>
                    <a:pt x="70252" y="300592"/>
                  </a:cubicBezTo>
                  <a:cubicBezTo>
                    <a:pt x="86005" y="316345"/>
                    <a:pt x="107719" y="324009"/>
                    <a:pt x="135820" y="324009"/>
                  </a:cubicBezTo>
                  <a:cubicBezTo>
                    <a:pt x="163921" y="324009"/>
                    <a:pt x="185209" y="316345"/>
                    <a:pt x="201388" y="300592"/>
                  </a:cubicBezTo>
                  <a:cubicBezTo>
                    <a:pt x="217141" y="284838"/>
                    <a:pt x="224805" y="260995"/>
                    <a:pt x="224805" y="229063"/>
                  </a:cubicBezTo>
                  <a:lnTo>
                    <a:pt x="224805" y="0"/>
                  </a:lnTo>
                  <a:lnTo>
                    <a:pt x="272066" y="0"/>
                  </a:lnTo>
                  <a:lnTo>
                    <a:pt x="272066" y="228637"/>
                  </a:lnTo>
                  <a:cubicBezTo>
                    <a:pt x="272066" y="258867"/>
                    <a:pt x="266105" y="284413"/>
                    <a:pt x="254183" y="304850"/>
                  </a:cubicBezTo>
                  <a:cubicBezTo>
                    <a:pt x="241836" y="325286"/>
                    <a:pt x="225657" y="340614"/>
                    <a:pt x="205220" y="350832"/>
                  </a:cubicBezTo>
                  <a:cubicBezTo>
                    <a:pt x="184783" y="361051"/>
                    <a:pt x="161366" y="365734"/>
                    <a:pt x="135820" y="365734"/>
                  </a:cubicBezTo>
                  <a:cubicBezTo>
                    <a:pt x="110274" y="365734"/>
                    <a:pt x="87282" y="361051"/>
                    <a:pt x="66420" y="350832"/>
                  </a:cubicBezTo>
                  <a:cubicBezTo>
                    <a:pt x="45983" y="340614"/>
                    <a:pt x="29804" y="325286"/>
                    <a:pt x="17882" y="304850"/>
                  </a:cubicBezTo>
                  <a:cubicBezTo>
                    <a:pt x="5961" y="284413"/>
                    <a:pt x="0" y="258867"/>
                    <a:pt x="0" y="228637"/>
                  </a:cubicBezTo>
                  <a:lnTo>
                    <a:pt x="0" y="0"/>
                  </a:lnTo>
                  <a:lnTo>
                    <a:pt x="46834" y="0"/>
                  </a:lnTo>
                  <a:lnTo>
                    <a:pt x="46834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E182C70-3A4F-F23A-D0CF-01A4EF9F0DA9}"/>
                </a:ext>
              </a:extLst>
            </p:cNvPr>
            <p:cNvSpPr/>
            <p:nvPr/>
          </p:nvSpPr>
          <p:spPr>
            <a:xfrm>
              <a:off x="7136995" y="4398399"/>
              <a:ext cx="245667" cy="369595"/>
            </a:xfrm>
            <a:custGeom>
              <a:avLst/>
              <a:gdLst>
                <a:gd name="connsiteX0" fmla="*/ 61311 w 245667"/>
                <a:gd name="connsiteY0" fmla="*/ 357645 h 369595"/>
                <a:gd name="connsiteX1" fmla="*/ 16605 w 245667"/>
                <a:gd name="connsiteY1" fmla="*/ 322306 h 369595"/>
                <a:gd name="connsiteX2" fmla="*/ 0 w 245667"/>
                <a:gd name="connsiteY2" fmla="*/ 269937 h 369595"/>
                <a:gd name="connsiteX3" fmla="*/ 50241 w 245667"/>
                <a:gd name="connsiteY3" fmla="*/ 269937 h 369595"/>
                <a:gd name="connsiteX4" fmla="*/ 71103 w 245667"/>
                <a:gd name="connsiteY4" fmla="*/ 312513 h 369595"/>
                <a:gd name="connsiteX5" fmla="*/ 124750 w 245667"/>
                <a:gd name="connsiteY5" fmla="*/ 329970 h 369595"/>
                <a:gd name="connsiteX6" fmla="*/ 177971 w 245667"/>
                <a:gd name="connsiteY6" fmla="*/ 312939 h 369595"/>
                <a:gd name="connsiteX7" fmla="*/ 197556 w 245667"/>
                <a:gd name="connsiteY7" fmla="*/ 269511 h 369595"/>
                <a:gd name="connsiteX8" fmla="*/ 186061 w 245667"/>
                <a:gd name="connsiteY8" fmla="*/ 235875 h 369595"/>
                <a:gd name="connsiteX9" fmla="*/ 157534 w 245667"/>
                <a:gd name="connsiteY9" fmla="*/ 216290 h 369595"/>
                <a:gd name="connsiteX10" fmla="*/ 111125 w 245667"/>
                <a:gd name="connsiteY10" fmla="*/ 201814 h 369595"/>
                <a:gd name="connsiteX11" fmla="*/ 53647 w 245667"/>
                <a:gd name="connsiteY11" fmla="*/ 183080 h 369595"/>
                <a:gd name="connsiteX12" fmla="*/ 17031 w 245667"/>
                <a:gd name="connsiteY12" fmla="*/ 153702 h 369595"/>
                <a:gd name="connsiteX13" fmla="*/ 1703 w 245667"/>
                <a:gd name="connsiteY13" fmla="*/ 100055 h 369595"/>
                <a:gd name="connsiteX14" fmla="*/ 16605 w 245667"/>
                <a:gd name="connsiteY14" fmla="*/ 47686 h 369595"/>
                <a:gd name="connsiteX15" fmla="*/ 59182 w 245667"/>
                <a:gd name="connsiteY15" fmla="*/ 12347 h 369595"/>
                <a:gd name="connsiteX16" fmla="*/ 121770 w 245667"/>
                <a:gd name="connsiteY16" fmla="*/ 0 h 369595"/>
                <a:gd name="connsiteX17" fmla="*/ 205220 w 245667"/>
                <a:gd name="connsiteY17" fmla="*/ 25546 h 369595"/>
                <a:gd name="connsiteX18" fmla="*/ 241836 w 245667"/>
                <a:gd name="connsiteY18" fmla="*/ 92817 h 369595"/>
                <a:gd name="connsiteX19" fmla="*/ 189892 w 245667"/>
                <a:gd name="connsiteY19" fmla="*/ 92817 h 369595"/>
                <a:gd name="connsiteX20" fmla="*/ 168178 w 245667"/>
                <a:gd name="connsiteY20" fmla="*/ 56201 h 369595"/>
                <a:gd name="connsiteX21" fmla="*/ 117512 w 245667"/>
                <a:gd name="connsiteY21" fmla="*/ 40022 h 369595"/>
                <a:gd name="connsiteX22" fmla="*/ 68974 w 245667"/>
                <a:gd name="connsiteY22" fmla="*/ 55350 h 369595"/>
                <a:gd name="connsiteX23" fmla="*/ 50241 w 245667"/>
                <a:gd name="connsiteY23" fmla="*/ 97927 h 369595"/>
                <a:gd name="connsiteX24" fmla="*/ 61311 w 245667"/>
                <a:gd name="connsiteY24" fmla="*/ 130285 h 369595"/>
                <a:gd name="connsiteX25" fmla="*/ 88985 w 245667"/>
                <a:gd name="connsiteY25" fmla="*/ 149444 h 369595"/>
                <a:gd name="connsiteX26" fmla="*/ 134968 w 245667"/>
                <a:gd name="connsiteY26" fmla="*/ 164346 h 369595"/>
                <a:gd name="connsiteX27" fmla="*/ 192447 w 245667"/>
                <a:gd name="connsiteY27" fmla="*/ 183932 h 369595"/>
                <a:gd name="connsiteX28" fmla="*/ 229915 w 245667"/>
                <a:gd name="connsiteY28" fmla="*/ 213310 h 369595"/>
                <a:gd name="connsiteX29" fmla="*/ 245668 w 245667"/>
                <a:gd name="connsiteY29" fmla="*/ 267382 h 369595"/>
                <a:gd name="connsiteX30" fmla="*/ 231618 w 245667"/>
                <a:gd name="connsiteY30" fmla="*/ 317197 h 369595"/>
                <a:gd name="connsiteX31" fmla="*/ 189892 w 245667"/>
                <a:gd name="connsiteY31" fmla="*/ 355090 h 369595"/>
                <a:gd name="connsiteX32" fmla="*/ 124750 w 245667"/>
                <a:gd name="connsiteY32" fmla="*/ 369566 h 369595"/>
                <a:gd name="connsiteX33" fmla="*/ 61311 w 245667"/>
                <a:gd name="connsiteY33" fmla="*/ 357645 h 369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45667" h="369595">
                  <a:moveTo>
                    <a:pt x="61311" y="357645"/>
                  </a:moveTo>
                  <a:cubicBezTo>
                    <a:pt x="42577" y="349129"/>
                    <a:pt x="27675" y="337634"/>
                    <a:pt x="16605" y="322306"/>
                  </a:cubicBezTo>
                  <a:cubicBezTo>
                    <a:pt x="5961" y="307404"/>
                    <a:pt x="426" y="289948"/>
                    <a:pt x="0" y="269937"/>
                  </a:cubicBezTo>
                  <a:lnTo>
                    <a:pt x="50241" y="269937"/>
                  </a:lnTo>
                  <a:cubicBezTo>
                    <a:pt x="51944" y="286967"/>
                    <a:pt x="58756" y="301443"/>
                    <a:pt x="71103" y="312513"/>
                  </a:cubicBezTo>
                  <a:cubicBezTo>
                    <a:pt x="83450" y="323583"/>
                    <a:pt x="101333" y="329970"/>
                    <a:pt x="124750" y="329970"/>
                  </a:cubicBezTo>
                  <a:cubicBezTo>
                    <a:pt x="148167" y="329970"/>
                    <a:pt x="165198" y="324435"/>
                    <a:pt x="177971" y="312939"/>
                  </a:cubicBezTo>
                  <a:cubicBezTo>
                    <a:pt x="190744" y="301869"/>
                    <a:pt x="197556" y="287393"/>
                    <a:pt x="197556" y="269511"/>
                  </a:cubicBezTo>
                  <a:cubicBezTo>
                    <a:pt x="197556" y="255461"/>
                    <a:pt x="193724" y="244391"/>
                    <a:pt x="186061" y="235875"/>
                  </a:cubicBezTo>
                  <a:cubicBezTo>
                    <a:pt x="178397" y="227360"/>
                    <a:pt x="169030" y="220548"/>
                    <a:pt x="157534" y="216290"/>
                  </a:cubicBezTo>
                  <a:cubicBezTo>
                    <a:pt x="146038" y="211607"/>
                    <a:pt x="130711" y="206923"/>
                    <a:pt x="111125" y="201814"/>
                  </a:cubicBezTo>
                  <a:cubicBezTo>
                    <a:pt x="87282" y="195427"/>
                    <a:pt x="68123" y="189467"/>
                    <a:pt x="53647" y="183080"/>
                  </a:cubicBezTo>
                  <a:cubicBezTo>
                    <a:pt x="39171" y="176694"/>
                    <a:pt x="26823" y="166901"/>
                    <a:pt x="17031" y="153702"/>
                  </a:cubicBezTo>
                  <a:cubicBezTo>
                    <a:pt x="6812" y="140503"/>
                    <a:pt x="1703" y="122195"/>
                    <a:pt x="1703" y="100055"/>
                  </a:cubicBezTo>
                  <a:cubicBezTo>
                    <a:pt x="1703" y="80470"/>
                    <a:pt x="6387" y="63014"/>
                    <a:pt x="16605" y="47686"/>
                  </a:cubicBezTo>
                  <a:cubicBezTo>
                    <a:pt x="26823" y="32358"/>
                    <a:pt x="40874" y="20437"/>
                    <a:pt x="59182" y="12347"/>
                  </a:cubicBezTo>
                  <a:cubicBezTo>
                    <a:pt x="77064" y="3832"/>
                    <a:pt x="97927" y="0"/>
                    <a:pt x="121770" y="0"/>
                  </a:cubicBezTo>
                  <a:cubicBezTo>
                    <a:pt x="155831" y="0"/>
                    <a:pt x="183506" y="8515"/>
                    <a:pt x="205220" y="25546"/>
                  </a:cubicBezTo>
                  <a:cubicBezTo>
                    <a:pt x="226934" y="42577"/>
                    <a:pt x="238856" y="65142"/>
                    <a:pt x="241836" y="92817"/>
                  </a:cubicBezTo>
                  <a:lnTo>
                    <a:pt x="189892" y="92817"/>
                  </a:lnTo>
                  <a:cubicBezTo>
                    <a:pt x="188189" y="78767"/>
                    <a:pt x="180951" y="66846"/>
                    <a:pt x="168178" y="56201"/>
                  </a:cubicBezTo>
                  <a:cubicBezTo>
                    <a:pt x="155405" y="45983"/>
                    <a:pt x="138374" y="40022"/>
                    <a:pt x="117512" y="40022"/>
                  </a:cubicBezTo>
                  <a:cubicBezTo>
                    <a:pt x="96649" y="40022"/>
                    <a:pt x="81747" y="45131"/>
                    <a:pt x="68974" y="55350"/>
                  </a:cubicBezTo>
                  <a:cubicBezTo>
                    <a:pt x="56201" y="65568"/>
                    <a:pt x="50241" y="79619"/>
                    <a:pt x="50241" y="97927"/>
                  </a:cubicBezTo>
                  <a:cubicBezTo>
                    <a:pt x="50241" y="111125"/>
                    <a:pt x="54073" y="121770"/>
                    <a:pt x="61311" y="130285"/>
                  </a:cubicBezTo>
                  <a:cubicBezTo>
                    <a:pt x="68549" y="138800"/>
                    <a:pt x="77915" y="144761"/>
                    <a:pt x="88985" y="149444"/>
                  </a:cubicBezTo>
                  <a:cubicBezTo>
                    <a:pt x="99630" y="153702"/>
                    <a:pt x="115383" y="158811"/>
                    <a:pt x="134968" y="164346"/>
                  </a:cubicBezTo>
                  <a:cubicBezTo>
                    <a:pt x="158811" y="171159"/>
                    <a:pt x="177971" y="177545"/>
                    <a:pt x="192447" y="183932"/>
                  </a:cubicBezTo>
                  <a:cubicBezTo>
                    <a:pt x="206923" y="190318"/>
                    <a:pt x="219696" y="200111"/>
                    <a:pt x="229915" y="213310"/>
                  </a:cubicBezTo>
                  <a:cubicBezTo>
                    <a:pt x="240133" y="226508"/>
                    <a:pt x="245668" y="244816"/>
                    <a:pt x="245668" y="267382"/>
                  </a:cubicBezTo>
                  <a:cubicBezTo>
                    <a:pt x="245668" y="285264"/>
                    <a:pt x="240985" y="301869"/>
                    <a:pt x="231618" y="317197"/>
                  </a:cubicBezTo>
                  <a:cubicBezTo>
                    <a:pt x="222251" y="332950"/>
                    <a:pt x="208200" y="345297"/>
                    <a:pt x="189892" y="355090"/>
                  </a:cubicBezTo>
                  <a:cubicBezTo>
                    <a:pt x="171584" y="364883"/>
                    <a:pt x="149870" y="369566"/>
                    <a:pt x="124750" y="369566"/>
                  </a:cubicBezTo>
                  <a:cubicBezTo>
                    <a:pt x="100055" y="369992"/>
                    <a:pt x="79619" y="365734"/>
                    <a:pt x="61311" y="357645"/>
                  </a:cubicBezTo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95EFD54-0A0B-E804-2FC6-00D542EFB6CC}"/>
                </a:ext>
              </a:extLst>
            </p:cNvPr>
            <p:cNvSpPr/>
            <p:nvPr/>
          </p:nvSpPr>
          <p:spPr>
            <a:xfrm>
              <a:off x="8318074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8 w 284838"/>
                <a:gd name="connsiteY8" fmla="*/ 362754 h 362753"/>
                <a:gd name="connsiteX9" fmla="*/ 284838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8" y="362754"/>
                  </a:lnTo>
                  <a:lnTo>
                    <a:pt x="284838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C88A8BC-3F6D-F686-3A8E-DA8BE4E564D9}"/>
                </a:ext>
              </a:extLst>
            </p:cNvPr>
            <p:cNvSpPr/>
            <p:nvPr/>
          </p:nvSpPr>
          <p:spPr>
            <a:xfrm>
              <a:off x="6372742" y="4398399"/>
              <a:ext cx="363605" cy="369140"/>
            </a:xfrm>
            <a:custGeom>
              <a:avLst/>
              <a:gdLst>
                <a:gd name="connsiteX0" fmla="*/ 89837 w 363605"/>
                <a:gd name="connsiteY0" fmla="*/ 346575 h 369140"/>
                <a:gd name="connsiteX1" fmla="*/ 24269 w 363605"/>
                <a:gd name="connsiteY1" fmla="*/ 280581 h 369140"/>
                <a:gd name="connsiteX2" fmla="*/ 0 w 363605"/>
                <a:gd name="connsiteY2" fmla="*/ 185209 h 369140"/>
                <a:gd name="connsiteX3" fmla="*/ 24269 w 363605"/>
                <a:gd name="connsiteY3" fmla="*/ 89837 h 369140"/>
                <a:gd name="connsiteX4" fmla="*/ 89837 w 363605"/>
                <a:gd name="connsiteY4" fmla="*/ 23843 h 369140"/>
                <a:gd name="connsiteX5" fmla="*/ 181803 w 363605"/>
                <a:gd name="connsiteY5" fmla="*/ 0 h 369140"/>
                <a:gd name="connsiteX6" fmla="*/ 274194 w 363605"/>
                <a:gd name="connsiteY6" fmla="*/ 23843 h 369140"/>
                <a:gd name="connsiteX7" fmla="*/ 339763 w 363605"/>
                <a:gd name="connsiteY7" fmla="*/ 89411 h 369140"/>
                <a:gd name="connsiteX8" fmla="*/ 363606 w 363605"/>
                <a:gd name="connsiteY8" fmla="*/ 184783 h 369140"/>
                <a:gd name="connsiteX9" fmla="*/ 339763 w 363605"/>
                <a:gd name="connsiteY9" fmla="*/ 280155 h 369140"/>
                <a:gd name="connsiteX10" fmla="*/ 274194 w 363605"/>
                <a:gd name="connsiteY10" fmla="*/ 345723 h 369140"/>
                <a:gd name="connsiteX11" fmla="*/ 181803 w 363605"/>
                <a:gd name="connsiteY11" fmla="*/ 369140 h 369140"/>
                <a:gd name="connsiteX12" fmla="*/ 89837 w 363605"/>
                <a:gd name="connsiteY12" fmla="*/ 346575 h 369140"/>
                <a:gd name="connsiteX13" fmla="*/ 249926 w 363605"/>
                <a:gd name="connsiteY13" fmla="*/ 311236 h 369140"/>
                <a:gd name="connsiteX14" fmla="*/ 297612 w 363605"/>
                <a:gd name="connsiteY14" fmla="*/ 260995 h 369140"/>
                <a:gd name="connsiteX15" fmla="*/ 315068 w 363605"/>
                <a:gd name="connsiteY15" fmla="*/ 185209 h 369140"/>
                <a:gd name="connsiteX16" fmla="*/ 297612 w 363605"/>
                <a:gd name="connsiteY16" fmla="*/ 108997 h 369140"/>
                <a:gd name="connsiteX17" fmla="*/ 249926 w 363605"/>
                <a:gd name="connsiteY17" fmla="*/ 58756 h 369140"/>
                <a:gd name="connsiteX18" fmla="*/ 181377 w 363605"/>
                <a:gd name="connsiteY18" fmla="*/ 40874 h 369140"/>
                <a:gd name="connsiteX19" fmla="*/ 112828 w 363605"/>
                <a:gd name="connsiteY19" fmla="*/ 58756 h 369140"/>
                <a:gd name="connsiteX20" fmla="*/ 65142 w 363605"/>
                <a:gd name="connsiteY20" fmla="*/ 108997 h 369140"/>
                <a:gd name="connsiteX21" fmla="*/ 47686 w 363605"/>
                <a:gd name="connsiteY21" fmla="*/ 185209 h 369140"/>
                <a:gd name="connsiteX22" fmla="*/ 65142 w 363605"/>
                <a:gd name="connsiteY22" fmla="*/ 260995 h 369140"/>
                <a:gd name="connsiteX23" fmla="*/ 112828 w 363605"/>
                <a:gd name="connsiteY23" fmla="*/ 311236 h 369140"/>
                <a:gd name="connsiteX24" fmla="*/ 180951 w 363605"/>
                <a:gd name="connsiteY24" fmla="*/ 329118 h 369140"/>
                <a:gd name="connsiteX25" fmla="*/ 249926 w 363605"/>
                <a:gd name="connsiteY25" fmla="*/ 311236 h 369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3605" h="369140">
                  <a:moveTo>
                    <a:pt x="89837" y="346575"/>
                  </a:moveTo>
                  <a:cubicBezTo>
                    <a:pt x="62162" y="330821"/>
                    <a:pt x="40022" y="308681"/>
                    <a:pt x="24269" y="280581"/>
                  </a:cubicBezTo>
                  <a:cubicBezTo>
                    <a:pt x="8090" y="252480"/>
                    <a:pt x="0" y="220548"/>
                    <a:pt x="0" y="185209"/>
                  </a:cubicBezTo>
                  <a:cubicBezTo>
                    <a:pt x="0" y="149870"/>
                    <a:pt x="8090" y="117938"/>
                    <a:pt x="24269" y="89837"/>
                  </a:cubicBezTo>
                  <a:cubicBezTo>
                    <a:pt x="40448" y="61736"/>
                    <a:pt x="62162" y="39596"/>
                    <a:pt x="89837" y="23843"/>
                  </a:cubicBezTo>
                  <a:cubicBezTo>
                    <a:pt x="117512" y="8090"/>
                    <a:pt x="148167" y="0"/>
                    <a:pt x="181803" y="0"/>
                  </a:cubicBezTo>
                  <a:cubicBezTo>
                    <a:pt x="215438" y="0"/>
                    <a:pt x="246519" y="8090"/>
                    <a:pt x="274194" y="23843"/>
                  </a:cubicBezTo>
                  <a:cubicBezTo>
                    <a:pt x="301869" y="39596"/>
                    <a:pt x="323583" y="61311"/>
                    <a:pt x="339763" y="89411"/>
                  </a:cubicBezTo>
                  <a:cubicBezTo>
                    <a:pt x="355942" y="117512"/>
                    <a:pt x="363606" y="149444"/>
                    <a:pt x="363606" y="184783"/>
                  </a:cubicBezTo>
                  <a:cubicBezTo>
                    <a:pt x="363606" y="220122"/>
                    <a:pt x="355516" y="252054"/>
                    <a:pt x="339763" y="280155"/>
                  </a:cubicBezTo>
                  <a:cubicBezTo>
                    <a:pt x="324009" y="308256"/>
                    <a:pt x="301869" y="330396"/>
                    <a:pt x="274194" y="345723"/>
                  </a:cubicBezTo>
                  <a:cubicBezTo>
                    <a:pt x="246519" y="361477"/>
                    <a:pt x="215864" y="369140"/>
                    <a:pt x="181803" y="369140"/>
                  </a:cubicBezTo>
                  <a:cubicBezTo>
                    <a:pt x="147741" y="369140"/>
                    <a:pt x="117086" y="362328"/>
                    <a:pt x="89837" y="346575"/>
                  </a:cubicBezTo>
                  <a:moveTo>
                    <a:pt x="249926" y="311236"/>
                  </a:moveTo>
                  <a:cubicBezTo>
                    <a:pt x="269937" y="299315"/>
                    <a:pt x="286116" y="282710"/>
                    <a:pt x="297612" y="260995"/>
                  </a:cubicBezTo>
                  <a:cubicBezTo>
                    <a:pt x="309107" y="239281"/>
                    <a:pt x="315068" y="213735"/>
                    <a:pt x="315068" y="185209"/>
                  </a:cubicBezTo>
                  <a:cubicBezTo>
                    <a:pt x="315068" y="156682"/>
                    <a:pt x="309107" y="130711"/>
                    <a:pt x="297612" y="108997"/>
                  </a:cubicBezTo>
                  <a:cubicBezTo>
                    <a:pt x="286116" y="87282"/>
                    <a:pt x="270362" y="70677"/>
                    <a:pt x="249926" y="58756"/>
                  </a:cubicBezTo>
                  <a:cubicBezTo>
                    <a:pt x="229489" y="46834"/>
                    <a:pt x="206923" y="40874"/>
                    <a:pt x="181377" y="40874"/>
                  </a:cubicBezTo>
                  <a:cubicBezTo>
                    <a:pt x="155831" y="40874"/>
                    <a:pt x="132839" y="46834"/>
                    <a:pt x="112828" y="58756"/>
                  </a:cubicBezTo>
                  <a:cubicBezTo>
                    <a:pt x="92817" y="70677"/>
                    <a:pt x="77064" y="87282"/>
                    <a:pt x="65142" y="108997"/>
                  </a:cubicBezTo>
                  <a:cubicBezTo>
                    <a:pt x="53647" y="130711"/>
                    <a:pt x="47686" y="155831"/>
                    <a:pt x="47686" y="185209"/>
                  </a:cubicBezTo>
                  <a:cubicBezTo>
                    <a:pt x="47686" y="214587"/>
                    <a:pt x="53647" y="238856"/>
                    <a:pt x="65142" y="260995"/>
                  </a:cubicBezTo>
                  <a:cubicBezTo>
                    <a:pt x="76638" y="282710"/>
                    <a:pt x="92392" y="299740"/>
                    <a:pt x="112828" y="311236"/>
                  </a:cubicBezTo>
                  <a:cubicBezTo>
                    <a:pt x="132839" y="323158"/>
                    <a:pt x="155831" y="329118"/>
                    <a:pt x="180951" y="329118"/>
                  </a:cubicBezTo>
                  <a:cubicBezTo>
                    <a:pt x="206072" y="329118"/>
                    <a:pt x="229489" y="323158"/>
                    <a:pt x="249926" y="311236"/>
                  </a:cubicBezTo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B69D9A56-357D-DA32-EE83-D4F66F58C6C2}"/>
                </a:ext>
              </a:extLst>
            </p:cNvPr>
            <p:cNvSpPr/>
            <p:nvPr/>
          </p:nvSpPr>
          <p:spPr>
            <a:xfrm>
              <a:off x="5978481" y="4397973"/>
              <a:ext cx="348703" cy="369991"/>
            </a:xfrm>
            <a:custGeom>
              <a:avLst/>
              <a:gdLst>
                <a:gd name="connsiteX0" fmla="*/ 24269 w 348703"/>
                <a:gd name="connsiteY0" fmla="*/ 90263 h 369991"/>
                <a:gd name="connsiteX1" fmla="*/ 89411 w 348703"/>
                <a:gd name="connsiteY1" fmla="*/ 23843 h 369991"/>
                <a:gd name="connsiteX2" fmla="*/ 181377 w 348703"/>
                <a:gd name="connsiteY2" fmla="*/ 0 h 369991"/>
                <a:gd name="connsiteX3" fmla="*/ 284413 w 348703"/>
                <a:gd name="connsiteY3" fmla="*/ 28526 h 369991"/>
                <a:gd name="connsiteX4" fmla="*/ 348704 w 348703"/>
                <a:gd name="connsiteY4" fmla="*/ 109422 h 369991"/>
                <a:gd name="connsiteX5" fmla="*/ 292077 w 348703"/>
                <a:gd name="connsiteY5" fmla="*/ 109422 h 369991"/>
                <a:gd name="connsiteX6" fmla="*/ 248648 w 348703"/>
                <a:gd name="connsiteY6" fmla="*/ 59182 h 369991"/>
                <a:gd name="connsiteX7" fmla="*/ 180951 w 348703"/>
                <a:gd name="connsiteY7" fmla="*/ 41299 h 369991"/>
                <a:gd name="connsiteX8" fmla="*/ 112828 w 348703"/>
                <a:gd name="connsiteY8" fmla="*/ 59182 h 369991"/>
                <a:gd name="connsiteX9" fmla="*/ 65568 w 348703"/>
                <a:gd name="connsiteY9" fmla="*/ 109422 h 369991"/>
                <a:gd name="connsiteX10" fmla="*/ 48538 w 348703"/>
                <a:gd name="connsiteY10" fmla="*/ 185635 h 369991"/>
                <a:gd name="connsiteX11" fmla="*/ 65568 w 348703"/>
                <a:gd name="connsiteY11" fmla="*/ 260995 h 369991"/>
                <a:gd name="connsiteX12" fmla="*/ 112828 w 348703"/>
                <a:gd name="connsiteY12" fmla="*/ 311236 h 369991"/>
                <a:gd name="connsiteX13" fmla="*/ 180951 w 348703"/>
                <a:gd name="connsiteY13" fmla="*/ 329118 h 369991"/>
                <a:gd name="connsiteX14" fmla="*/ 248648 w 348703"/>
                <a:gd name="connsiteY14" fmla="*/ 311662 h 369991"/>
                <a:gd name="connsiteX15" fmla="*/ 292077 w 348703"/>
                <a:gd name="connsiteY15" fmla="*/ 261421 h 369991"/>
                <a:gd name="connsiteX16" fmla="*/ 348704 w 348703"/>
                <a:gd name="connsiteY16" fmla="*/ 261421 h 369991"/>
                <a:gd name="connsiteX17" fmla="*/ 284413 w 348703"/>
                <a:gd name="connsiteY17" fmla="*/ 341891 h 369991"/>
                <a:gd name="connsiteX18" fmla="*/ 181377 w 348703"/>
                <a:gd name="connsiteY18" fmla="*/ 369992 h 369991"/>
                <a:gd name="connsiteX19" fmla="*/ 89411 w 348703"/>
                <a:gd name="connsiteY19" fmla="*/ 346575 h 369991"/>
                <a:gd name="connsiteX20" fmla="*/ 23843 w 348703"/>
                <a:gd name="connsiteY20" fmla="*/ 281007 h 369991"/>
                <a:gd name="connsiteX21" fmla="*/ 0 w 348703"/>
                <a:gd name="connsiteY21" fmla="*/ 186060 h 369991"/>
                <a:gd name="connsiteX22" fmla="*/ 24269 w 348703"/>
                <a:gd name="connsiteY22" fmla="*/ 90263 h 36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8703" h="369991">
                  <a:moveTo>
                    <a:pt x="24269" y="90263"/>
                  </a:moveTo>
                  <a:cubicBezTo>
                    <a:pt x="40448" y="62162"/>
                    <a:pt x="61736" y="40022"/>
                    <a:pt x="89411" y="23843"/>
                  </a:cubicBezTo>
                  <a:cubicBezTo>
                    <a:pt x="117086" y="7664"/>
                    <a:pt x="147316" y="0"/>
                    <a:pt x="181377" y="0"/>
                  </a:cubicBezTo>
                  <a:cubicBezTo>
                    <a:pt x="220973" y="0"/>
                    <a:pt x="255461" y="9367"/>
                    <a:pt x="284413" y="28526"/>
                  </a:cubicBezTo>
                  <a:cubicBezTo>
                    <a:pt x="313791" y="47686"/>
                    <a:pt x="335079" y="74935"/>
                    <a:pt x="348704" y="109422"/>
                  </a:cubicBezTo>
                  <a:lnTo>
                    <a:pt x="292077" y="109422"/>
                  </a:lnTo>
                  <a:cubicBezTo>
                    <a:pt x="281858" y="87708"/>
                    <a:pt x="267808" y="70677"/>
                    <a:pt x="248648" y="59182"/>
                  </a:cubicBezTo>
                  <a:cubicBezTo>
                    <a:pt x="229915" y="47260"/>
                    <a:pt x="207349" y="41299"/>
                    <a:pt x="180951" y="41299"/>
                  </a:cubicBezTo>
                  <a:cubicBezTo>
                    <a:pt x="154554" y="41299"/>
                    <a:pt x="132839" y="47260"/>
                    <a:pt x="112828" y="59182"/>
                  </a:cubicBezTo>
                  <a:cubicBezTo>
                    <a:pt x="92817" y="71103"/>
                    <a:pt x="77064" y="87708"/>
                    <a:pt x="65568" y="109422"/>
                  </a:cubicBezTo>
                  <a:cubicBezTo>
                    <a:pt x="54072" y="131136"/>
                    <a:pt x="48538" y="156257"/>
                    <a:pt x="48538" y="185635"/>
                  </a:cubicBezTo>
                  <a:cubicBezTo>
                    <a:pt x="48538" y="215013"/>
                    <a:pt x="54072" y="239281"/>
                    <a:pt x="65568" y="260995"/>
                  </a:cubicBezTo>
                  <a:cubicBezTo>
                    <a:pt x="77064" y="282710"/>
                    <a:pt x="92817" y="299315"/>
                    <a:pt x="112828" y="311236"/>
                  </a:cubicBezTo>
                  <a:cubicBezTo>
                    <a:pt x="132839" y="323158"/>
                    <a:pt x="155405" y="329118"/>
                    <a:pt x="180951" y="329118"/>
                  </a:cubicBezTo>
                  <a:cubicBezTo>
                    <a:pt x="206497" y="329118"/>
                    <a:pt x="229915" y="323158"/>
                    <a:pt x="248648" y="311662"/>
                  </a:cubicBezTo>
                  <a:cubicBezTo>
                    <a:pt x="267382" y="300166"/>
                    <a:pt x="281858" y="283561"/>
                    <a:pt x="292077" y="261421"/>
                  </a:cubicBezTo>
                  <a:lnTo>
                    <a:pt x="348704" y="261421"/>
                  </a:lnTo>
                  <a:cubicBezTo>
                    <a:pt x="335079" y="296334"/>
                    <a:pt x="313791" y="323158"/>
                    <a:pt x="284413" y="341891"/>
                  </a:cubicBezTo>
                  <a:cubicBezTo>
                    <a:pt x="255035" y="360625"/>
                    <a:pt x="220548" y="369992"/>
                    <a:pt x="181377" y="369992"/>
                  </a:cubicBezTo>
                  <a:cubicBezTo>
                    <a:pt x="147741" y="369992"/>
                    <a:pt x="117086" y="361902"/>
                    <a:pt x="89411" y="346575"/>
                  </a:cubicBezTo>
                  <a:cubicBezTo>
                    <a:pt x="62162" y="330821"/>
                    <a:pt x="40022" y="309107"/>
                    <a:pt x="23843" y="281007"/>
                  </a:cubicBezTo>
                  <a:cubicBezTo>
                    <a:pt x="7664" y="252906"/>
                    <a:pt x="0" y="221399"/>
                    <a:pt x="0" y="186060"/>
                  </a:cubicBezTo>
                  <a:cubicBezTo>
                    <a:pt x="0" y="150722"/>
                    <a:pt x="8090" y="118363"/>
                    <a:pt x="24269" y="90263"/>
                  </a:cubicBezTo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71125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ignment_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" name="Objekt 183" hidden="1">
            <a:extLst>
              <a:ext uri="{FF2B5EF4-FFF2-40B4-BE49-F238E27FC236}">
                <a16:creationId xmlns:a16="http://schemas.microsoft.com/office/drawing/2014/main" id="{6BD29D33-0FBE-4BE6-ABDD-890911FEB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897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84" name="Objekt 183" hidden="1">
                        <a:extLst>
                          <a:ext uri="{FF2B5EF4-FFF2-40B4-BE49-F238E27FC236}">
                            <a16:creationId xmlns:a16="http://schemas.microsoft.com/office/drawing/2014/main" id="{6BD29D33-0FBE-4BE6-ABDD-890911FEB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9BDA43FA-BBFB-D5E6-791D-A096294DA6C0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2"/>
            </p:custDataLst>
          </p:nvPr>
        </p:nvSpPr>
        <p:spPr>
          <a:xfrm>
            <a:off x="5302852" y="3932978"/>
            <a:ext cx="3125787" cy="2368753"/>
          </a:xfrm>
          <a:prstGeom prst="roundRect">
            <a:avLst>
              <a:gd name="adj" fmla="val 2145"/>
            </a:avLst>
          </a:prstGeom>
          <a:gradFill>
            <a:gsLst>
              <a:gs pos="0">
                <a:srgbClr val="004754"/>
              </a:gs>
              <a:gs pos="100000">
                <a:srgbClr val="29BBCE"/>
              </a:gs>
              <a:gs pos="59000">
                <a:srgbClr val="0087A0"/>
              </a:gs>
            </a:gsLst>
            <a:lin ang="19800000" scaled="1"/>
          </a:gradFill>
          <a:effectLst/>
        </p:spPr>
        <p:txBody>
          <a:bodyPr vert="horz" lIns="108000" tIns="108000" rIns="108000" bIns="108000" rtlCol="0">
            <a:noAutofit/>
          </a:bodyPr>
          <a:lstStyle>
            <a:lvl1pPr marL="0" indent="0">
              <a:buNone/>
              <a:defRPr lang="en-US" dirty="0">
                <a:solidFill>
                  <a:schemeClr val="bg1"/>
                </a:solidFill>
              </a:defRPr>
            </a:lvl1pPr>
            <a:lvl2pPr marL="216000" indent="-216000">
              <a:buClr>
                <a:schemeClr val="bg1"/>
              </a:buClr>
              <a:defRPr lang="en-US" dirty="0">
                <a:solidFill>
                  <a:schemeClr val="bg1"/>
                </a:solidFill>
                <a:latin typeface="Poppins" panose="00000500000000000000" pitchFamily="2" charset="0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864000" indent="-216000">
              <a:buFont typeface="Symbol" panose="05050102010706020507" pitchFamily="18" charset="2"/>
              <a:buChar char="-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content</a:t>
            </a:r>
          </a:p>
          <a:p>
            <a:pPr lvl="1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36750C20-3021-4ADD-F208-9E36C5F3543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8513618" y="3932978"/>
            <a:ext cx="3125787" cy="2368753"/>
          </a:xfrm>
          <a:prstGeom prst="roundRect">
            <a:avLst>
              <a:gd name="adj" fmla="val 2145"/>
            </a:avLst>
          </a:prstGeom>
          <a:gradFill>
            <a:gsLst>
              <a:gs pos="0">
                <a:srgbClr val="6F031B"/>
              </a:gs>
              <a:gs pos="100000">
                <a:srgbClr val="DD0036"/>
              </a:gs>
              <a:gs pos="70000">
                <a:srgbClr val="B9052D"/>
              </a:gs>
            </a:gsLst>
            <a:lin ang="19800000" scaled="1"/>
          </a:gradFill>
          <a:effectLst/>
        </p:spPr>
        <p:txBody>
          <a:bodyPr vert="horz" lIns="108000" tIns="108000" rIns="108000" bIns="108000" rtlCol="0">
            <a:noAutofit/>
          </a:bodyPr>
          <a:lstStyle>
            <a:lvl1pPr marL="0" indent="0">
              <a:buNone/>
              <a:defRPr lang="en-US" dirty="0">
                <a:solidFill>
                  <a:schemeClr val="bg1"/>
                </a:solidFill>
              </a:defRPr>
            </a:lvl1pPr>
            <a:lvl2pPr marL="216000" indent="-216000">
              <a:buClr>
                <a:schemeClr val="bg1"/>
              </a:buClr>
              <a:defRPr lang="en-US" dirty="0">
                <a:solidFill>
                  <a:schemeClr val="bg1"/>
                </a:solidFill>
                <a:latin typeface="Poppins" panose="00000500000000000000" pitchFamily="2" charset="0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content</a:t>
            </a:r>
          </a:p>
          <a:p>
            <a:pPr lvl="1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21D6DEE-F0E1-45A4-A9EF-D6924F0A012F}"/>
              </a:ext>
            </a:extLst>
          </p:cNvPr>
          <p:cNvGrpSpPr/>
          <p:nvPr/>
        </p:nvGrpSpPr>
        <p:grpSpPr>
          <a:xfrm>
            <a:off x="543520" y="1700213"/>
            <a:ext cx="11089752" cy="4608512"/>
            <a:chOff x="550864" y="1700808"/>
            <a:chExt cx="11089752" cy="4608512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7BDFBC32-FE37-494A-95AF-FD6C3100FF88}"/>
                </a:ext>
              </a:extLst>
            </p:cNvPr>
            <p:cNvSpPr/>
            <p:nvPr/>
          </p:nvSpPr>
          <p:spPr>
            <a:xfrm>
              <a:off x="550864" y="1700808"/>
              <a:ext cx="11088542" cy="460791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endParaRPr lang="de-DE" sz="1400" dirty="0">
                <a:solidFill>
                  <a:schemeClr val="tx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2F269EBB-75A8-4791-9BB3-2B8A574CECD8}"/>
                </a:ext>
              </a:extLst>
            </p:cNvPr>
            <p:cNvSpPr/>
            <p:nvPr/>
          </p:nvSpPr>
          <p:spPr>
            <a:xfrm>
              <a:off x="1343472" y="2744924"/>
              <a:ext cx="144238" cy="144000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  <a:latin typeface="Poppins" panose="00000500000000000000" pitchFamily="2" charset="0"/>
                </a:rPr>
                <a:t> </a:t>
              </a:r>
            </a:p>
          </p:txBody>
        </p: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469181FA-A606-4304-8FDF-3C0EF1DC95EE}"/>
                </a:ext>
              </a:extLst>
            </p:cNvPr>
            <p:cNvGrpSpPr/>
            <p:nvPr userDrawn="1"/>
          </p:nvGrpSpPr>
          <p:grpSpPr>
            <a:xfrm>
              <a:off x="2279576" y="1700808"/>
              <a:ext cx="7631707" cy="4607917"/>
              <a:chOff x="2279576" y="1700808"/>
              <a:chExt cx="7631707" cy="4945062"/>
            </a:xfrm>
          </p:grpSpPr>
          <p:sp>
            <p:nvSpPr>
              <p:cNvPr id="3" name="Rechteck 2">
                <a:extLst>
                  <a:ext uri="{FF2B5EF4-FFF2-40B4-BE49-F238E27FC236}">
                    <a16:creationId xmlns:a16="http://schemas.microsoft.com/office/drawing/2014/main" id="{9006BC3B-DAAB-48F1-AFC9-37E8D3BAF2BB}"/>
                  </a:ext>
                </a:extLst>
              </p:cNvPr>
              <p:cNvSpPr/>
              <p:nvPr userDrawn="1"/>
            </p:nvSpPr>
            <p:spPr>
              <a:xfrm>
                <a:off x="2279576" y="1700808"/>
                <a:ext cx="142875" cy="4945062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6350">
                <a:solidFill>
                  <a:schemeClr val="accent5"/>
                </a:solidFill>
              </a:ln>
            </p:spPr>
            <p:txBody>
              <a:bodyPr vert="horz" lIns="108109" tIns="108109" rIns="108109" bIns="108109" rtlCol="0" anchor="ctr">
                <a:noAutofit/>
              </a:bodyPr>
              <a:lstStyle/>
              <a:p>
                <a:pPr algn="ctr" defTabSz="1083747">
                  <a:spcBef>
                    <a:spcPts val="1200"/>
                  </a:spcBef>
                </a:pPr>
                <a:endParaRPr lang="en-US" sz="1600" dirty="0">
                  <a:latin typeface="Poppins" panose="00000500000000000000" pitchFamily="2" charset="0"/>
                  <a:cs typeface="Poppins" panose="00000500000000000000" pitchFamily="2" charset="0"/>
                  <a:sym typeface="Segoe UI" panose="020B0502040204020203" pitchFamily="34" charset="0"/>
                </a:endParaRPr>
              </a:p>
            </p:txBody>
          </p:sp>
          <p:sp>
            <p:nvSpPr>
              <p:cNvPr id="72" name="Rechteck 71">
                <a:extLst>
                  <a:ext uri="{FF2B5EF4-FFF2-40B4-BE49-F238E27FC236}">
                    <a16:creationId xmlns:a16="http://schemas.microsoft.com/office/drawing/2014/main" id="{F621630C-EBF7-43E6-A7D0-A7455CCDE02E}"/>
                  </a:ext>
                </a:extLst>
              </p:cNvPr>
              <p:cNvSpPr/>
              <p:nvPr userDrawn="1"/>
            </p:nvSpPr>
            <p:spPr>
              <a:xfrm>
                <a:off x="4151784" y="1700808"/>
                <a:ext cx="142875" cy="4945062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6350">
                <a:solidFill>
                  <a:schemeClr val="accent5"/>
                </a:solidFill>
              </a:ln>
            </p:spPr>
            <p:txBody>
              <a:bodyPr rot="0" spcFirstLastPara="0" vertOverflow="overflow" horzOverflow="overflow" vert="horz" wrap="square" lIns="108109" tIns="108109" rIns="108109" bIns="10810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 defTabSz="1083747">
                  <a:spcBef>
                    <a:spcPts val="1200"/>
                  </a:spcBef>
                </a:pPr>
                <a:endParaRPr lang="en-US" sz="1600" dirty="0">
                  <a:latin typeface="Poppins" panose="00000500000000000000" pitchFamily="2" charset="0"/>
                  <a:cs typeface="Poppins" panose="00000500000000000000" pitchFamily="2" charset="0"/>
                  <a:sym typeface="Segoe UI" panose="020B0502040204020203" pitchFamily="34" charset="0"/>
                </a:endParaRPr>
              </a:p>
            </p:txBody>
          </p:sp>
          <p:sp>
            <p:nvSpPr>
              <p:cNvPr id="73" name="Rechteck 72">
                <a:extLst>
                  <a:ext uri="{FF2B5EF4-FFF2-40B4-BE49-F238E27FC236}">
                    <a16:creationId xmlns:a16="http://schemas.microsoft.com/office/drawing/2014/main" id="{1BF4A123-3A05-4070-B6E5-D92D5F2E4558}"/>
                  </a:ext>
                </a:extLst>
              </p:cNvPr>
              <p:cNvSpPr/>
              <p:nvPr userDrawn="1"/>
            </p:nvSpPr>
            <p:spPr>
              <a:xfrm>
                <a:off x="6023992" y="1700808"/>
                <a:ext cx="142875" cy="4945062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6350">
                <a:solidFill>
                  <a:schemeClr val="accent5"/>
                </a:solidFill>
              </a:ln>
            </p:spPr>
            <p:txBody>
              <a:bodyPr vert="horz" lIns="108109" tIns="108109" rIns="108109" bIns="108109" rtlCol="0" anchor="ctr">
                <a:noAutofit/>
              </a:bodyPr>
              <a:lstStyle/>
              <a:p>
                <a:pPr algn="ctr" defTabSz="1083747">
                  <a:spcBef>
                    <a:spcPts val="1200"/>
                  </a:spcBef>
                </a:pPr>
                <a:endParaRPr lang="en-US" sz="1600" dirty="0">
                  <a:latin typeface="Poppins" panose="00000500000000000000" pitchFamily="2" charset="0"/>
                  <a:cs typeface="Poppins" panose="00000500000000000000" pitchFamily="2" charset="0"/>
                  <a:sym typeface="Segoe UI" panose="020B0502040204020203" pitchFamily="34" charset="0"/>
                </a:endParaRPr>
              </a:p>
            </p:txBody>
          </p:sp>
          <p:sp>
            <p:nvSpPr>
              <p:cNvPr id="74" name="Rechteck 73">
                <a:extLst>
                  <a:ext uri="{FF2B5EF4-FFF2-40B4-BE49-F238E27FC236}">
                    <a16:creationId xmlns:a16="http://schemas.microsoft.com/office/drawing/2014/main" id="{B3AD69E9-AD7D-416E-ADAA-3B1FABDBEEB7}"/>
                  </a:ext>
                </a:extLst>
              </p:cNvPr>
              <p:cNvSpPr/>
              <p:nvPr userDrawn="1"/>
            </p:nvSpPr>
            <p:spPr>
              <a:xfrm>
                <a:off x="7896200" y="1700808"/>
                <a:ext cx="142875" cy="4945062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6350">
                <a:solidFill>
                  <a:schemeClr val="accent5"/>
                </a:solidFill>
              </a:ln>
            </p:spPr>
            <p:txBody>
              <a:bodyPr rot="0" spcFirstLastPara="0" vertOverflow="overflow" horzOverflow="overflow" vert="horz" wrap="square" lIns="108109" tIns="108109" rIns="108109" bIns="10810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 defTabSz="1083747">
                  <a:spcBef>
                    <a:spcPts val="1200"/>
                  </a:spcBef>
                </a:pPr>
                <a:endParaRPr lang="en-US" sz="1600" dirty="0">
                  <a:latin typeface="Poppins" panose="00000500000000000000" pitchFamily="2" charset="0"/>
                  <a:cs typeface="Poppins" panose="00000500000000000000" pitchFamily="2" charset="0"/>
                  <a:sym typeface="Segoe UI" panose="020B0502040204020203" pitchFamily="34" charset="0"/>
                </a:endParaRPr>
              </a:p>
            </p:txBody>
          </p:sp>
          <p:sp>
            <p:nvSpPr>
              <p:cNvPr id="75" name="Rechteck 74">
                <a:extLst>
                  <a:ext uri="{FF2B5EF4-FFF2-40B4-BE49-F238E27FC236}">
                    <a16:creationId xmlns:a16="http://schemas.microsoft.com/office/drawing/2014/main" id="{1070532D-72B0-4028-9AF7-05579D9902CD}"/>
                  </a:ext>
                </a:extLst>
              </p:cNvPr>
              <p:cNvSpPr/>
              <p:nvPr userDrawn="1"/>
            </p:nvSpPr>
            <p:spPr>
              <a:xfrm>
                <a:off x="9768408" y="1700808"/>
                <a:ext cx="142875" cy="4945062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6350">
                <a:solidFill>
                  <a:schemeClr val="accent5"/>
                </a:solidFill>
              </a:ln>
            </p:spPr>
            <p:txBody>
              <a:bodyPr vert="horz" lIns="108109" tIns="108109" rIns="108109" bIns="108109" rtlCol="0" anchor="ctr">
                <a:noAutofit/>
              </a:bodyPr>
              <a:lstStyle/>
              <a:p>
                <a:pPr algn="ctr" defTabSz="1083747">
                  <a:spcBef>
                    <a:spcPts val="1200"/>
                  </a:spcBef>
                </a:pPr>
                <a:endParaRPr lang="en-US" sz="1600" dirty="0">
                  <a:latin typeface="Poppins" panose="00000500000000000000" pitchFamily="2" charset="0"/>
                  <a:cs typeface="Poppins" panose="00000500000000000000" pitchFamily="2" charset="0"/>
                  <a:sym typeface="Segoe UI" panose="020B0502040204020203" pitchFamily="34" charset="0"/>
                </a:endParaRPr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BA4F608A-E71D-4C9D-BA3B-CCD26AA1F5C7}"/>
                </a:ext>
              </a:extLst>
            </p:cNvPr>
            <p:cNvGrpSpPr/>
            <p:nvPr userDrawn="1"/>
          </p:nvGrpSpPr>
          <p:grpSpPr>
            <a:xfrm>
              <a:off x="551384" y="1700808"/>
              <a:ext cx="11089232" cy="1044000"/>
              <a:chOff x="551384" y="1700808"/>
              <a:chExt cx="11089232" cy="1044000"/>
            </a:xfrm>
          </p:grpSpPr>
          <p:sp>
            <p:nvSpPr>
              <p:cNvPr id="57" name="Rechteck 56">
                <a:extLst>
                  <a:ext uri="{FF2B5EF4-FFF2-40B4-BE49-F238E27FC236}">
                    <a16:creationId xmlns:a16="http://schemas.microsoft.com/office/drawing/2014/main" id="{9418AAB3-E354-4BBA-99E9-7F64DCEE9D21}"/>
                  </a:ext>
                </a:extLst>
              </p:cNvPr>
              <p:cNvSpPr/>
              <p:nvPr userDrawn="1"/>
            </p:nvSpPr>
            <p:spPr>
              <a:xfrm>
                <a:off x="551384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76" name="Rechteck 75">
                <a:extLst>
                  <a:ext uri="{FF2B5EF4-FFF2-40B4-BE49-F238E27FC236}">
                    <a16:creationId xmlns:a16="http://schemas.microsoft.com/office/drawing/2014/main" id="{A8AE273D-CA90-4228-809D-CB306EDD2765}"/>
                  </a:ext>
                </a:extLst>
              </p:cNvPr>
              <p:cNvSpPr/>
              <p:nvPr userDrawn="1"/>
            </p:nvSpPr>
            <p:spPr>
              <a:xfrm>
                <a:off x="10847306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77" name="Rechteck 76">
                <a:extLst>
                  <a:ext uri="{FF2B5EF4-FFF2-40B4-BE49-F238E27FC236}">
                    <a16:creationId xmlns:a16="http://schemas.microsoft.com/office/drawing/2014/main" id="{E5662986-A05A-4F1A-AA1B-482FD9C0D5C1}"/>
                  </a:ext>
                </a:extLst>
              </p:cNvPr>
              <p:cNvSpPr/>
              <p:nvPr userDrawn="1"/>
            </p:nvSpPr>
            <p:spPr>
              <a:xfrm>
                <a:off x="9911314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78" name="Rechteck 77">
                <a:extLst>
                  <a:ext uri="{FF2B5EF4-FFF2-40B4-BE49-F238E27FC236}">
                    <a16:creationId xmlns:a16="http://schemas.microsoft.com/office/drawing/2014/main" id="{389E1ED9-BCED-4ED0-B814-7AF30AEB4C21}"/>
                  </a:ext>
                </a:extLst>
              </p:cNvPr>
              <p:cNvSpPr/>
              <p:nvPr userDrawn="1"/>
            </p:nvSpPr>
            <p:spPr>
              <a:xfrm>
                <a:off x="8975321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79" name="Rechteck 78">
                <a:extLst>
                  <a:ext uri="{FF2B5EF4-FFF2-40B4-BE49-F238E27FC236}">
                    <a16:creationId xmlns:a16="http://schemas.microsoft.com/office/drawing/2014/main" id="{CBEA5F51-1045-4875-8B34-22ECEAAFECB3}"/>
                  </a:ext>
                </a:extLst>
              </p:cNvPr>
              <p:cNvSpPr/>
              <p:nvPr userDrawn="1"/>
            </p:nvSpPr>
            <p:spPr>
              <a:xfrm>
                <a:off x="8039328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80" name="Rechteck 79">
                <a:extLst>
                  <a:ext uri="{FF2B5EF4-FFF2-40B4-BE49-F238E27FC236}">
                    <a16:creationId xmlns:a16="http://schemas.microsoft.com/office/drawing/2014/main" id="{A007DE3A-12FD-4CA5-BFDC-B12EB8848D8A}"/>
                  </a:ext>
                </a:extLst>
              </p:cNvPr>
              <p:cNvSpPr/>
              <p:nvPr userDrawn="1"/>
            </p:nvSpPr>
            <p:spPr>
              <a:xfrm>
                <a:off x="7103335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81" name="Rechteck 80">
                <a:extLst>
                  <a:ext uri="{FF2B5EF4-FFF2-40B4-BE49-F238E27FC236}">
                    <a16:creationId xmlns:a16="http://schemas.microsoft.com/office/drawing/2014/main" id="{ABFEBF98-A3DA-4E1B-B741-C41E83C3DED0}"/>
                  </a:ext>
                </a:extLst>
              </p:cNvPr>
              <p:cNvSpPr/>
              <p:nvPr userDrawn="1"/>
            </p:nvSpPr>
            <p:spPr>
              <a:xfrm>
                <a:off x="5231349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82" name="Rechteck 81">
                <a:extLst>
                  <a:ext uri="{FF2B5EF4-FFF2-40B4-BE49-F238E27FC236}">
                    <a16:creationId xmlns:a16="http://schemas.microsoft.com/office/drawing/2014/main" id="{AC8E7B10-13A8-4DBE-89D8-6EF0D80C5CC5}"/>
                  </a:ext>
                </a:extLst>
              </p:cNvPr>
              <p:cNvSpPr/>
              <p:nvPr userDrawn="1"/>
            </p:nvSpPr>
            <p:spPr>
              <a:xfrm>
                <a:off x="3359363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83" name="Rechteck 82">
                <a:extLst>
                  <a:ext uri="{FF2B5EF4-FFF2-40B4-BE49-F238E27FC236}">
                    <a16:creationId xmlns:a16="http://schemas.microsoft.com/office/drawing/2014/main" id="{9BE99C1B-4B64-4C2E-99B1-B127186D2E2F}"/>
                  </a:ext>
                </a:extLst>
              </p:cNvPr>
              <p:cNvSpPr/>
              <p:nvPr userDrawn="1"/>
            </p:nvSpPr>
            <p:spPr>
              <a:xfrm>
                <a:off x="1487377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84" name="Rechteck 83">
                <a:extLst>
                  <a:ext uri="{FF2B5EF4-FFF2-40B4-BE49-F238E27FC236}">
                    <a16:creationId xmlns:a16="http://schemas.microsoft.com/office/drawing/2014/main" id="{300E8F0A-F13C-4F71-9F6B-CC3794315098}"/>
                  </a:ext>
                </a:extLst>
              </p:cNvPr>
              <p:cNvSpPr/>
              <p:nvPr userDrawn="1"/>
            </p:nvSpPr>
            <p:spPr>
              <a:xfrm>
                <a:off x="2423370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85" name="Rechteck 84">
                <a:extLst>
                  <a:ext uri="{FF2B5EF4-FFF2-40B4-BE49-F238E27FC236}">
                    <a16:creationId xmlns:a16="http://schemas.microsoft.com/office/drawing/2014/main" id="{ECA8C9DD-A049-4B61-8A72-239951EC354B}"/>
                  </a:ext>
                </a:extLst>
              </p:cNvPr>
              <p:cNvSpPr/>
              <p:nvPr userDrawn="1"/>
            </p:nvSpPr>
            <p:spPr>
              <a:xfrm>
                <a:off x="4295356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86" name="Rechteck 85">
                <a:extLst>
                  <a:ext uri="{FF2B5EF4-FFF2-40B4-BE49-F238E27FC236}">
                    <a16:creationId xmlns:a16="http://schemas.microsoft.com/office/drawing/2014/main" id="{EEC85481-F678-4656-88A3-4C07047F484C}"/>
                  </a:ext>
                </a:extLst>
              </p:cNvPr>
              <p:cNvSpPr/>
              <p:nvPr userDrawn="1"/>
            </p:nvSpPr>
            <p:spPr>
              <a:xfrm>
                <a:off x="6167342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</p:grpSp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25D420B1-17F5-4DF4-85A0-26FFE1C168F0}"/>
                </a:ext>
              </a:extLst>
            </p:cNvPr>
            <p:cNvGrpSpPr/>
            <p:nvPr userDrawn="1"/>
          </p:nvGrpSpPr>
          <p:grpSpPr>
            <a:xfrm>
              <a:off x="551384" y="2888979"/>
              <a:ext cx="11089232" cy="1044000"/>
              <a:chOff x="551384" y="1700808"/>
              <a:chExt cx="11089232" cy="1044000"/>
            </a:xfrm>
          </p:grpSpPr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331DAD3B-F880-40DE-ADD2-A261E18465CC}"/>
                  </a:ext>
                </a:extLst>
              </p:cNvPr>
              <p:cNvSpPr/>
              <p:nvPr userDrawn="1"/>
            </p:nvSpPr>
            <p:spPr>
              <a:xfrm>
                <a:off x="551384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66459B7A-B53E-4512-AD0D-DA9E414CCD42}"/>
                  </a:ext>
                </a:extLst>
              </p:cNvPr>
              <p:cNvSpPr/>
              <p:nvPr userDrawn="1"/>
            </p:nvSpPr>
            <p:spPr>
              <a:xfrm>
                <a:off x="10847306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90" name="Rechteck 89">
                <a:extLst>
                  <a:ext uri="{FF2B5EF4-FFF2-40B4-BE49-F238E27FC236}">
                    <a16:creationId xmlns:a16="http://schemas.microsoft.com/office/drawing/2014/main" id="{8DB112A8-C4D9-4563-ADAE-B36917CE94E1}"/>
                  </a:ext>
                </a:extLst>
              </p:cNvPr>
              <p:cNvSpPr/>
              <p:nvPr userDrawn="1"/>
            </p:nvSpPr>
            <p:spPr>
              <a:xfrm>
                <a:off x="9911314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91" name="Rechteck 90">
                <a:extLst>
                  <a:ext uri="{FF2B5EF4-FFF2-40B4-BE49-F238E27FC236}">
                    <a16:creationId xmlns:a16="http://schemas.microsoft.com/office/drawing/2014/main" id="{5F43136C-2E8D-400C-9320-3AE9CD3C6A5D}"/>
                  </a:ext>
                </a:extLst>
              </p:cNvPr>
              <p:cNvSpPr/>
              <p:nvPr userDrawn="1"/>
            </p:nvSpPr>
            <p:spPr>
              <a:xfrm>
                <a:off x="8975321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92" name="Rechteck 91">
                <a:extLst>
                  <a:ext uri="{FF2B5EF4-FFF2-40B4-BE49-F238E27FC236}">
                    <a16:creationId xmlns:a16="http://schemas.microsoft.com/office/drawing/2014/main" id="{88F99673-97B9-4D1B-9D04-ABC8A05E26EB}"/>
                  </a:ext>
                </a:extLst>
              </p:cNvPr>
              <p:cNvSpPr/>
              <p:nvPr userDrawn="1"/>
            </p:nvSpPr>
            <p:spPr>
              <a:xfrm>
                <a:off x="8039328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6E66C36D-3241-440D-82AB-C583937AEE32}"/>
                  </a:ext>
                </a:extLst>
              </p:cNvPr>
              <p:cNvSpPr/>
              <p:nvPr userDrawn="1"/>
            </p:nvSpPr>
            <p:spPr>
              <a:xfrm>
                <a:off x="7103335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94" name="Rechteck 93">
                <a:extLst>
                  <a:ext uri="{FF2B5EF4-FFF2-40B4-BE49-F238E27FC236}">
                    <a16:creationId xmlns:a16="http://schemas.microsoft.com/office/drawing/2014/main" id="{C799382B-D7F0-4D24-9A7D-E88721FB61C4}"/>
                  </a:ext>
                </a:extLst>
              </p:cNvPr>
              <p:cNvSpPr/>
              <p:nvPr userDrawn="1"/>
            </p:nvSpPr>
            <p:spPr>
              <a:xfrm>
                <a:off x="5231349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95" name="Rechteck 94">
                <a:extLst>
                  <a:ext uri="{FF2B5EF4-FFF2-40B4-BE49-F238E27FC236}">
                    <a16:creationId xmlns:a16="http://schemas.microsoft.com/office/drawing/2014/main" id="{225FF914-1942-41B5-91DC-CFED5CBCE003}"/>
                  </a:ext>
                </a:extLst>
              </p:cNvPr>
              <p:cNvSpPr/>
              <p:nvPr userDrawn="1"/>
            </p:nvSpPr>
            <p:spPr>
              <a:xfrm>
                <a:off x="3359363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96" name="Rechteck 95">
                <a:extLst>
                  <a:ext uri="{FF2B5EF4-FFF2-40B4-BE49-F238E27FC236}">
                    <a16:creationId xmlns:a16="http://schemas.microsoft.com/office/drawing/2014/main" id="{E6FB8BA7-8163-4D32-8C56-5417F08E02B8}"/>
                  </a:ext>
                </a:extLst>
              </p:cNvPr>
              <p:cNvSpPr/>
              <p:nvPr userDrawn="1"/>
            </p:nvSpPr>
            <p:spPr>
              <a:xfrm>
                <a:off x="1487377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97" name="Rechteck 96">
                <a:extLst>
                  <a:ext uri="{FF2B5EF4-FFF2-40B4-BE49-F238E27FC236}">
                    <a16:creationId xmlns:a16="http://schemas.microsoft.com/office/drawing/2014/main" id="{9EF7C785-F4B5-44E3-9E06-8FD13504A303}"/>
                  </a:ext>
                </a:extLst>
              </p:cNvPr>
              <p:cNvSpPr/>
              <p:nvPr userDrawn="1"/>
            </p:nvSpPr>
            <p:spPr>
              <a:xfrm>
                <a:off x="2423370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98" name="Rechteck 97">
                <a:extLst>
                  <a:ext uri="{FF2B5EF4-FFF2-40B4-BE49-F238E27FC236}">
                    <a16:creationId xmlns:a16="http://schemas.microsoft.com/office/drawing/2014/main" id="{7650888D-422C-4DFE-A5BB-53FCD7952D6D}"/>
                  </a:ext>
                </a:extLst>
              </p:cNvPr>
              <p:cNvSpPr/>
              <p:nvPr userDrawn="1"/>
            </p:nvSpPr>
            <p:spPr>
              <a:xfrm>
                <a:off x="4295356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99" name="Rechteck 98">
                <a:extLst>
                  <a:ext uri="{FF2B5EF4-FFF2-40B4-BE49-F238E27FC236}">
                    <a16:creationId xmlns:a16="http://schemas.microsoft.com/office/drawing/2014/main" id="{EA774619-D34B-4BB3-A395-416CB37F51DC}"/>
                  </a:ext>
                </a:extLst>
              </p:cNvPr>
              <p:cNvSpPr/>
              <p:nvPr userDrawn="1"/>
            </p:nvSpPr>
            <p:spPr>
              <a:xfrm>
                <a:off x="6167342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</p:grpSp>
        <p:grpSp>
          <p:nvGrpSpPr>
            <p:cNvPr id="100" name="Gruppieren 99">
              <a:extLst>
                <a:ext uri="{FF2B5EF4-FFF2-40B4-BE49-F238E27FC236}">
                  <a16:creationId xmlns:a16="http://schemas.microsoft.com/office/drawing/2014/main" id="{9D70A012-4305-4EC2-982D-563FDD5022C8}"/>
                </a:ext>
              </a:extLst>
            </p:cNvPr>
            <p:cNvGrpSpPr/>
            <p:nvPr userDrawn="1"/>
          </p:nvGrpSpPr>
          <p:grpSpPr>
            <a:xfrm>
              <a:off x="551384" y="4077150"/>
              <a:ext cx="11089232" cy="1044000"/>
              <a:chOff x="551384" y="1700808"/>
              <a:chExt cx="11089232" cy="1044000"/>
            </a:xfrm>
          </p:grpSpPr>
          <p:sp>
            <p:nvSpPr>
              <p:cNvPr id="101" name="Rechteck 100">
                <a:extLst>
                  <a:ext uri="{FF2B5EF4-FFF2-40B4-BE49-F238E27FC236}">
                    <a16:creationId xmlns:a16="http://schemas.microsoft.com/office/drawing/2014/main" id="{E841ADB2-5535-40C6-97E1-A983BEAF86ED}"/>
                  </a:ext>
                </a:extLst>
              </p:cNvPr>
              <p:cNvSpPr/>
              <p:nvPr userDrawn="1"/>
            </p:nvSpPr>
            <p:spPr>
              <a:xfrm>
                <a:off x="551384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02" name="Rechteck 101">
                <a:extLst>
                  <a:ext uri="{FF2B5EF4-FFF2-40B4-BE49-F238E27FC236}">
                    <a16:creationId xmlns:a16="http://schemas.microsoft.com/office/drawing/2014/main" id="{8D52DBDF-81A1-426B-AFAD-161BFD7914C2}"/>
                  </a:ext>
                </a:extLst>
              </p:cNvPr>
              <p:cNvSpPr/>
              <p:nvPr userDrawn="1"/>
            </p:nvSpPr>
            <p:spPr>
              <a:xfrm>
                <a:off x="10847306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3C9121D0-A53B-484D-8DAE-DCEBC6EC5957}"/>
                  </a:ext>
                </a:extLst>
              </p:cNvPr>
              <p:cNvSpPr/>
              <p:nvPr userDrawn="1"/>
            </p:nvSpPr>
            <p:spPr>
              <a:xfrm>
                <a:off x="9911314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E76E68A8-7417-4260-90EC-DF264218776C}"/>
                  </a:ext>
                </a:extLst>
              </p:cNvPr>
              <p:cNvSpPr/>
              <p:nvPr userDrawn="1"/>
            </p:nvSpPr>
            <p:spPr>
              <a:xfrm>
                <a:off x="8975321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8A4EC558-495F-4D36-A8AD-EC8FE04E99A8}"/>
                  </a:ext>
                </a:extLst>
              </p:cNvPr>
              <p:cNvSpPr/>
              <p:nvPr userDrawn="1"/>
            </p:nvSpPr>
            <p:spPr>
              <a:xfrm>
                <a:off x="8039328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8E0EE197-515E-4CC7-B06A-A26E639A43BC}"/>
                  </a:ext>
                </a:extLst>
              </p:cNvPr>
              <p:cNvSpPr/>
              <p:nvPr userDrawn="1"/>
            </p:nvSpPr>
            <p:spPr>
              <a:xfrm>
                <a:off x="7103335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07" name="Rechteck 106">
                <a:extLst>
                  <a:ext uri="{FF2B5EF4-FFF2-40B4-BE49-F238E27FC236}">
                    <a16:creationId xmlns:a16="http://schemas.microsoft.com/office/drawing/2014/main" id="{ECD3F7BC-864F-44EE-A8D3-BCA07A8DDBC6}"/>
                  </a:ext>
                </a:extLst>
              </p:cNvPr>
              <p:cNvSpPr/>
              <p:nvPr userDrawn="1"/>
            </p:nvSpPr>
            <p:spPr>
              <a:xfrm>
                <a:off x="5231349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AD55AA86-3291-44C0-B0C3-2A447ABA851C}"/>
                  </a:ext>
                </a:extLst>
              </p:cNvPr>
              <p:cNvSpPr/>
              <p:nvPr userDrawn="1"/>
            </p:nvSpPr>
            <p:spPr>
              <a:xfrm>
                <a:off x="3359363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09" name="Rechteck 108">
                <a:extLst>
                  <a:ext uri="{FF2B5EF4-FFF2-40B4-BE49-F238E27FC236}">
                    <a16:creationId xmlns:a16="http://schemas.microsoft.com/office/drawing/2014/main" id="{68847CFD-37CC-425A-B4BE-F1283C81C35E}"/>
                  </a:ext>
                </a:extLst>
              </p:cNvPr>
              <p:cNvSpPr/>
              <p:nvPr userDrawn="1"/>
            </p:nvSpPr>
            <p:spPr>
              <a:xfrm>
                <a:off x="1487377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10" name="Rechteck 109">
                <a:extLst>
                  <a:ext uri="{FF2B5EF4-FFF2-40B4-BE49-F238E27FC236}">
                    <a16:creationId xmlns:a16="http://schemas.microsoft.com/office/drawing/2014/main" id="{FD291FF2-9A2F-4A0F-9AB0-CD77F805AC07}"/>
                  </a:ext>
                </a:extLst>
              </p:cNvPr>
              <p:cNvSpPr/>
              <p:nvPr userDrawn="1"/>
            </p:nvSpPr>
            <p:spPr>
              <a:xfrm>
                <a:off x="2423370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11" name="Rechteck 110">
                <a:extLst>
                  <a:ext uri="{FF2B5EF4-FFF2-40B4-BE49-F238E27FC236}">
                    <a16:creationId xmlns:a16="http://schemas.microsoft.com/office/drawing/2014/main" id="{D57A6757-33D9-45F2-99EE-077FCFA65207}"/>
                  </a:ext>
                </a:extLst>
              </p:cNvPr>
              <p:cNvSpPr/>
              <p:nvPr userDrawn="1"/>
            </p:nvSpPr>
            <p:spPr>
              <a:xfrm>
                <a:off x="4295356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12" name="Rechteck 111">
                <a:extLst>
                  <a:ext uri="{FF2B5EF4-FFF2-40B4-BE49-F238E27FC236}">
                    <a16:creationId xmlns:a16="http://schemas.microsoft.com/office/drawing/2014/main" id="{F1C8D207-BCBC-4327-9C8E-5159CE1118B1}"/>
                  </a:ext>
                </a:extLst>
              </p:cNvPr>
              <p:cNvSpPr/>
              <p:nvPr userDrawn="1"/>
            </p:nvSpPr>
            <p:spPr>
              <a:xfrm>
                <a:off x="6167342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</p:grpSp>
        <p:grpSp>
          <p:nvGrpSpPr>
            <p:cNvPr id="141" name="Gruppieren 140">
              <a:extLst>
                <a:ext uri="{FF2B5EF4-FFF2-40B4-BE49-F238E27FC236}">
                  <a16:creationId xmlns:a16="http://schemas.microsoft.com/office/drawing/2014/main" id="{0A4A8B68-3B37-458E-8134-AE4B52D11984}"/>
                </a:ext>
              </a:extLst>
            </p:cNvPr>
            <p:cNvGrpSpPr/>
            <p:nvPr userDrawn="1"/>
          </p:nvGrpSpPr>
          <p:grpSpPr>
            <a:xfrm>
              <a:off x="551384" y="5265320"/>
              <a:ext cx="11089232" cy="1044000"/>
              <a:chOff x="551384" y="1700808"/>
              <a:chExt cx="11089232" cy="1044000"/>
            </a:xfrm>
          </p:grpSpPr>
          <p:sp>
            <p:nvSpPr>
              <p:cNvPr id="142" name="Rechteck 141">
                <a:extLst>
                  <a:ext uri="{FF2B5EF4-FFF2-40B4-BE49-F238E27FC236}">
                    <a16:creationId xmlns:a16="http://schemas.microsoft.com/office/drawing/2014/main" id="{8CD5E587-AE30-4ED6-924F-A03CBE9FD3F8}"/>
                  </a:ext>
                </a:extLst>
              </p:cNvPr>
              <p:cNvSpPr/>
              <p:nvPr userDrawn="1"/>
            </p:nvSpPr>
            <p:spPr>
              <a:xfrm>
                <a:off x="551384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43" name="Rechteck 142">
                <a:extLst>
                  <a:ext uri="{FF2B5EF4-FFF2-40B4-BE49-F238E27FC236}">
                    <a16:creationId xmlns:a16="http://schemas.microsoft.com/office/drawing/2014/main" id="{085BB8BB-B8F1-476A-9C79-74B26F0674F8}"/>
                  </a:ext>
                </a:extLst>
              </p:cNvPr>
              <p:cNvSpPr/>
              <p:nvPr userDrawn="1"/>
            </p:nvSpPr>
            <p:spPr>
              <a:xfrm>
                <a:off x="10847306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44" name="Rechteck 143">
                <a:extLst>
                  <a:ext uri="{FF2B5EF4-FFF2-40B4-BE49-F238E27FC236}">
                    <a16:creationId xmlns:a16="http://schemas.microsoft.com/office/drawing/2014/main" id="{BBEAD1C9-4208-40E5-B51B-B80CC9153EFA}"/>
                  </a:ext>
                </a:extLst>
              </p:cNvPr>
              <p:cNvSpPr/>
              <p:nvPr userDrawn="1"/>
            </p:nvSpPr>
            <p:spPr>
              <a:xfrm>
                <a:off x="9911314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45" name="Rechteck 144">
                <a:extLst>
                  <a:ext uri="{FF2B5EF4-FFF2-40B4-BE49-F238E27FC236}">
                    <a16:creationId xmlns:a16="http://schemas.microsoft.com/office/drawing/2014/main" id="{E976508A-EE70-41D6-836E-6DFCB6EBAB5F}"/>
                  </a:ext>
                </a:extLst>
              </p:cNvPr>
              <p:cNvSpPr/>
              <p:nvPr userDrawn="1"/>
            </p:nvSpPr>
            <p:spPr>
              <a:xfrm>
                <a:off x="8975321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58" name="Rechteck 157">
                <a:extLst>
                  <a:ext uri="{FF2B5EF4-FFF2-40B4-BE49-F238E27FC236}">
                    <a16:creationId xmlns:a16="http://schemas.microsoft.com/office/drawing/2014/main" id="{65BDD974-0E6D-4ABD-B477-4772B8D60333}"/>
                  </a:ext>
                </a:extLst>
              </p:cNvPr>
              <p:cNvSpPr/>
              <p:nvPr userDrawn="1"/>
            </p:nvSpPr>
            <p:spPr>
              <a:xfrm>
                <a:off x="8039328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71" name="Rechteck 170">
                <a:extLst>
                  <a:ext uri="{FF2B5EF4-FFF2-40B4-BE49-F238E27FC236}">
                    <a16:creationId xmlns:a16="http://schemas.microsoft.com/office/drawing/2014/main" id="{0C0FC1BD-2EC6-4F37-A14A-0E5C46DAD3F6}"/>
                  </a:ext>
                </a:extLst>
              </p:cNvPr>
              <p:cNvSpPr/>
              <p:nvPr userDrawn="1"/>
            </p:nvSpPr>
            <p:spPr>
              <a:xfrm>
                <a:off x="7103335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85" name="Rechteck 184">
                <a:extLst>
                  <a:ext uri="{FF2B5EF4-FFF2-40B4-BE49-F238E27FC236}">
                    <a16:creationId xmlns:a16="http://schemas.microsoft.com/office/drawing/2014/main" id="{112FFCF0-F64C-4DD7-9BF0-4F7781F574BB}"/>
                  </a:ext>
                </a:extLst>
              </p:cNvPr>
              <p:cNvSpPr/>
              <p:nvPr userDrawn="1"/>
            </p:nvSpPr>
            <p:spPr>
              <a:xfrm>
                <a:off x="5231349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86" name="Rechteck 185">
                <a:extLst>
                  <a:ext uri="{FF2B5EF4-FFF2-40B4-BE49-F238E27FC236}">
                    <a16:creationId xmlns:a16="http://schemas.microsoft.com/office/drawing/2014/main" id="{4601320F-0BB4-427A-9F4E-073CCF9F0E74}"/>
                  </a:ext>
                </a:extLst>
              </p:cNvPr>
              <p:cNvSpPr/>
              <p:nvPr userDrawn="1"/>
            </p:nvSpPr>
            <p:spPr>
              <a:xfrm>
                <a:off x="3359363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87" name="Rechteck 186">
                <a:extLst>
                  <a:ext uri="{FF2B5EF4-FFF2-40B4-BE49-F238E27FC236}">
                    <a16:creationId xmlns:a16="http://schemas.microsoft.com/office/drawing/2014/main" id="{A6CE9B4C-7396-44D9-9D4C-430DF9D130B3}"/>
                  </a:ext>
                </a:extLst>
              </p:cNvPr>
              <p:cNvSpPr/>
              <p:nvPr userDrawn="1"/>
            </p:nvSpPr>
            <p:spPr>
              <a:xfrm>
                <a:off x="1487377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88" name="Rechteck 187">
                <a:extLst>
                  <a:ext uri="{FF2B5EF4-FFF2-40B4-BE49-F238E27FC236}">
                    <a16:creationId xmlns:a16="http://schemas.microsoft.com/office/drawing/2014/main" id="{220AFEC2-7E53-4220-A420-4FB4D5E0061E}"/>
                  </a:ext>
                </a:extLst>
              </p:cNvPr>
              <p:cNvSpPr/>
              <p:nvPr userDrawn="1"/>
            </p:nvSpPr>
            <p:spPr>
              <a:xfrm>
                <a:off x="2423370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89" name="Rechteck 188">
                <a:extLst>
                  <a:ext uri="{FF2B5EF4-FFF2-40B4-BE49-F238E27FC236}">
                    <a16:creationId xmlns:a16="http://schemas.microsoft.com/office/drawing/2014/main" id="{18D7E410-F275-436D-BBFC-D81377C10341}"/>
                  </a:ext>
                </a:extLst>
              </p:cNvPr>
              <p:cNvSpPr/>
              <p:nvPr userDrawn="1"/>
            </p:nvSpPr>
            <p:spPr>
              <a:xfrm>
                <a:off x="4295356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  <p:sp>
            <p:nvSpPr>
              <p:cNvPr id="190" name="Rechteck 189">
                <a:extLst>
                  <a:ext uri="{FF2B5EF4-FFF2-40B4-BE49-F238E27FC236}">
                    <a16:creationId xmlns:a16="http://schemas.microsoft.com/office/drawing/2014/main" id="{C95FD930-D1AC-4FD4-9D2B-65E703BE2DE9}"/>
                  </a:ext>
                </a:extLst>
              </p:cNvPr>
              <p:cNvSpPr/>
              <p:nvPr userDrawn="1"/>
            </p:nvSpPr>
            <p:spPr>
              <a:xfrm>
                <a:off x="6167342" y="1700808"/>
                <a:ext cx="793310" cy="10440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  <a:latin typeface="Poppins" panose="00000500000000000000" pitchFamily="2" charset="0"/>
                </a:endParaRPr>
              </a:p>
            </p:txBody>
          </p:sp>
        </p:grpSp>
      </p:grp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50370E2-58FA-40E1-A10E-2AD7C486CD1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 dirty="0">
              <a:latin typeface="Poppins" panose="00000500000000000000" pitchFamily="2" charset="0"/>
              <a:ea typeface="+mj-ea"/>
              <a:cs typeface="Poppins" panose="00000500000000000000" pitchFamily="2" charset="0"/>
              <a:sym typeface="Segoe UI Semibold" panose="020B07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0A7A8B-45C2-45CD-A5C7-8B9D75EF64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Use this pattern to position content on the slide – </a:t>
            </a:r>
            <a:br>
              <a:rPr lang="en-US"/>
            </a:br>
            <a:r>
              <a:rPr lang="en-US"/>
              <a:t>Switch to a regular layout once done</a:t>
            </a:r>
          </a:p>
        </p:txBody>
      </p:sp>
      <p:sp>
        <p:nvSpPr>
          <p:cNvPr id="70" name="Textplatzhalter 7">
            <a:extLst>
              <a:ext uri="{FF2B5EF4-FFF2-40B4-BE49-F238E27FC236}">
                <a16:creationId xmlns:a16="http://schemas.microsoft.com/office/drawing/2014/main" id="{2B0A8FFC-5CC8-461C-B90C-3CD8DDCD24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ource/Note: </a:t>
            </a:r>
          </a:p>
        </p:txBody>
      </p:sp>
      <p:sp>
        <p:nvSpPr>
          <p:cNvPr id="71" name="Textplatzhalter 7">
            <a:extLst>
              <a:ext uri="{FF2B5EF4-FFF2-40B4-BE49-F238E27FC236}">
                <a16:creationId xmlns:a16="http://schemas.microsoft.com/office/drawing/2014/main" id="{EE892A01-1720-49E0-9C7C-2B299EDED1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51385" y="1340768"/>
            <a:ext cx="11089754" cy="288000"/>
          </a:xfrm>
          <a:prstGeom prst="rect">
            <a:avLst/>
          </a:prstGeom>
          <a:noFill/>
        </p:spPr>
        <p:txBody>
          <a:bodyPr vert="horz" wrap="square" lIns="0" tIns="0" rIns="0" bIns="97200" rtlCol="0" anchor="b">
            <a:noAutofit/>
          </a:bodyPr>
          <a:lstStyle>
            <a:lvl1pPr>
              <a:defRPr lang="en-US" cap="all" baseline="0" dirty="0"/>
            </a:lvl1pPr>
          </a:lstStyle>
          <a:p>
            <a:pPr lvl="0"/>
            <a:r>
              <a:rPr lang="en-US"/>
              <a:t>SUBTITLE - max one line!</a:t>
            </a:r>
          </a:p>
        </p:txBody>
      </p:sp>
      <p:sp>
        <p:nvSpPr>
          <p:cNvPr id="113" name="Foliennummernplatzhalter 5">
            <a:extLst>
              <a:ext uri="{FF2B5EF4-FFF2-40B4-BE49-F238E27FC236}">
                <a16:creationId xmlns:a16="http://schemas.microsoft.com/office/drawing/2014/main" id="{29D3271E-D347-4973-9DAF-A1DCA8F95A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19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85">
          <p15:clr>
            <a:srgbClr val="FBAE40"/>
          </p15:clr>
        </p15:guide>
        <p15:guide id="3" pos="4384">
          <p15:clr>
            <a:srgbClr val="FBAE40"/>
          </p15:clr>
        </p15:guide>
        <p15:guide id="4" pos="4475">
          <p15:clr>
            <a:srgbClr val="FBAE40"/>
          </p15:clr>
        </p15:guide>
        <p15:guide id="5" pos="4974">
          <p15:clr>
            <a:srgbClr val="FBAE40"/>
          </p15:clr>
        </p15:guide>
        <p15:guide id="6" pos="5065">
          <p15:clr>
            <a:srgbClr val="FBAE40"/>
          </p15:clr>
        </p15:guide>
        <p15:guide id="7" pos="5568">
          <p15:clr>
            <a:srgbClr val="FBAE40"/>
          </p15:clr>
        </p15:guide>
        <p15:guide id="8" pos="5658">
          <p15:clr>
            <a:srgbClr val="FBAE40"/>
          </p15:clr>
        </p15:guide>
        <p15:guide id="9" pos="6153">
          <p15:clr>
            <a:srgbClr val="FBAE40"/>
          </p15:clr>
        </p15:guide>
        <p15:guide id="10" pos="6244">
          <p15:clr>
            <a:srgbClr val="FBAE40"/>
          </p15:clr>
        </p15:guide>
        <p15:guide id="11" pos="6743">
          <p15:clr>
            <a:srgbClr val="FBAE40"/>
          </p15:clr>
        </p15:guide>
        <p15:guide id="12" pos="6833">
          <p15:clr>
            <a:srgbClr val="FBAE40"/>
          </p15:clr>
        </p15:guide>
        <p15:guide id="13" pos="3296">
          <p15:clr>
            <a:srgbClr val="FBAE40"/>
          </p15:clr>
        </p15:guide>
        <p15:guide id="14" pos="3205">
          <p15:clr>
            <a:srgbClr val="FBAE40"/>
          </p15:clr>
        </p15:guide>
        <p15:guide id="15" pos="2706">
          <p15:clr>
            <a:srgbClr val="FBAE40"/>
          </p15:clr>
        </p15:guide>
        <p15:guide id="16" pos="2615">
          <p15:clr>
            <a:srgbClr val="FBAE40"/>
          </p15:clr>
        </p15:guide>
        <p15:guide id="17" pos="2117">
          <p15:clr>
            <a:srgbClr val="FBAE40"/>
          </p15:clr>
        </p15:guide>
        <p15:guide id="18" pos="2026">
          <p15:clr>
            <a:srgbClr val="FBAE40"/>
          </p15:clr>
        </p15:guide>
        <p15:guide id="19" pos="1527">
          <p15:clr>
            <a:srgbClr val="FBAE40"/>
          </p15:clr>
        </p15:guide>
        <p15:guide id="20" pos="1436">
          <p15:clr>
            <a:srgbClr val="FBAE40"/>
          </p15:clr>
        </p15:guide>
        <p15:guide id="21" pos="937">
          <p15:clr>
            <a:srgbClr val="FBAE40"/>
          </p15:clr>
        </p15:guide>
        <p15:guide id="22" pos="847">
          <p15:clr>
            <a:srgbClr val="FBAE40"/>
          </p15:clr>
        </p15:guide>
        <p15:guide id="23" orient="horz" pos="1730">
          <p15:clr>
            <a:srgbClr val="FBAE40"/>
          </p15:clr>
        </p15:guide>
        <p15:guide id="24" orient="horz" pos="1820">
          <p15:clr>
            <a:srgbClr val="FBAE40"/>
          </p15:clr>
        </p15:guide>
        <p15:guide id="25" orient="horz" pos="2478">
          <p15:clr>
            <a:srgbClr val="FBAE40"/>
          </p15:clr>
        </p15:guide>
        <p15:guide id="26" orient="horz" pos="2568">
          <p15:clr>
            <a:srgbClr val="FBAE40"/>
          </p15:clr>
        </p15:guide>
        <p15:guide id="27" orient="horz" pos="3226">
          <p15:clr>
            <a:srgbClr val="FBAE40"/>
          </p15:clr>
        </p15:guide>
        <p15:guide id="28" orient="horz" pos="331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V_Consulting_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0359118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1F7B2A5A-6D68-D78B-DEC8-A3A83B951640}"/>
              </a:ext>
            </a:extLst>
          </p:cNvPr>
          <p:cNvSpPr/>
          <p:nvPr userDrawn="1"/>
        </p:nvSpPr>
        <p:spPr>
          <a:xfrm>
            <a:off x="8511674" y="0"/>
            <a:ext cx="3680325" cy="6874241"/>
          </a:xfrm>
          <a:prstGeom prst="rect">
            <a:avLst/>
          </a:prstGeom>
          <a:solidFill>
            <a:schemeClr val="accent4">
              <a:lumMod val="50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6F9783ED-2C7F-8F19-D0FC-CC0342E6E71F}"/>
              </a:ext>
            </a:extLst>
          </p:cNvPr>
          <p:cNvSpPr/>
          <p:nvPr/>
        </p:nvSpPr>
        <p:spPr>
          <a:xfrm>
            <a:off x="8511675" y="0"/>
            <a:ext cx="3680325" cy="6874241"/>
          </a:xfrm>
          <a:custGeom>
            <a:avLst/>
            <a:gdLst>
              <a:gd name="connsiteX0" fmla="*/ 696570 w 3680325"/>
              <a:gd name="connsiteY0" fmla="*/ 0 h 6874241"/>
              <a:gd name="connsiteX1" fmla="*/ 1037894 w 3680325"/>
              <a:gd name="connsiteY1" fmla="*/ 140804 h 6874241"/>
              <a:gd name="connsiteX2" fmla="*/ 2678638 w 3680325"/>
              <a:gd name="connsiteY2" fmla="*/ 1781549 h 6874241"/>
              <a:gd name="connsiteX3" fmla="*/ 3680325 w 3680325"/>
              <a:gd name="connsiteY3" fmla="*/ 2783199 h 6874241"/>
              <a:gd name="connsiteX4" fmla="*/ 3680325 w 3680325"/>
              <a:gd name="connsiteY4" fmla="*/ 4743921 h 6874241"/>
              <a:gd name="connsiteX5" fmla="*/ 2678638 w 3680325"/>
              <a:gd name="connsiteY5" fmla="*/ 5745573 h 6874241"/>
              <a:gd name="connsiteX6" fmla="*/ 1549970 w 3680325"/>
              <a:gd name="connsiteY6" fmla="*/ 6874241 h 6874241"/>
              <a:gd name="connsiteX7" fmla="*/ 0 w 3680325"/>
              <a:gd name="connsiteY7" fmla="*/ 6874241 h 6874241"/>
              <a:gd name="connsiteX8" fmla="*/ 0 w 3680325"/>
              <a:gd name="connsiteY8" fmla="*/ 4460130 h 6874241"/>
              <a:gd name="connsiteX9" fmla="*/ 469012 w 3680325"/>
              <a:gd name="connsiteY9" fmla="*/ 3991118 h 6874241"/>
              <a:gd name="connsiteX10" fmla="*/ 469012 w 3680325"/>
              <a:gd name="connsiteY10" fmla="*/ 3536001 h 6874241"/>
              <a:gd name="connsiteX11" fmla="*/ 0 w 3680325"/>
              <a:gd name="connsiteY11" fmla="*/ 3066989 h 6874241"/>
              <a:gd name="connsiteX12" fmla="*/ 0 w 3680325"/>
              <a:gd name="connsiteY12" fmla="*/ 496050 h 6874241"/>
              <a:gd name="connsiteX13" fmla="*/ 355246 w 3680325"/>
              <a:gd name="connsiteY13" fmla="*/ 140804 h 6874241"/>
              <a:gd name="connsiteX14" fmla="*/ 696570 w 3680325"/>
              <a:gd name="connsiteY14" fmla="*/ 0 h 687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80325" h="6874241">
                <a:moveTo>
                  <a:pt x="696570" y="0"/>
                </a:moveTo>
                <a:cubicBezTo>
                  <a:pt x="820297" y="0"/>
                  <a:pt x="944025" y="46935"/>
                  <a:pt x="1037894" y="140804"/>
                </a:cubicBezTo>
                <a:lnTo>
                  <a:pt x="2678638" y="1781549"/>
                </a:lnTo>
                <a:lnTo>
                  <a:pt x="3680325" y="2783199"/>
                </a:lnTo>
                <a:lnTo>
                  <a:pt x="3680325" y="4743921"/>
                </a:lnTo>
                <a:lnTo>
                  <a:pt x="2678638" y="5745573"/>
                </a:lnTo>
                <a:lnTo>
                  <a:pt x="1549970" y="6874241"/>
                </a:lnTo>
                <a:lnTo>
                  <a:pt x="0" y="6874241"/>
                </a:lnTo>
                <a:lnTo>
                  <a:pt x="0" y="4460130"/>
                </a:lnTo>
                <a:lnTo>
                  <a:pt x="469012" y="3991118"/>
                </a:lnTo>
                <a:cubicBezTo>
                  <a:pt x="594169" y="3865960"/>
                  <a:pt x="594169" y="3661162"/>
                  <a:pt x="469012" y="3536001"/>
                </a:cubicBezTo>
                <a:lnTo>
                  <a:pt x="0" y="3066989"/>
                </a:lnTo>
                <a:lnTo>
                  <a:pt x="0" y="496050"/>
                </a:lnTo>
                <a:lnTo>
                  <a:pt x="355246" y="140804"/>
                </a:lnTo>
                <a:cubicBezTo>
                  <a:pt x="449116" y="46935"/>
                  <a:pt x="572843" y="0"/>
                  <a:pt x="696570" y="0"/>
                </a:cubicBezTo>
                <a:close/>
              </a:path>
            </a:pathLst>
          </a:custGeom>
          <a:gradFill flip="none" rotWithShape="1">
            <a:gsLst>
              <a:gs pos="15000">
                <a:schemeClr val="accent4">
                  <a:lumMod val="50000"/>
                </a:schemeClr>
              </a:gs>
              <a:gs pos="83000">
                <a:schemeClr val="accent4"/>
              </a:gs>
            </a:gsLst>
            <a:lin ang="18900000" scaled="1"/>
            <a:tileRect/>
          </a:gradFill>
          <a:ln w="227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0679078-84A7-42A0-B49C-C1B2B04859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>
              <a:latin typeface="Poppins" panose="00000500000000000000" pitchFamily="2" charset="0"/>
              <a:ea typeface="+mj-ea"/>
              <a:cs typeface="Poppins" panose="00000500000000000000" pitchFamily="2" charset="0"/>
              <a:sym typeface="Segoe UI Semibold" panose="020B0702040204020203" pitchFamily="34" charset="0"/>
            </a:endParaRP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 marL="0" indent="0">
              <a:spcBef>
                <a:spcPts val="0"/>
              </a:spcBef>
              <a:defRPr sz="800">
                <a:solidFill>
                  <a:schemeClr val="accent2"/>
                </a:solidFill>
                <a:latin typeface="+mn-lt"/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>
              <a:defRPr sz="1067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</a:lstStyle>
          <a:p>
            <a:pPr lvl="0"/>
            <a:r>
              <a:rPr lang="en-US"/>
              <a:t>Source/Note: 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16893A9-8A8C-49AC-B2FA-A71BCEA943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881998"/>
            <a:ext cx="11088542" cy="288001"/>
          </a:xfrm>
        </p:spPr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ourtesy of client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B4221156-3988-4853-B946-82EF82D12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+mn-lt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657E1E6F-DFE5-672D-20BA-71510B2BCB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2601391"/>
            <a:ext cx="4994276" cy="32983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00"/>
              </a:spcBef>
              <a:defRPr lang="en-US" sz="1100" dirty="0"/>
            </a:lvl1pPr>
            <a:lvl2pPr>
              <a:spcBef>
                <a:spcPts val="700"/>
              </a:spcBef>
              <a:defRPr lang="en-US" sz="1100" dirty="0"/>
            </a:lvl2pPr>
            <a:lvl3pPr>
              <a:spcBef>
                <a:spcPts val="700"/>
              </a:spcBef>
              <a:defRPr lang="en-US" sz="1050" dirty="0"/>
            </a:lvl3pPr>
            <a:lvl4pPr>
              <a:spcBef>
                <a:spcPts val="700"/>
              </a:spcBef>
              <a:defRPr lang="en-US" sz="1050" dirty="0"/>
            </a:lvl4pPr>
            <a:lvl5pPr>
              <a:spcBef>
                <a:spcPts val="700"/>
              </a:spcBef>
              <a:defRPr lang="en-US" sz="1050" dirty="0"/>
            </a:lvl5pPr>
          </a:lstStyle>
          <a:p>
            <a:pPr marL="216000" lvl="1" indent="-216000"/>
            <a:r>
              <a:rPr lang="en-US"/>
              <a:t>First level</a:t>
            </a:r>
          </a:p>
          <a:p>
            <a:pPr marL="432000" lvl="2" indent="-216000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BC227CD-7224-0B55-06C6-2D55F9068AEE}"/>
              </a:ext>
            </a:extLst>
          </p:cNvPr>
          <p:cNvSpPr txBox="1"/>
          <p:nvPr userDrawn="1"/>
        </p:nvSpPr>
        <p:spPr>
          <a:xfrm>
            <a:off x="549691" y="2299347"/>
            <a:ext cx="4465017" cy="307777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lvl="0"/>
            <a:r>
              <a:rPr lang="en-US" sz="1400" b="1" noProof="0">
                <a:solidFill>
                  <a:schemeClr val="tx1"/>
                </a:solidFill>
              </a:rPr>
              <a:t>FEV involvemen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7CC5678-FEB7-E091-8BB9-FAD544D118A2}"/>
              </a:ext>
            </a:extLst>
          </p:cNvPr>
          <p:cNvSpPr txBox="1"/>
          <p:nvPr userDrawn="1"/>
        </p:nvSpPr>
        <p:spPr>
          <a:xfrm>
            <a:off x="550863" y="508610"/>
            <a:ext cx="6583680" cy="40011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000" b="1">
                <a:solidFill>
                  <a:schemeClr val="tx2"/>
                </a:solidFill>
                <a:latin typeface="+mj-lt"/>
              </a:rPr>
              <a:t>Reference project FEV Consulting</a:t>
            </a:r>
            <a:endParaRPr lang="de-DE" sz="2000" b="1">
              <a:solidFill>
                <a:schemeClr val="tx2"/>
              </a:solidFill>
              <a:latin typeface="+mj-lt"/>
            </a:endParaRPr>
          </a:p>
        </p:txBody>
      </p:sp>
      <p:sp>
        <p:nvSpPr>
          <p:cNvPr id="20" name="Textplatzhalter 38">
            <a:extLst>
              <a:ext uri="{FF2B5EF4-FFF2-40B4-BE49-F238E27FC236}">
                <a16:creationId xmlns:a16="http://schemas.microsoft.com/office/drawing/2014/main" id="{5D024B01-A353-3768-2AD4-EBF05EA831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58238" y="1711786"/>
            <a:ext cx="4986902" cy="601662"/>
          </a:xfrm>
        </p:spPr>
        <p:txBody>
          <a:bodyPr/>
          <a:lstStyle>
            <a:lvl1pPr>
              <a:defRPr sz="1100" b="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 dirty="0"/>
              <a:t>Background: </a:t>
            </a:r>
            <a:r>
              <a:rPr lang="de-DE" dirty="0" err="1"/>
              <a:t>Provide</a:t>
            </a:r>
            <a:r>
              <a:rPr lang="de-DE" dirty="0"/>
              <a:t> a </a:t>
            </a:r>
            <a:r>
              <a:rPr lang="de-DE" dirty="0" err="1"/>
              <a:t>concise</a:t>
            </a:r>
            <a:r>
              <a:rPr lang="de-DE" dirty="0"/>
              <a:t> </a:t>
            </a:r>
            <a:r>
              <a:rPr lang="de-DE" dirty="0" err="1"/>
              <a:t>description</a:t>
            </a:r>
            <a:r>
              <a:rPr lang="de-DE" dirty="0"/>
              <a:t>,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ree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, </a:t>
            </a:r>
            <a:r>
              <a:rPr lang="de-DE" dirty="0" err="1"/>
              <a:t>outlin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tivation</a:t>
            </a:r>
            <a:r>
              <a:rPr lang="de-DE" dirty="0"/>
              <a:t>, </a:t>
            </a:r>
            <a:r>
              <a:rPr lang="de-DE" dirty="0" err="1"/>
              <a:t>background</a:t>
            </a:r>
            <a:r>
              <a:rPr lang="de-DE" dirty="0"/>
              <a:t>, and </a:t>
            </a:r>
            <a:r>
              <a:rPr lang="de-DE" dirty="0" err="1"/>
              <a:t>objectiv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.</a:t>
            </a:r>
            <a:endParaRPr lang="en-US" dirty="0"/>
          </a:p>
        </p:txBody>
      </p:sp>
      <p:sp>
        <p:nvSpPr>
          <p:cNvPr id="21" name="Bildplatzhalter 21">
            <a:extLst>
              <a:ext uri="{FF2B5EF4-FFF2-40B4-BE49-F238E27FC236}">
                <a16:creationId xmlns:a16="http://schemas.microsoft.com/office/drawing/2014/main" id="{4EA57325-F06D-AB01-9A55-4F2F01DF7406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236779" y="1700213"/>
            <a:ext cx="5545138" cy="4198937"/>
          </a:xfrm>
          <a:prstGeom prst="roundRect">
            <a:avLst>
              <a:gd name="adj" fmla="val 2793"/>
            </a:avLst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Image</a:t>
            </a:r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90324AAB-0D5E-131C-C566-59BBF3A8A333}"/>
              </a:ext>
            </a:extLst>
          </p:cNvPr>
          <p:cNvSpPr/>
          <p:nvPr userDrawn="1"/>
        </p:nvSpPr>
        <p:spPr>
          <a:xfrm>
            <a:off x="8519050" y="26722"/>
            <a:ext cx="3680325" cy="6874241"/>
          </a:xfrm>
          <a:custGeom>
            <a:avLst/>
            <a:gdLst>
              <a:gd name="connsiteX0" fmla="*/ 696570 w 3680325"/>
              <a:gd name="connsiteY0" fmla="*/ 0 h 6874241"/>
              <a:gd name="connsiteX1" fmla="*/ 1037894 w 3680325"/>
              <a:gd name="connsiteY1" fmla="*/ 140804 h 6874241"/>
              <a:gd name="connsiteX2" fmla="*/ 2678638 w 3680325"/>
              <a:gd name="connsiteY2" fmla="*/ 1781549 h 6874241"/>
              <a:gd name="connsiteX3" fmla="*/ 3680325 w 3680325"/>
              <a:gd name="connsiteY3" fmla="*/ 2783199 h 6874241"/>
              <a:gd name="connsiteX4" fmla="*/ 3680325 w 3680325"/>
              <a:gd name="connsiteY4" fmla="*/ 4743921 h 6874241"/>
              <a:gd name="connsiteX5" fmla="*/ 2678638 w 3680325"/>
              <a:gd name="connsiteY5" fmla="*/ 5745573 h 6874241"/>
              <a:gd name="connsiteX6" fmla="*/ 1549970 w 3680325"/>
              <a:gd name="connsiteY6" fmla="*/ 6874241 h 6874241"/>
              <a:gd name="connsiteX7" fmla="*/ 0 w 3680325"/>
              <a:gd name="connsiteY7" fmla="*/ 6874241 h 6874241"/>
              <a:gd name="connsiteX8" fmla="*/ 0 w 3680325"/>
              <a:gd name="connsiteY8" fmla="*/ 4460130 h 6874241"/>
              <a:gd name="connsiteX9" fmla="*/ 469012 w 3680325"/>
              <a:gd name="connsiteY9" fmla="*/ 3991118 h 6874241"/>
              <a:gd name="connsiteX10" fmla="*/ 469012 w 3680325"/>
              <a:gd name="connsiteY10" fmla="*/ 3536001 h 6874241"/>
              <a:gd name="connsiteX11" fmla="*/ 0 w 3680325"/>
              <a:gd name="connsiteY11" fmla="*/ 3066989 h 6874241"/>
              <a:gd name="connsiteX12" fmla="*/ 0 w 3680325"/>
              <a:gd name="connsiteY12" fmla="*/ 496050 h 6874241"/>
              <a:gd name="connsiteX13" fmla="*/ 355246 w 3680325"/>
              <a:gd name="connsiteY13" fmla="*/ 140804 h 6874241"/>
              <a:gd name="connsiteX14" fmla="*/ 696570 w 3680325"/>
              <a:gd name="connsiteY14" fmla="*/ 0 h 687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80325" h="6874241">
                <a:moveTo>
                  <a:pt x="696570" y="0"/>
                </a:moveTo>
                <a:cubicBezTo>
                  <a:pt x="820297" y="0"/>
                  <a:pt x="944025" y="46935"/>
                  <a:pt x="1037894" y="140804"/>
                </a:cubicBezTo>
                <a:lnTo>
                  <a:pt x="2678638" y="1781549"/>
                </a:lnTo>
                <a:lnTo>
                  <a:pt x="3680325" y="2783199"/>
                </a:lnTo>
                <a:lnTo>
                  <a:pt x="3680325" y="4743921"/>
                </a:lnTo>
                <a:lnTo>
                  <a:pt x="2678638" y="5745573"/>
                </a:lnTo>
                <a:lnTo>
                  <a:pt x="1549970" y="6874241"/>
                </a:lnTo>
                <a:lnTo>
                  <a:pt x="0" y="6874241"/>
                </a:lnTo>
                <a:lnTo>
                  <a:pt x="0" y="4460130"/>
                </a:lnTo>
                <a:lnTo>
                  <a:pt x="469012" y="3991118"/>
                </a:lnTo>
                <a:cubicBezTo>
                  <a:pt x="594169" y="3865960"/>
                  <a:pt x="594169" y="3661162"/>
                  <a:pt x="469012" y="3536001"/>
                </a:cubicBezTo>
                <a:lnTo>
                  <a:pt x="0" y="3066989"/>
                </a:lnTo>
                <a:lnTo>
                  <a:pt x="0" y="496050"/>
                </a:lnTo>
                <a:lnTo>
                  <a:pt x="355246" y="140804"/>
                </a:lnTo>
                <a:cubicBezTo>
                  <a:pt x="449116" y="46935"/>
                  <a:pt x="572843" y="0"/>
                  <a:pt x="696570" y="0"/>
                </a:cubicBezTo>
                <a:close/>
              </a:path>
            </a:pathLst>
          </a:custGeom>
          <a:gradFill flip="none" rotWithShape="1">
            <a:gsLst>
              <a:gs pos="15000">
                <a:schemeClr val="accent4">
                  <a:lumMod val="50000"/>
                </a:schemeClr>
              </a:gs>
              <a:gs pos="83000">
                <a:schemeClr val="accent4"/>
              </a:gs>
            </a:gsLst>
            <a:lin ang="18900000" scaled="1"/>
            <a:tileRect/>
          </a:gradFill>
          <a:ln w="227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grpSp>
        <p:nvGrpSpPr>
          <p:cNvPr id="11" name="Group 7">
            <a:extLst>
              <a:ext uri="{FF2B5EF4-FFF2-40B4-BE49-F238E27FC236}">
                <a16:creationId xmlns:a16="http://schemas.microsoft.com/office/drawing/2014/main" id="{BE238E8E-53DB-EE5B-308B-0F28107D588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38508" y="840326"/>
            <a:ext cx="702000" cy="267011"/>
            <a:chOff x="5975501" y="3608175"/>
            <a:chExt cx="3050378" cy="1160231"/>
          </a:xfrm>
          <a:solidFill>
            <a:schemeClr val="bg1"/>
          </a:solidFill>
        </p:grpSpPr>
        <p:sp>
          <p:nvSpPr>
            <p:cNvPr id="12" name="Freeform: Shape 40">
              <a:extLst>
                <a:ext uri="{FF2B5EF4-FFF2-40B4-BE49-F238E27FC236}">
                  <a16:creationId xmlns:a16="http://schemas.microsoft.com/office/drawing/2014/main" id="{76B7E6B9-0299-E04C-90B7-92661D5F780E}"/>
                </a:ext>
              </a:extLst>
            </p:cNvPr>
            <p:cNvSpPr/>
            <p:nvPr/>
          </p:nvSpPr>
          <p:spPr>
            <a:xfrm>
              <a:off x="7098250" y="3614987"/>
              <a:ext cx="608847" cy="620768"/>
            </a:xfrm>
            <a:custGeom>
              <a:avLst/>
              <a:gdLst>
                <a:gd name="connsiteX0" fmla="*/ 369141 w 608847"/>
                <a:gd name="connsiteY0" fmla="*/ 620769 h 620768"/>
                <a:gd name="connsiteX1" fmla="*/ 608848 w 608847"/>
                <a:gd name="connsiteY1" fmla="*/ 0 h 620768"/>
                <a:gd name="connsiteX2" fmla="*/ 485375 w 608847"/>
                <a:gd name="connsiteY2" fmla="*/ 0 h 620768"/>
                <a:gd name="connsiteX3" fmla="*/ 304424 w 608847"/>
                <a:gd name="connsiteY3" fmla="*/ 467493 h 620768"/>
                <a:gd name="connsiteX4" fmla="*/ 123473 w 608847"/>
                <a:gd name="connsiteY4" fmla="*/ 0 h 620768"/>
                <a:gd name="connsiteX5" fmla="*/ 0 w 608847"/>
                <a:gd name="connsiteY5" fmla="*/ 0 h 620768"/>
                <a:gd name="connsiteX6" fmla="*/ 240133 w 608847"/>
                <a:gd name="connsiteY6" fmla="*/ 620769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8847" h="620768">
                  <a:moveTo>
                    <a:pt x="369141" y="620769"/>
                  </a:moveTo>
                  <a:lnTo>
                    <a:pt x="608848" y="0"/>
                  </a:lnTo>
                  <a:lnTo>
                    <a:pt x="485375" y="0"/>
                  </a:lnTo>
                  <a:lnTo>
                    <a:pt x="304424" y="467493"/>
                  </a:lnTo>
                  <a:lnTo>
                    <a:pt x="123473" y="0"/>
                  </a:lnTo>
                  <a:lnTo>
                    <a:pt x="0" y="0"/>
                  </a:lnTo>
                  <a:lnTo>
                    <a:pt x="240133" y="620769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" name="Freeform: Shape 41">
              <a:extLst>
                <a:ext uri="{FF2B5EF4-FFF2-40B4-BE49-F238E27FC236}">
                  <a16:creationId xmlns:a16="http://schemas.microsoft.com/office/drawing/2014/main" id="{061A1ED0-FA3E-674F-0362-3FD4EA0AFEC6}"/>
                </a:ext>
              </a:extLst>
            </p:cNvPr>
            <p:cNvSpPr/>
            <p:nvPr/>
          </p:nvSpPr>
          <p:spPr>
            <a:xfrm>
              <a:off x="5975501" y="3614987"/>
              <a:ext cx="505386" cy="620768"/>
            </a:xfrm>
            <a:custGeom>
              <a:avLst/>
              <a:gdLst>
                <a:gd name="connsiteX0" fmla="*/ 505386 w 505386"/>
                <a:gd name="connsiteY0" fmla="*/ 114957 h 620768"/>
                <a:gd name="connsiteX1" fmla="*/ 505386 w 505386"/>
                <a:gd name="connsiteY1" fmla="*/ 0 h 620768"/>
                <a:gd name="connsiteX2" fmla="*/ 144335 w 505386"/>
                <a:gd name="connsiteY2" fmla="*/ 0 h 620768"/>
                <a:gd name="connsiteX3" fmla="*/ 0 w 505386"/>
                <a:gd name="connsiteY3" fmla="*/ 144335 h 620768"/>
                <a:gd name="connsiteX4" fmla="*/ 0 w 505386"/>
                <a:gd name="connsiteY4" fmla="*/ 620769 h 620768"/>
                <a:gd name="connsiteX5" fmla="*/ 115809 w 505386"/>
                <a:gd name="connsiteY5" fmla="*/ 620769 h 620768"/>
                <a:gd name="connsiteX6" fmla="*/ 115809 w 505386"/>
                <a:gd name="connsiteY6" fmla="*/ 389577 h 620768"/>
                <a:gd name="connsiteX7" fmla="*/ 389577 w 505386"/>
                <a:gd name="connsiteY7" fmla="*/ 389577 h 620768"/>
                <a:gd name="connsiteX8" fmla="*/ 389577 w 505386"/>
                <a:gd name="connsiteY8" fmla="*/ 288670 h 620768"/>
                <a:gd name="connsiteX9" fmla="*/ 115383 w 505386"/>
                <a:gd name="connsiteY9" fmla="*/ 288670 h 620768"/>
                <a:gd name="connsiteX10" fmla="*/ 115383 w 505386"/>
                <a:gd name="connsiteY10" fmla="*/ 144335 h 620768"/>
                <a:gd name="connsiteX11" fmla="*/ 143909 w 505386"/>
                <a:gd name="connsiteY11" fmla="*/ 115809 h 620768"/>
                <a:gd name="connsiteX12" fmla="*/ 504960 w 505386"/>
                <a:gd name="connsiteY12" fmla="*/ 115809 h 620768"/>
                <a:gd name="connsiteX13" fmla="*/ 504960 w 505386"/>
                <a:gd name="connsiteY13" fmla="*/ 114957 h 620768"/>
                <a:gd name="connsiteX14" fmla="*/ 505386 w 505386"/>
                <a:gd name="connsiteY14" fmla="*/ 114957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5386" h="620768">
                  <a:moveTo>
                    <a:pt x="505386" y="114957"/>
                  </a:moveTo>
                  <a:lnTo>
                    <a:pt x="505386" y="0"/>
                  </a:lnTo>
                  <a:lnTo>
                    <a:pt x="144335" y="0"/>
                  </a:lnTo>
                  <a:cubicBezTo>
                    <a:pt x="64717" y="0"/>
                    <a:pt x="0" y="64717"/>
                    <a:pt x="0" y="144335"/>
                  </a:cubicBezTo>
                  <a:lnTo>
                    <a:pt x="0" y="620769"/>
                  </a:lnTo>
                  <a:lnTo>
                    <a:pt x="115809" y="620769"/>
                  </a:lnTo>
                  <a:lnTo>
                    <a:pt x="115809" y="389577"/>
                  </a:lnTo>
                  <a:lnTo>
                    <a:pt x="389577" y="389577"/>
                  </a:lnTo>
                  <a:lnTo>
                    <a:pt x="389577" y="288670"/>
                  </a:lnTo>
                  <a:lnTo>
                    <a:pt x="115383" y="288670"/>
                  </a:lnTo>
                  <a:lnTo>
                    <a:pt x="115383" y="144335"/>
                  </a:lnTo>
                  <a:cubicBezTo>
                    <a:pt x="115383" y="128582"/>
                    <a:pt x="128156" y="115809"/>
                    <a:pt x="143909" y="115809"/>
                  </a:cubicBezTo>
                  <a:lnTo>
                    <a:pt x="504960" y="115809"/>
                  </a:lnTo>
                  <a:lnTo>
                    <a:pt x="504960" y="114957"/>
                  </a:lnTo>
                  <a:lnTo>
                    <a:pt x="505386" y="114957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42">
              <a:extLst>
                <a:ext uri="{FF2B5EF4-FFF2-40B4-BE49-F238E27FC236}">
                  <a16:creationId xmlns:a16="http://schemas.microsoft.com/office/drawing/2014/main" id="{925FC7D2-3CD8-ED98-EC9B-3C4BD803DD7D}"/>
                </a:ext>
              </a:extLst>
            </p:cNvPr>
            <p:cNvSpPr/>
            <p:nvPr/>
          </p:nvSpPr>
          <p:spPr>
            <a:xfrm>
              <a:off x="6487699" y="3608175"/>
              <a:ext cx="625452" cy="635245"/>
            </a:xfrm>
            <a:custGeom>
              <a:avLst/>
              <a:gdLst>
                <a:gd name="connsiteX0" fmla="*/ 503257 w 625452"/>
                <a:gd name="connsiteY0" fmla="*/ 395964 h 635245"/>
                <a:gd name="connsiteX1" fmla="*/ 317197 w 625452"/>
                <a:gd name="connsiteY1" fmla="*/ 518585 h 635245"/>
                <a:gd name="connsiteX2" fmla="*/ 172862 w 625452"/>
                <a:gd name="connsiteY2" fmla="*/ 458126 h 635245"/>
                <a:gd name="connsiteX3" fmla="*/ 512198 w 625452"/>
                <a:gd name="connsiteY3" fmla="*/ 262699 h 635245"/>
                <a:gd name="connsiteX4" fmla="*/ 614383 w 625452"/>
                <a:gd name="connsiteY4" fmla="*/ 203943 h 635245"/>
                <a:gd name="connsiteX5" fmla="*/ 563716 w 625452"/>
                <a:gd name="connsiteY5" fmla="*/ 116660 h 635245"/>
                <a:gd name="connsiteX6" fmla="*/ 317623 w 625452"/>
                <a:gd name="connsiteY6" fmla="*/ 0 h 635245"/>
                <a:gd name="connsiteX7" fmla="*/ 0 w 625452"/>
                <a:gd name="connsiteY7" fmla="*/ 317623 h 635245"/>
                <a:gd name="connsiteX8" fmla="*/ 20863 w 625452"/>
                <a:gd name="connsiteY8" fmla="*/ 430877 h 635245"/>
                <a:gd name="connsiteX9" fmla="*/ 71529 w 625452"/>
                <a:gd name="connsiteY9" fmla="*/ 518159 h 635245"/>
                <a:gd name="connsiteX10" fmla="*/ 317623 w 625452"/>
                <a:gd name="connsiteY10" fmla="*/ 635245 h 635245"/>
                <a:gd name="connsiteX11" fmla="*/ 625453 w 625452"/>
                <a:gd name="connsiteY11" fmla="*/ 397241 h 635245"/>
                <a:gd name="connsiteX12" fmla="*/ 503257 w 625452"/>
                <a:gd name="connsiteY12" fmla="*/ 395964 h 635245"/>
                <a:gd name="connsiteX13" fmla="*/ 503257 w 625452"/>
                <a:gd name="connsiteY13" fmla="*/ 395964 h 635245"/>
                <a:gd name="connsiteX14" fmla="*/ 115383 w 625452"/>
                <a:gd name="connsiteY14" fmla="*/ 316771 h 635245"/>
                <a:gd name="connsiteX15" fmla="*/ 317623 w 625452"/>
                <a:gd name="connsiteY15" fmla="*/ 114531 h 635245"/>
                <a:gd name="connsiteX16" fmla="*/ 461958 w 625452"/>
                <a:gd name="connsiteY16" fmla="*/ 174990 h 635245"/>
                <a:gd name="connsiteX17" fmla="*/ 123047 w 625452"/>
                <a:gd name="connsiteY17" fmla="*/ 370844 h 635245"/>
                <a:gd name="connsiteX18" fmla="*/ 115383 w 625452"/>
                <a:gd name="connsiteY18" fmla="*/ 316771 h 63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5452" h="635245">
                  <a:moveTo>
                    <a:pt x="503257" y="395964"/>
                  </a:moveTo>
                  <a:cubicBezTo>
                    <a:pt x="472602" y="467918"/>
                    <a:pt x="401073" y="518585"/>
                    <a:pt x="317197" y="518585"/>
                  </a:cubicBezTo>
                  <a:cubicBezTo>
                    <a:pt x="260570" y="518585"/>
                    <a:pt x="209478" y="495593"/>
                    <a:pt x="172862" y="458126"/>
                  </a:cubicBezTo>
                  <a:lnTo>
                    <a:pt x="512198" y="262699"/>
                  </a:lnTo>
                  <a:lnTo>
                    <a:pt x="614383" y="203943"/>
                  </a:lnTo>
                  <a:cubicBezTo>
                    <a:pt x="602035" y="172010"/>
                    <a:pt x="585005" y="142632"/>
                    <a:pt x="563716" y="116660"/>
                  </a:cubicBezTo>
                  <a:cubicBezTo>
                    <a:pt x="505812" y="45131"/>
                    <a:pt x="417252" y="0"/>
                    <a:pt x="317623" y="0"/>
                  </a:cubicBezTo>
                  <a:cubicBezTo>
                    <a:pt x="142206" y="0"/>
                    <a:pt x="0" y="142206"/>
                    <a:pt x="0" y="317623"/>
                  </a:cubicBezTo>
                  <a:cubicBezTo>
                    <a:pt x="0" y="357219"/>
                    <a:pt x="7238" y="395538"/>
                    <a:pt x="20863" y="430877"/>
                  </a:cubicBezTo>
                  <a:cubicBezTo>
                    <a:pt x="33210" y="462809"/>
                    <a:pt x="50241" y="492187"/>
                    <a:pt x="71529" y="518159"/>
                  </a:cubicBezTo>
                  <a:cubicBezTo>
                    <a:pt x="129859" y="589688"/>
                    <a:pt x="218419" y="635245"/>
                    <a:pt x="317623" y="635245"/>
                  </a:cubicBezTo>
                  <a:cubicBezTo>
                    <a:pt x="465790" y="635245"/>
                    <a:pt x="589688" y="534338"/>
                    <a:pt x="625453" y="397241"/>
                  </a:cubicBezTo>
                  <a:lnTo>
                    <a:pt x="503257" y="395964"/>
                  </a:lnTo>
                  <a:lnTo>
                    <a:pt x="503257" y="395964"/>
                  </a:lnTo>
                  <a:close/>
                  <a:moveTo>
                    <a:pt x="115383" y="316771"/>
                  </a:moveTo>
                  <a:cubicBezTo>
                    <a:pt x="115383" y="205220"/>
                    <a:pt x="206072" y="114531"/>
                    <a:pt x="317623" y="114531"/>
                  </a:cubicBezTo>
                  <a:cubicBezTo>
                    <a:pt x="374250" y="114531"/>
                    <a:pt x="425342" y="137523"/>
                    <a:pt x="461958" y="174990"/>
                  </a:cubicBezTo>
                  <a:lnTo>
                    <a:pt x="123047" y="370844"/>
                  </a:lnTo>
                  <a:cubicBezTo>
                    <a:pt x="118363" y="353813"/>
                    <a:pt x="115383" y="335931"/>
                    <a:pt x="115383" y="316771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43">
              <a:extLst>
                <a:ext uri="{FF2B5EF4-FFF2-40B4-BE49-F238E27FC236}">
                  <a16:creationId xmlns:a16="http://schemas.microsoft.com/office/drawing/2014/main" id="{F10FD517-035A-8069-A801-64580A188D60}"/>
                </a:ext>
              </a:extLst>
            </p:cNvPr>
            <p:cNvSpPr/>
            <p:nvPr/>
          </p:nvSpPr>
          <p:spPr>
            <a:xfrm>
              <a:off x="8659524" y="4396917"/>
              <a:ext cx="366355" cy="371489"/>
            </a:xfrm>
            <a:custGeom>
              <a:avLst/>
              <a:gdLst>
                <a:gd name="connsiteX0" fmla="*/ 242704 w 366355"/>
                <a:gd name="connsiteY0" fmla="*/ 64921 h 371489"/>
                <a:gd name="connsiteX1" fmla="*/ 180542 w 366355"/>
                <a:gd name="connsiteY1" fmla="*/ 44059 h 371489"/>
                <a:gd name="connsiteX2" fmla="*/ 114122 w 366355"/>
                <a:gd name="connsiteY2" fmla="*/ 61941 h 371489"/>
                <a:gd name="connsiteX3" fmla="*/ 63881 w 366355"/>
                <a:gd name="connsiteY3" fmla="*/ 111330 h 371489"/>
                <a:gd name="connsiteX4" fmla="*/ 47702 w 366355"/>
                <a:gd name="connsiteY4" fmla="*/ 178601 h 371489"/>
                <a:gd name="connsiteX5" fmla="*/ 70268 w 366355"/>
                <a:gd name="connsiteY5" fmla="*/ 252259 h 371489"/>
                <a:gd name="connsiteX6" fmla="*/ 122637 w 366355"/>
                <a:gd name="connsiteY6" fmla="*/ 308460 h 371489"/>
                <a:gd name="connsiteX7" fmla="*/ 188631 w 366355"/>
                <a:gd name="connsiteY7" fmla="*/ 327620 h 371489"/>
                <a:gd name="connsiteX8" fmla="*/ 256328 w 366355"/>
                <a:gd name="connsiteY8" fmla="*/ 308460 h 371489"/>
                <a:gd name="connsiteX9" fmla="*/ 315936 w 366355"/>
                <a:gd name="connsiteY9" fmla="*/ 237357 h 371489"/>
                <a:gd name="connsiteX10" fmla="*/ 307420 w 366355"/>
                <a:gd name="connsiteY10" fmla="*/ 143262 h 371489"/>
                <a:gd name="connsiteX11" fmla="*/ 182245 w 366355"/>
                <a:gd name="connsiteY11" fmla="*/ 215643 h 371489"/>
                <a:gd name="connsiteX12" fmla="*/ 163085 w 366355"/>
                <a:gd name="connsiteY12" fmla="*/ 182433 h 371489"/>
                <a:gd name="connsiteX13" fmla="*/ 331689 w 366355"/>
                <a:gd name="connsiteY13" fmla="*/ 84932 h 371489"/>
                <a:gd name="connsiteX14" fmla="*/ 349571 w 366355"/>
                <a:gd name="connsiteY14" fmla="*/ 116439 h 371489"/>
                <a:gd name="connsiteX15" fmla="*/ 366176 w 366355"/>
                <a:gd name="connsiteY15" fmla="*/ 201167 h 371489"/>
                <a:gd name="connsiteX16" fmla="*/ 341056 w 366355"/>
                <a:gd name="connsiteY16" fmla="*/ 283766 h 371489"/>
                <a:gd name="connsiteX17" fmla="*/ 276765 w 366355"/>
                <a:gd name="connsiteY17" fmla="*/ 345928 h 371489"/>
                <a:gd name="connsiteX18" fmla="*/ 185225 w 366355"/>
                <a:gd name="connsiteY18" fmla="*/ 371474 h 371489"/>
                <a:gd name="connsiteX19" fmla="*/ 95388 w 366355"/>
                <a:gd name="connsiteY19" fmla="*/ 347631 h 371489"/>
                <a:gd name="connsiteX20" fmla="*/ 26840 w 366355"/>
                <a:gd name="connsiteY20" fmla="*/ 277379 h 371489"/>
                <a:gd name="connsiteX21" fmla="*/ 16 w 366355"/>
                <a:gd name="connsiteY21" fmla="*/ 182859 h 371489"/>
                <a:gd name="connsiteX22" fmla="*/ 23859 w 366355"/>
                <a:gd name="connsiteY22" fmla="*/ 93022 h 371489"/>
                <a:gd name="connsiteX23" fmla="*/ 91556 w 366355"/>
                <a:gd name="connsiteY23" fmla="*/ 26602 h 371489"/>
                <a:gd name="connsiteX24" fmla="*/ 194166 w 366355"/>
                <a:gd name="connsiteY24" fmla="*/ 205 h 371489"/>
                <a:gd name="connsiteX25" fmla="*/ 290390 w 366355"/>
                <a:gd name="connsiteY25" fmla="*/ 37672 h 371489"/>
                <a:gd name="connsiteX26" fmla="*/ 242704 w 366355"/>
                <a:gd name="connsiteY26" fmla="*/ 64921 h 371489"/>
                <a:gd name="connsiteX27" fmla="*/ 242704 w 366355"/>
                <a:gd name="connsiteY27" fmla="*/ 64921 h 37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6355" h="371489">
                  <a:moveTo>
                    <a:pt x="242704" y="64921"/>
                  </a:moveTo>
                  <a:cubicBezTo>
                    <a:pt x="223544" y="51722"/>
                    <a:pt x="202682" y="44910"/>
                    <a:pt x="180542" y="44059"/>
                  </a:cubicBezTo>
                  <a:cubicBezTo>
                    <a:pt x="158402" y="43633"/>
                    <a:pt x="135836" y="49594"/>
                    <a:pt x="114122" y="61941"/>
                  </a:cubicBezTo>
                  <a:cubicBezTo>
                    <a:pt x="92408" y="74288"/>
                    <a:pt x="75377" y="91319"/>
                    <a:pt x="63881" y="111330"/>
                  </a:cubicBezTo>
                  <a:cubicBezTo>
                    <a:pt x="52386" y="131341"/>
                    <a:pt x="46425" y="153907"/>
                    <a:pt x="47702" y="178601"/>
                  </a:cubicBezTo>
                  <a:cubicBezTo>
                    <a:pt x="48554" y="203296"/>
                    <a:pt x="56217" y="227564"/>
                    <a:pt x="70268" y="252259"/>
                  </a:cubicBezTo>
                  <a:cubicBezTo>
                    <a:pt x="84318" y="276953"/>
                    <a:pt x="101775" y="295687"/>
                    <a:pt x="122637" y="308460"/>
                  </a:cubicBezTo>
                  <a:cubicBezTo>
                    <a:pt x="143500" y="321233"/>
                    <a:pt x="165214" y="327620"/>
                    <a:pt x="188631" y="327620"/>
                  </a:cubicBezTo>
                  <a:cubicBezTo>
                    <a:pt x="212048" y="327620"/>
                    <a:pt x="234614" y="321233"/>
                    <a:pt x="256328" y="308460"/>
                  </a:cubicBezTo>
                  <a:cubicBezTo>
                    <a:pt x="286983" y="290578"/>
                    <a:pt x="306569" y="267161"/>
                    <a:pt x="315936" y="237357"/>
                  </a:cubicBezTo>
                  <a:cubicBezTo>
                    <a:pt x="325303" y="207979"/>
                    <a:pt x="322322" y="176047"/>
                    <a:pt x="307420" y="143262"/>
                  </a:cubicBezTo>
                  <a:lnTo>
                    <a:pt x="182245" y="215643"/>
                  </a:lnTo>
                  <a:lnTo>
                    <a:pt x="163085" y="182433"/>
                  </a:lnTo>
                  <a:lnTo>
                    <a:pt x="331689" y="84932"/>
                  </a:lnTo>
                  <a:lnTo>
                    <a:pt x="349571" y="116439"/>
                  </a:lnTo>
                  <a:cubicBezTo>
                    <a:pt x="361918" y="143688"/>
                    <a:pt x="367454" y="172215"/>
                    <a:pt x="366176" y="201167"/>
                  </a:cubicBezTo>
                  <a:cubicBezTo>
                    <a:pt x="364899" y="230545"/>
                    <a:pt x="356384" y="258220"/>
                    <a:pt x="341056" y="283766"/>
                  </a:cubicBezTo>
                  <a:cubicBezTo>
                    <a:pt x="325728" y="309312"/>
                    <a:pt x="304014" y="330174"/>
                    <a:pt x="276765" y="345928"/>
                  </a:cubicBezTo>
                  <a:cubicBezTo>
                    <a:pt x="247387" y="362533"/>
                    <a:pt x="217157" y="371474"/>
                    <a:pt x="185225" y="371474"/>
                  </a:cubicBezTo>
                  <a:cubicBezTo>
                    <a:pt x="153292" y="371900"/>
                    <a:pt x="123489" y="363810"/>
                    <a:pt x="95388" y="347631"/>
                  </a:cubicBezTo>
                  <a:cubicBezTo>
                    <a:pt x="67287" y="331452"/>
                    <a:pt x="44722" y="308034"/>
                    <a:pt x="26840" y="277379"/>
                  </a:cubicBezTo>
                  <a:cubicBezTo>
                    <a:pt x="8957" y="246724"/>
                    <a:pt x="442" y="215217"/>
                    <a:pt x="16" y="182859"/>
                  </a:cubicBezTo>
                  <a:cubicBezTo>
                    <a:pt x="-410" y="150500"/>
                    <a:pt x="7680" y="120271"/>
                    <a:pt x="23859" y="93022"/>
                  </a:cubicBezTo>
                  <a:cubicBezTo>
                    <a:pt x="40038" y="65773"/>
                    <a:pt x="62604" y="43207"/>
                    <a:pt x="91556" y="26602"/>
                  </a:cubicBezTo>
                  <a:cubicBezTo>
                    <a:pt x="124766" y="7443"/>
                    <a:pt x="158828" y="-1499"/>
                    <a:pt x="194166" y="205"/>
                  </a:cubicBezTo>
                  <a:cubicBezTo>
                    <a:pt x="229505" y="1908"/>
                    <a:pt x="261437" y="14681"/>
                    <a:pt x="290390" y="37672"/>
                  </a:cubicBezTo>
                  <a:lnTo>
                    <a:pt x="242704" y="64921"/>
                  </a:lnTo>
                  <a:lnTo>
                    <a:pt x="242704" y="64921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Freeform: Shape 44">
              <a:extLst>
                <a:ext uri="{FF2B5EF4-FFF2-40B4-BE49-F238E27FC236}">
                  <a16:creationId xmlns:a16="http://schemas.microsoft.com/office/drawing/2014/main" id="{32E97310-86D9-5CD2-A445-9AE9A7E3F5A1}"/>
                </a:ext>
              </a:extLst>
            </p:cNvPr>
            <p:cNvSpPr/>
            <p:nvPr/>
          </p:nvSpPr>
          <p:spPr>
            <a:xfrm>
              <a:off x="6794252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9 w 284838"/>
                <a:gd name="connsiteY8" fmla="*/ 362754 h 362753"/>
                <a:gd name="connsiteX9" fmla="*/ 284839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9" y="362754"/>
                  </a:lnTo>
                  <a:lnTo>
                    <a:pt x="284839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45">
              <a:extLst>
                <a:ext uri="{FF2B5EF4-FFF2-40B4-BE49-F238E27FC236}">
                  <a16:creationId xmlns:a16="http://schemas.microsoft.com/office/drawing/2014/main" id="{74EB74DD-FF69-47F1-BDDC-37504785EA7A}"/>
                </a:ext>
              </a:extLst>
            </p:cNvPr>
            <p:cNvSpPr/>
            <p:nvPr/>
          </p:nvSpPr>
          <p:spPr>
            <a:xfrm>
              <a:off x="7762873" y="4402657"/>
              <a:ext cx="173713" cy="362328"/>
            </a:xfrm>
            <a:custGeom>
              <a:avLst/>
              <a:gdLst>
                <a:gd name="connsiteX0" fmla="*/ 0 w 173713"/>
                <a:gd name="connsiteY0" fmla="*/ 0 h 362328"/>
                <a:gd name="connsiteX1" fmla="*/ 0 w 173713"/>
                <a:gd name="connsiteY1" fmla="*/ 362328 h 362328"/>
                <a:gd name="connsiteX2" fmla="*/ 173713 w 173713"/>
                <a:gd name="connsiteY2" fmla="*/ 362328 h 362328"/>
                <a:gd name="connsiteX3" fmla="*/ 173713 w 173713"/>
                <a:gd name="connsiteY3" fmla="*/ 323583 h 362328"/>
                <a:gd name="connsiteX4" fmla="*/ 47260 w 173713"/>
                <a:gd name="connsiteY4" fmla="*/ 323583 h 362328"/>
                <a:gd name="connsiteX5" fmla="*/ 47260 w 173713"/>
                <a:gd name="connsiteY5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13" h="362328">
                  <a:moveTo>
                    <a:pt x="0" y="0"/>
                  </a:moveTo>
                  <a:lnTo>
                    <a:pt x="0" y="362328"/>
                  </a:lnTo>
                  <a:lnTo>
                    <a:pt x="173713" y="362328"/>
                  </a:lnTo>
                  <a:lnTo>
                    <a:pt x="173713" y="323583"/>
                  </a:lnTo>
                  <a:lnTo>
                    <a:pt x="47260" y="323583"/>
                  </a:lnTo>
                  <a:lnTo>
                    <a:pt x="47260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Freeform: Shape 46">
              <a:extLst>
                <a:ext uri="{FF2B5EF4-FFF2-40B4-BE49-F238E27FC236}">
                  <a16:creationId xmlns:a16="http://schemas.microsoft.com/office/drawing/2014/main" id="{7536E4E4-F66F-9859-41A7-0EA51D461DA9}"/>
                </a:ext>
              </a:extLst>
            </p:cNvPr>
            <p:cNvSpPr/>
            <p:nvPr/>
          </p:nvSpPr>
          <p:spPr>
            <a:xfrm>
              <a:off x="7909337" y="4402657"/>
              <a:ext cx="245667" cy="362328"/>
            </a:xfrm>
            <a:custGeom>
              <a:avLst/>
              <a:gdLst>
                <a:gd name="connsiteX0" fmla="*/ 0 w 245667"/>
                <a:gd name="connsiteY0" fmla="*/ 0 h 362328"/>
                <a:gd name="connsiteX1" fmla="*/ 0 w 245667"/>
                <a:gd name="connsiteY1" fmla="*/ 38745 h 362328"/>
                <a:gd name="connsiteX2" fmla="*/ 99630 w 245667"/>
                <a:gd name="connsiteY2" fmla="*/ 38745 h 362328"/>
                <a:gd name="connsiteX3" fmla="*/ 99630 w 245667"/>
                <a:gd name="connsiteY3" fmla="*/ 362328 h 362328"/>
                <a:gd name="connsiteX4" fmla="*/ 146890 w 245667"/>
                <a:gd name="connsiteY4" fmla="*/ 362328 h 362328"/>
                <a:gd name="connsiteX5" fmla="*/ 146890 w 245667"/>
                <a:gd name="connsiteY5" fmla="*/ 38745 h 362328"/>
                <a:gd name="connsiteX6" fmla="*/ 245668 w 245667"/>
                <a:gd name="connsiteY6" fmla="*/ 38745 h 362328"/>
                <a:gd name="connsiteX7" fmla="*/ 245668 w 245667"/>
                <a:gd name="connsiteY7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667" h="362328">
                  <a:moveTo>
                    <a:pt x="0" y="0"/>
                  </a:moveTo>
                  <a:lnTo>
                    <a:pt x="0" y="38745"/>
                  </a:lnTo>
                  <a:lnTo>
                    <a:pt x="99630" y="38745"/>
                  </a:lnTo>
                  <a:lnTo>
                    <a:pt x="99630" y="362328"/>
                  </a:lnTo>
                  <a:lnTo>
                    <a:pt x="146890" y="362328"/>
                  </a:lnTo>
                  <a:lnTo>
                    <a:pt x="146890" y="38745"/>
                  </a:lnTo>
                  <a:lnTo>
                    <a:pt x="245668" y="38745"/>
                  </a:lnTo>
                  <a:lnTo>
                    <a:pt x="245668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" name="Freeform: Shape 47">
              <a:extLst>
                <a:ext uri="{FF2B5EF4-FFF2-40B4-BE49-F238E27FC236}">
                  <a16:creationId xmlns:a16="http://schemas.microsoft.com/office/drawing/2014/main" id="{AE19E159-401E-0F95-2BE8-26DC5D2C0556}"/>
                </a:ext>
              </a:extLst>
            </p:cNvPr>
            <p:cNvSpPr/>
            <p:nvPr/>
          </p:nvSpPr>
          <p:spPr>
            <a:xfrm>
              <a:off x="8212910" y="4402657"/>
              <a:ext cx="47260" cy="362328"/>
            </a:xfrm>
            <a:custGeom>
              <a:avLst/>
              <a:gdLst>
                <a:gd name="connsiteX0" fmla="*/ 0 w 47260"/>
                <a:gd name="connsiteY0" fmla="*/ 0 h 362328"/>
                <a:gd name="connsiteX1" fmla="*/ 47260 w 47260"/>
                <a:gd name="connsiteY1" fmla="*/ 0 h 362328"/>
                <a:gd name="connsiteX2" fmla="*/ 47260 w 47260"/>
                <a:gd name="connsiteY2" fmla="*/ 362328 h 362328"/>
                <a:gd name="connsiteX3" fmla="*/ 0 w 47260"/>
                <a:gd name="connsiteY3" fmla="*/ 362328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260" h="362328">
                  <a:moveTo>
                    <a:pt x="0" y="0"/>
                  </a:moveTo>
                  <a:lnTo>
                    <a:pt x="47260" y="0"/>
                  </a:lnTo>
                  <a:lnTo>
                    <a:pt x="47260" y="362328"/>
                  </a:lnTo>
                  <a:lnTo>
                    <a:pt x="0" y="362328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6" name="Freeform: Shape 48">
              <a:extLst>
                <a:ext uri="{FF2B5EF4-FFF2-40B4-BE49-F238E27FC236}">
                  <a16:creationId xmlns:a16="http://schemas.microsoft.com/office/drawing/2014/main" id="{B1C9FE3B-5B01-84E8-1602-C5BBA939AA5F}"/>
                </a:ext>
              </a:extLst>
            </p:cNvPr>
            <p:cNvSpPr/>
            <p:nvPr/>
          </p:nvSpPr>
          <p:spPr>
            <a:xfrm>
              <a:off x="7432478" y="4402657"/>
              <a:ext cx="272065" cy="365734"/>
            </a:xfrm>
            <a:custGeom>
              <a:avLst/>
              <a:gdLst>
                <a:gd name="connsiteX0" fmla="*/ 46834 w 272065"/>
                <a:gd name="connsiteY0" fmla="*/ 0 h 365734"/>
                <a:gd name="connsiteX1" fmla="*/ 46834 w 272065"/>
                <a:gd name="connsiteY1" fmla="*/ 229063 h 365734"/>
                <a:gd name="connsiteX2" fmla="*/ 70252 w 272065"/>
                <a:gd name="connsiteY2" fmla="*/ 300592 h 365734"/>
                <a:gd name="connsiteX3" fmla="*/ 135820 w 272065"/>
                <a:gd name="connsiteY3" fmla="*/ 324009 h 365734"/>
                <a:gd name="connsiteX4" fmla="*/ 201388 w 272065"/>
                <a:gd name="connsiteY4" fmla="*/ 300592 h 365734"/>
                <a:gd name="connsiteX5" fmla="*/ 224805 w 272065"/>
                <a:gd name="connsiteY5" fmla="*/ 229063 h 365734"/>
                <a:gd name="connsiteX6" fmla="*/ 224805 w 272065"/>
                <a:gd name="connsiteY6" fmla="*/ 0 h 365734"/>
                <a:gd name="connsiteX7" fmla="*/ 272066 w 272065"/>
                <a:gd name="connsiteY7" fmla="*/ 0 h 365734"/>
                <a:gd name="connsiteX8" fmla="*/ 272066 w 272065"/>
                <a:gd name="connsiteY8" fmla="*/ 228637 h 365734"/>
                <a:gd name="connsiteX9" fmla="*/ 254183 w 272065"/>
                <a:gd name="connsiteY9" fmla="*/ 304850 h 365734"/>
                <a:gd name="connsiteX10" fmla="*/ 205220 w 272065"/>
                <a:gd name="connsiteY10" fmla="*/ 350832 h 365734"/>
                <a:gd name="connsiteX11" fmla="*/ 135820 w 272065"/>
                <a:gd name="connsiteY11" fmla="*/ 365734 h 365734"/>
                <a:gd name="connsiteX12" fmla="*/ 66420 w 272065"/>
                <a:gd name="connsiteY12" fmla="*/ 350832 h 365734"/>
                <a:gd name="connsiteX13" fmla="*/ 17882 w 272065"/>
                <a:gd name="connsiteY13" fmla="*/ 304850 h 365734"/>
                <a:gd name="connsiteX14" fmla="*/ 0 w 272065"/>
                <a:gd name="connsiteY14" fmla="*/ 228637 h 365734"/>
                <a:gd name="connsiteX15" fmla="*/ 0 w 272065"/>
                <a:gd name="connsiteY15" fmla="*/ 0 h 365734"/>
                <a:gd name="connsiteX16" fmla="*/ 46834 w 272065"/>
                <a:gd name="connsiteY16" fmla="*/ 0 h 365734"/>
                <a:gd name="connsiteX17" fmla="*/ 46834 w 272065"/>
                <a:gd name="connsiteY17" fmla="*/ 0 h 36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2065" h="365734">
                  <a:moveTo>
                    <a:pt x="46834" y="0"/>
                  </a:moveTo>
                  <a:lnTo>
                    <a:pt x="46834" y="229063"/>
                  </a:lnTo>
                  <a:cubicBezTo>
                    <a:pt x="46834" y="261421"/>
                    <a:pt x="54924" y="285264"/>
                    <a:pt x="70252" y="300592"/>
                  </a:cubicBezTo>
                  <a:cubicBezTo>
                    <a:pt x="86005" y="316345"/>
                    <a:pt x="107719" y="324009"/>
                    <a:pt x="135820" y="324009"/>
                  </a:cubicBezTo>
                  <a:cubicBezTo>
                    <a:pt x="163921" y="324009"/>
                    <a:pt x="185209" y="316345"/>
                    <a:pt x="201388" y="300592"/>
                  </a:cubicBezTo>
                  <a:cubicBezTo>
                    <a:pt x="217141" y="284838"/>
                    <a:pt x="224805" y="260995"/>
                    <a:pt x="224805" y="229063"/>
                  </a:cubicBezTo>
                  <a:lnTo>
                    <a:pt x="224805" y="0"/>
                  </a:lnTo>
                  <a:lnTo>
                    <a:pt x="272066" y="0"/>
                  </a:lnTo>
                  <a:lnTo>
                    <a:pt x="272066" y="228637"/>
                  </a:lnTo>
                  <a:cubicBezTo>
                    <a:pt x="272066" y="258867"/>
                    <a:pt x="266105" y="284413"/>
                    <a:pt x="254183" y="304850"/>
                  </a:cubicBezTo>
                  <a:cubicBezTo>
                    <a:pt x="241836" y="325286"/>
                    <a:pt x="225657" y="340614"/>
                    <a:pt x="205220" y="350832"/>
                  </a:cubicBezTo>
                  <a:cubicBezTo>
                    <a:pt x="184783" y="361051"/>
                    <a:pt x="161366" y="365734"/>
                    <a:pt x="135820" y="365734"/>
                  </a:cubicBezTo>
                  <a:cubicBezTo>
                    <a:pt x="110274" y="365734"/>
                    <a:pt x="87282" y="361051"/>
                    <a:pt x="66420" y="350832"/>
                  </a:cubicBezTo>
                  <a:cubicBezTo>
                    <a:pt x="45983" y="340614"/>
                    <a:pt x="29804" y="325286"/>
                    <a:pt x="17882" y="304850"/>
                  </a:cubicBezTo>
                  <a:cubicBezTo>
                    <a:pt x="5961" y="284413"/>
                    <a:pt x="0" y="258867"/>
                    <a:pt x="0" y="228637"/>
                  </a:cubicBezTo>
                  <a:lnTo>
                    <a:pt x="0" y="0"/>
                  </a:lnTo>
                  <a:lnTo>
                    <a:pt x="46834" y="0"/>
                  </a:lnTo>
                  <a:lnTo>
                    <a:pt x="46834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7" name="Freeform: Shape 49">
              <a:extLst>
                <a:ext uri="{FF2B5EF4-FFF2-40B4-BE49-F238E27FC236}">
                  <a16:creationId xmlns:a16="http://schemas.microsoft.com/office/drawing/2014/main" id="{580AE326-16CC-8B32-36AC-A743402BDAAA}"/>
                </a:ext>
              </a:extLst>
            </p:cNvPr>
            <p:cNvSpPr/>
            <p:nvPr/>
          </p:nvSpPr>
          <p:spPr>
            <a:xfrm>
              <a:off x="7136995" y="4398399"/>
              <a:ext cx="245667" cy="369595"/>
            </a:xfrm>
            <a:custGeom>
              <a:avLst/>
              <a:gdLst>
                <a:gd name="connsiteX0" fmla="*/ 61311 w 245667"/>
                <a:gd name="connsiteY0" fmla="*/ 357645 h 369595"/>
                <a:gd name="connsiteX1" fmla="*/ 16605 w 245667"/>
                <a:gd name="connsiteY1" fmla="*/ 322306 h 369595"/>
                <a:gd name="connsiteX2" fmla="*/ 0 w 245667"/>
                <a:gd name="connsiteY2" fmla="*/ 269937 h 369595"/>
                <a:gd name="connsiteX3" fmla="*/ 50241 w 245667"/>
                <a:gd name="connsiteY3" fmla="*/ 269937 h 369595"/>
                <a:gd name="connsiteX4" fmla="*/ 71103 w 245667"/>
                <a:gd name="connsiteY4" fmla="*/ 312513 h 369595"/>
                <a:gd name="connsiteX5" fmla="*/ 124750 w 245667"/>
                <a:gd name="connsiteY5" fmla="*/ 329970 h 369595"/>
                <a:gd name="connsiteX6" fmla="*/ 177971 w 245667"/>
                <a:gd name="connsiteY6" fmla="*/ 312939 h 369595"/>
                <a:gd name="connsiteX7" fmla="*/ 197556 w 245667"/>
                <a:gd name="connsiteY7" fmla="*/ 269511 h 369595"/>
                <a:gd name="connsiteX8" fmla="*/ 186061 w 245667"/>
                <a:gd name="connsiteY8" fmla="*/ 235875 h 369595"/>
                <a:gd name="connsiteX9" fmla="*/ 157534 w 245667"/>
                <a:gd name="connsiteY9" fmla="*/ 216290 h 369595"/>
                <a:gd name="connsiteX10" fmla="*/ 111125 w 245667"/>
                <a:gd name="connsiteY10" fmla="*/ 201814 h 369595"/>
                <a:gd name="connsiteX11" fmla="*/ 53647 w 245667"/>
                <a:gd name="connsiteY11" fmla="*/ 183080 h 369595"/>
                <a:gd name="connsiteX12" fmla="*/ 17031 w 245667"/>
                <a:gd name="connsiteY12" fmla="*/ 153702 h 369595"/>
                <a:gd name="connsiteX13" fmla="*/ 1703 w 245667"/>
                <a:gd name="connsiteY13" fmla="*/ 100055 h 369595"/>
                <a:gd name="connsiteX14" fmla="*/ 16605 w 245667"/>
                <a:gd name="connsiteY14" fmla="*/ 47686 h 369595"/>
                <a:gd name="connsiteX15" fmla="*/ 59182 w 245667"/>
                <a:gd name="connsiteY15" fmla="*/ 12347 h 369595"/>
                <a:gd name="connsiteX16" fmla="*/ 121770 w 245667"/>
                <a:gd name="connsiteY16" fmla="*/ 0 h 369595"/>
                <a:gd name="connsiteX17" fmla="*/ 205220 w 245667"/>
                <a:gd name="connsiteY17" fmla="*/ 25546 h 369595"/>
                <a:gd name="connsiteX18" fmla="*/ 241836 w 245667"/>
                <a:gd name="connsiteY18" fmla="*/ 92817 h 369595"/>
                <a:gd name="connsiteX19" fmla="*/ 189892 w 245667"/>
                <a:gd name="connsiteY19" fmla="*/ 92817 h 369595"/>
                <a:gd name="connsiteX20" fmla="*/ 168178 w 245667"/>
                <a:gd name="connsiteY20" fmla="*/ 56201 h 369595"/>
                <a:gd name="connsiteX21" fmla="*/ 117512 w 245667"/>
                <a:gd name="connsiteY21" fmla="*/ 40022 h 369595"/>
                <a:gd name="connsiteX22" fmla="*/ 68974 w 245667"/>
                <a:gd name="connsiteY22" fmla="*/ 55350 h 369595"/>
                <a:gd name="connsiteX23" fmla="*/ 50241 w 245667"/>
                <a:gd name="connsiteY23" fmla="*/ 97927 h 369595"/>
                <a:gd name="connsiteX24" fmla="*/ 61311 w 245667"/>
                <a:gd name="connsiteY24" fmla="*/ 130285 h 369595"/>
                <a:gd name="connsiteX25" fmla="*/ 88985 w 245667"/>
                <a:gd name="connsiteY25" fmla="*/ 149444 h 369595"/>
                <a:gd name="connsiteX26" fmla="*/ 134968 w 245667"/>
                <a:gd name="connsiteY26" fmla="*/ 164346 h 369595"/>
                <a:gd name="connsiteX27" fmla="*/ 192447 w 245667"/>
                <a:gd name="connsiteY27" fmla="*/ 183932 h 369595"/>
                <a:gd name="connsiteX28" fmla="*/ 229915 w 245667"/>
                <a:gd name="connsiteY28" fmla="*/ 213310 h 369595"/>
                <a:gd name="connsiteX29" fmla="*/ 245668 w 245667"/>
                <a:gd name="connsiteY29" fmla="*/ 267382 h 369595"/>
                <a:gd name="connsiteX30" fmla="*/ 231618 w 245667"/>
                <a:gd name="connsiteY30" fmla="*/ 317197 h 369595"/>
                <a:gd name="connsiteX31" fmla="*/ 189892 w 245667"/>
                <a:gd name="connsiteY31" fmla="*/ 355090 h 369595"/>
                <a:gd name="connsiteX32" fmla="*/ 124750 w 245667"/>
                <a:gd name="connsiteY32" fmla="*/ 369566 h 369595"/>
                <a:gd name="connsiteX33" fmla="*/ 61311 w 245667"/>
                <a:gd name="connsiteY33" fmla="*/ 357645 h 369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45667" h="369595">
                  <a:moveTo>
                    <a:pt x="61311" y="357645"/>
                  </a:moveTo>
                  <a:cubicBezTo>
                    <a:pt x="42577" y="349129"/>
                    <a:pt x="27675" y="337634"/>
                    <a:pt x="16605" y="322306"/>
                  </a:cubicBezTo>
                  <a:cubicBezTo>
                    <a:pt x="5961" y="307404"/>
                    <a:pt x="426" y="289948"/>
                    <a:pt x="0" y="269937"/>
                  </a:cubicBezTo>
                  <a:lnTo>
                    <a:pt x="50241" y="269937"/>
                  </a:lnTo>
                  <a:cubicBezTo>
                    <a:pt x="51944" y="286967"/>
                    <a:pt x="58756" y="301443"/>
                    <a:pt x="71103" y="312513"/>
                  </a:cubicBezTo>
                  <a:cubicBezTo>
                    <a:pt x="83450" y="323583"/>
                    <a:pt x="101333" y="329970"/>
                    <a:pt x="124750" y="329970"/>
                  </a:cubicBezTo>
                  <a:cubicBezTo>
                    <a:pt x="148167" y="329970"/>
                    <a:pt x="165198" y="324435"/>
                    <a:pt x="177971" y="312939"/>
                  </a:cubicBezTo>
                  <a:cubicBezTo>
                    <a:pt x="190744" y="301869"/>
                    <a:pt x="197556" y="287393"/>
                    <a:pt x="197556" y="269511"/>
                  </a:cubicBezTo>
                  <a:cubicBezTo>
                    <a:pt x="197556" y="255461"/>
                    <a:pt x="193724" y="244391"/>
                    <a:pt x="186061" y="235875"/>
                  </a:cubicBezTo>
                  <a:cubicBezTo>
                    <a:pt x="178397" y="227360"/>
                    <a:pt x="169030" y="220548"/>
                    <a:pt x="157534" y="216290"/>
                  </a:cubicBezTo>
                  <a:cubicBezTo>
                    <a:pt x="146038" y="211607"/>
                    <a:pt x="130711" y="206923"/>
                    <a:pt x="111125" y="201814"/>
                  </a:cubicBezTo>
                  <a:cubicBezTo>
                    <a:pt x="87282" y="195427"/>
                    <a:pt x="68123" y="189467"/>
                    <a:pt x="53647" y="183080"/>
                  </a:cubicBezTo>
                  <a:cubicBezTo>
                    <a:pt x="39171" y="176694"/>
                    <a:pt x="26823" y="166901"/>
                    <a:pt x="17031" y="153702"/>
                  </a:cubicBezTo>
                  <a:cubicBezTo>
                    <a:pt x="6812" y="140503"/>
                    <a:pt x="1703" y="122195"/>
                    <a:pt x="1703" y="100055"/>
                  </a:cubicBezTo>
                  <a:cubicBezTo>
                    <a:pt x="1703" y="80470"/>
                    <a:pt x="6387" y="63014"/>
                    <a:pt x="16605" y="47686"/>
                  </a:cubicBezTo>
                  <a:cubicBezTo>
                    <a:pt x="26823" y="32358"/>
                    <a:pt x="40874" y="20437"/>
                    <a:pt x="59182" y="12347"/>
                  </a:cubicBezTo>
                  <a:cubicBezTo>
                    <a:pt x="77064" y="3832"/>
                    <a:pt x="97927" y="0"/>
                    <a:pt x="121770" y="0"/>
                  </a:cubicBezTo>
                  <a:cubicBezTo>
                    <a:pt x="155831" y="0"/>
                    <a:pt x="183506" y="8515"/>
                    <a:pt x="205220" y="25546"/>
                  </a:cubicBezTo>
                  <a:cubicBezTo>
                    <a:pt x="226934" y="42577"/>
                    <a:pt x="238856" y="65142"/>
                    <a:pt x="241836" y="92817"/>
                  </a:cubicBezTo>
                  <a:lnTo>
                    <a:pt x="189892" y="92817"/>
                  </a:lnTo>
                  <a:cubicBezTo>
                    <a:pt x="188189" y="78767"/>
                    <a:pt x="180951" y="66846"/>
                    <a:pt x="168178" y="56201"/>
                  </a:cubicBezTo>
                  <a:cubicBezTo>
                    <a:pt x="155405" y="45983"/>
                    <a:pt x="138374" y="40022"/>
                    <a:pt x="117512" y="40022"/>
                  </a:cubicBezTo>
                  <a:cubicBezTo>
                    <a:pt x="96649" y="40022"/>
                    <a:pt x="81747" y="45131"/>
                    <a:pt x="68974" y="55350"/>
                  </a:cubicBezTo>
                  <a:cubicBezTo>
                    <a:pt x="56201" y="65568"/>
                    <a:pt x="50241" y="79619"/>
                    <a:pt x="50241" y="97927"/>
                  </a:cubicBezTo>
                  <a:cubicBezTo>
                    <a:pt x="50241" y="111125"/>
                    <a:pt x="54073" y="121770"/>
                    <a:pt x="61311" y="130285"/>
                  </a:cubicBezTo>
                  <a:cubicBezTo>
                    <a:pt x="68549" y="138800"/>
                    <a:pt x="77915" y="144761"/>
                    <a:pt x="88985" y="149444"/>
                  </a:cubicBezTo>
                  <a:cubicBezTo>
                    <a:pt x="99630" y="153702"/>
                    <a:pt x="115383" y="158811"/>
                    <a:pt x="134968" y="164346"/>
                  </a:cubicBezTo>
                  <a:cubicBezTo>
                    <a:pt x="158811" y="171159"/>
                    <a:pt x="177971" y="177545"/>
                    <a:pt x="192447" y="183932"/>
                  </a:cubicBezTo>
                  <a:cubicBezTo>
                    <a:pt x="206923" y="190318"/>
                    <a:pt x="219696" y="200111"/>
                    <a:pt x="229915" y="213310"/>
                  </a:cubicBezTo>
                  <a:cubicBezTo>
                    <a:pt x="240133" y="226508"/>
                    <a:pt x="245668" y="244816"/>
                    <a:pt x="245668" y="267382"/>
                  </a:cubicBezTo>
                  <a:cubicBezTo>
                    <a:pt x="245668" y="285264"/>
                    <a:pt x="240985" y="301869"/>
                    <a:pt x="231618" y="317197"/>
                  </a:cubicBezTo>
                  <a:cubicBezTo>
                    <a:pt x="222251" y="332950"/>
                    <a:pt x="208200" y="345297"/>
                    <a:pt x="189892" y="355090"/>
                  </a:cubicBezTo>
                  <a:cubicBezTo>
                    <a:pt x="171584" y="364883"/>
                    <a:pt x="149870" y="369566"/>
                    <a:pt x="124750" y="369566"/>
                  </a:cubicBezTo>
                  <a:cubicBezTo>
                    <a:pt x="100055" y="369992"/>
                    <a:pt x="79619" y="365734"/>
                    <a:pt x="61311" y="357645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8" name="Freeform: Shape 50">
              <a:extLst>
                <a:ext uri="{FF2B5EF4-FFF2-40B4-BE49-F238E27FC236}">
                  <a16:creationId xmlns:a16="http://schemas.microsoft.com/office/drawing/2014/main" id="{5F4D55E2-4A26-1ADD-0052-E6D6675CDAE7}"/>
                </a:ext>
              </a:extLst>
            </p:cNvPr>
            <p:cNvSpPr/>
            <p:nvPr/>
          </p:nvSpPr>
          <p:spPr>
            <a:xfrm>
              <a:off x="8318074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8 w 284838"/>
                <a:gd name="connsiteY8" fmla="*/ 362754 h 362753"/>
                <a:gd name="connsiteX9" fmla="*/ 284838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8" y="362754"/>
                  </a:lnTo>
                  <a:lnTo>
                    <a:pt x="284838" y="0"/>
                  </a:lnTo>
                  <a:close/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9" name="Freeform: Shape 51">
              <a:extLst>
                <a:ext uri="{FF2B5EF4-FFF2-40B4-BE49-F238E27FC236}">
                  <a16:creationId xmlns:a16="http://schemas.microsoft.com/office/drawing/2014/main" id="{FFAD72F5-8087-39B1-1B14-68DC217D0B5D}"/>
                </a:ext>
              </a:extLst>
            </p:cNvPr>
            <p:cNvSpPr/>
            <p:nvPr/>
          </p:nvSpPr>
          <p:spPr>
            <a:xfrm>
              <a:off x="6372742" y="4398399"/>
              <a:ext cx="363605" cy="369140"/>
            </a:xfrm>
            <a:custGeom>
              <a:avLst/>
              <a:gdLst>
                <a:gd name="connsiteX0" fmla="*/ 89837 w 363605"/>
                <a:gd name="connsiteY0" fmla="*/ 346575 h 369140"/>
                <a:gd name="connsiteX1" fmla="*/ 24269 w 363605"/>
                <a:gd name="connsiteY1" fmla="*/ 280581 h 369140"/>
                <a:gd name="connsiteX2" fmla="*/ 0 w 363605"/>
                <a:gd name="connsiteY2" fmla="*/ 185209 h 369140"/>
                <a:gd name="connsiteX3" fmla="*/ 24269 w 363605"/>
                <a:gd name="connsiteY3" fmla="*/ 89837 h 369140"/>
                <a:gd name="connsiteX4" fmla="*/ 89837 w 363605"/>
                <a:gd name="connsiteY4" fmla="*/ 23843 h 369140"/>
                <a:gd name="connsiteX5" fmla="*/ 181803 w 363605"/>
                <a:gd name="connsiteY5" fmla="*/ 0 h 369140"/>
                <a:gd name="connsiteX6" fmla="*/ 274194 w 363605"/>
                <a:gd name="connsiteY6" fmla="*/ 23843 h 369140"/>
                <a:gd name="connsiteX7" fmla="*/ 339763 w 363605"/>
                <a:gd name="connsiteY7" fmla="*/ 89411 h 369140"/>
                <a:gd name="connsiteX8" fmla="*/ 363606 w 363605"/>
                <a:gd name="connsiteY8" fmla="*/ 184783 h 369140"/>
                <a:gd name="connsiteX9" fmla="*/ 339763 w 363605"/>
                <a:gd name="connsiteY9" fmla="*/ 280155 h 369140"/>
                <a:gd name="connsiteX10" fmla="*/ 274194 w 363605"/>
                <a:gd name="connsiteY10" fmla="*/ 345723 h 369140"/>
                <a:gd name="connsiteX11" fmla="*/ 181803 w 363605"/>
                <a:gd name="connsiteY11" fmla="*/ 369140 h 369140"/>
                <a:gd name="connsiteX12" fmla="*/ 89837 w 363605"/>
                <a:gd name="connsiteY12" fmla="*/ 346575 h 369140"/>
                <a:gd name="connsiteX13" fmla="*/ 249926 w 363605"/>
                <a:gd name="connsiteY13" fmla="*/ 311236 h 369140"/>
                <a:gd name="connsiteX14" fmla="*/ 297612 w 363605"/>
                <a:gd name="connsiteY14" fmla="*/ 260995 h 369140"/>
                <a:gd name="connsiteX15" fmla="*/ 315068 w 363605"/>
                <a:gd name="connsiteY15" fmla="*/ 185209 h 369140"/>
                <a:gd name="connsiteX16" fmla="*/ 297612 w 363605"/>
                <a:gd name="connsiteY16" fmla="*/ 108997 h 369140"/>
                <a:gd name="connsiteX17" fmla="*/ 249926 w 363605"/>
                <a:gd name="connsiteY17" fmla="*/ 58756 h 369140"/>
                <a:gd name="connsiteX18" fmla="*/ 181377 w 363605"/>
                <a:gd name="connsiteY18" fmla="*/ 40874 h 369140"/>
                <a:gd name="connsiteX19" fmla="*/ 112828 w 363605"/>
                <a:gd name="connsiteY19" fmla="*/ 58756 h 369140"/>
                <a:gd name="connsiteX20" fmla="*/ 65142 w 363605"/>
                <a:gd name="connsiteY20" fmla="*/ 108997 h 369140"/>
                <a:gd name="connsiteX21" fmla="*/ 47686 w 363605"/>
                <a:gd name="connsiteY21" fmla="*/ 185209 h 369140"/>
                <a:gd name="connsiteX22" fmla="*/ 65142 w 363605"/>
                <a:gd name="connsiteY22" fmla="*/ 260995 h 369140"/>
                <a:gd name="connsiteX23" fmla="*/ 112828 w 363605"/>
                <a:gd name="connsiteY23" fmla="*/ 311236 h 369140"/>
                <a:gd name="connsiteX24" fmla="*/ 180951 w 363605"/>
                <a:gd name="connsiteY24" fmla="*/ 329118 h 369140"/>
                <a:gd name="connsiteX25" fmla="*/ 249926 w 363605"/>
                <a:gd name="connsiteY25" fmla="*/ 311236 h 369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3605" h="369140">
                  <a:moveTo>
                    <a:pt x="89837" y="346575"/>
                  </a:moveTo>
                  <a:cubicBezTo>
                    <a:pt x="62162" y="330821"/>
                    <a:pt x="40022" y="308681"/>
                    <a:pt x="24269" y="280581"/>
                  </a:cubicBezTo>
                  <a:cubicBezTo>
                    <a:pt x="8090" y="252480"/>
                    <a:pt x="0" y="220548"/>
                    <a:pt x="0" y="185209"/>
                  </a:cubicBezTo>
                  <a:cubicBezTo>
                    <a:pt x="0" y="149870"/>
                    <a:pt x="8090" y="117938"/>
                    <a:pt x="24269" y="89837"/>
                  </a:cubicBezTo>
                  <a:cubicBezTo>
                    <a:pt x="40448" y="61736"/>
                    <a:pt x="62162" y="39596"/>
                    <a:pt x="89837" y="23843"/>
                  </a:cubicBezTo>
                  <a:cubicBezTo>
                    <a:pt x="117512" y="8090"/>
                    <a:pt x="148167" y="0"/>
                    <a:pt x="181803" y="0"/>
                  </a:cubicBezTo>
                  <a:cubicBezTo>
                    <a:pt x="215438" y="0"/>
                    <a:pt x="246519" y="8090"/>
                    <a:pt x="274194" y="23843"/>
                  </a:cubicBezTo>
                  <a:cubicBezTo>
                    <a:pt x="301869" y="39596"/>
                    <a:pt x="323583" y="61311"/>
                    <a:pt x="339763" y="89411"/>
                  </a:cubicBezTo>
                  <a:cubicBezTo>
                    <a:pt x="355942" y="117512"/>
                    <a:pt x="363606" y="149444"/>
                    <a:pt x="363606" y="184783"/>
                  </a:cubicBezTo>
                  <a:cubicBezTo>
                    <a:pt x="363606" y="220122"/>
                    <a:pt x="355516" y="252054"/>
                    <a:pt x="339763" y="280155"/>
                  </a:cubicBezTo>
                  <a:cubicBezTo>
                    <a:pt x="324009" y="308256"/>
                    <a:pt x="301869" y="330396"/>
                    <a:pt x="274194" y="345723"/>
                  </a:cubicBezTo>
                  <a:cubicBezTo>
                    <a:pt x="246519" y="361477"/>
                    <a:pt x="215864" y="369140"/>
                    <a:pt x="181803" y="369140"/>
                  </a:cubicBezTo>
                  <a:cubicBezTo>
                    <a:pt x="147741" y="369140"/>
                    <a:pt x="117086" y="362328"/>
                    <a:pt x="89837" y="346575"/>
                  </a:cubicBezTo>
                  <a:moveTo>
                    <a:pt x="249926" y="311236"/>
                  </a:moveTo>
                  <a:cubicBezTo>
                    <a:pt x="269937" y="299315"/>
                    <a:pt x="286116" y="282710"/>
                    <a:pt x="297612" y="260995"/>
                  </a:cubicBezTo>
                  <a:cubicBezTo>
                    <a:pt x="309107" y="239281"/>
                    <a:pt x="315068" y="213735"/>
                    <a:pt x="315068" y="185209"/>
                  </a:cubicBezTo>
                  <a:cubicBezTo>
                    <a:pt x="315068" y="156682"/>
                    <a:pt x="309107" y="130711"/>
                    <a:pt x="297612" y="108997"/>
                  </a:cubicBezTo>
                  <a:cubicBezTo>
                    <a:pt x="286116" y="87282"/>
                    <a:pt x="270362" y="70677"/>
                    <a:pt x="249926" y="58756"/>
                  </a:cubicBezTo>
                  <a:cubicBezTo>
                    <a:pt x="229489" y="46834"/>
                    <a:pt x="206923" y="40874"/>
                    <a:pt x="181377" y="40874"/>
                  </a:cubicBezTo>
                  <a:cubicBezTo>
                    <a:pt x="155831" y="40874"/>
                    <a:pt x="132839" y="46834"/>
                    <a:pt x="112828" y="58756"/>
                  </a:cubicBezTo>
                  <a:cubicBezTo>
                    <a:pt x="92817" y="70677"/>
                    <a:pt x="77064" y="87282"/>
                    <a:pt x="65142" y="108997"/>
                  </a:cubicBezTo>
                  <a:cubicBezTo>
                    <a:pt x="53647" y="130711"/>
                    <a:pt x="47686" y="155831"/>
                    <a:pt x="47686" y="185209"/>
                  </a:cubicBezTo>
                  <a:cubicBezTo>
                    <a:pt x="47686" y="214587"/>
                    <a:pt x="53647" y="238856"/>
                    <a:pt x="65142" y="260995"/>
                  </a:cubicBezTo>
                  <a:cubicBezTo>
                    <a:pt x="76638" y="282710"/>
                    <a:pt x="92392" y="299740"/>
                    <a:pt x="112828" y="311236"/>
                  </a:cubicBezTo>
                  <a:cubicBezTo>
                    <a:pt x="132839" y="323158"/>
                    <a:pt x="155831" y="329118"/>
                    <a:pt x="180951" y="329118"/>
                  </a:cubicBezTo>
                  <a:cubicBezTo>
                    <a:pt x="206072" y="329118"/>
                    <a:pt x="229489" y="323158"/>
                    <a:pt x="249926" y="311236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52">
              <a:extLst>
                <a:ext uri="{FF2B5EF4-FFF2-40B4-BE49-F238E27FC236}">
                  <a16:creationId xmlns:a16="http://schemas.microsoft.com/office/drawing/2014/main" id="{55B1AED1-8CDA-5595-EC39-ECB12085047F}"/>
                </a:ext>
              </a:extLst>
            </p:cNvPr>
            <p:cNvSpPr/>
            <p:nvPr/>
          </p:nvSpPr>
          <p:spPr>
            <a:xfrm>
              <a:off x="5978481" y="4397973"/>
              <a:ext cx="348703" cy="369991"/>
            </a:xfrm>
            <a:custGeom>
              <a:avLst/>
              <a:gdLst>
                <a:gd name="connsiteX0" fmla="*/ 24269 w 348703"/>
                <a:gd name="connsiteY0" fmla="*/ 90263 h 369991"/>
                <a:gd name="connsiteX1" fmla="*/ 89411 w 348703"/>
                <a:gd name="connsiteY1" fmla="*/ 23843 h 369991"/>
                <a:gd name="connsiteX2" fmla="*/ 181377 w 348703"/>
                <a:gd name="connsiteY2" fmla="*/ 0 h 369991"/>
                <a:gd name="connsiteX3" fmla="*/ 284413 w 348703"/>
                <a:gd name="connsiteY3" fmla="*/ 28526 h 369991"/>
                <a:gd name="connsiteX4" fmla="*/ 348704 w 348703"/>
                <a:gd name="connsiteY4" fmla="*/ 109422 h 369991"/>
                <a:gd name="connsiteX5" fmla="*/ 292077 w 348703"/>
                <a:gd name="connsiteY5" fmla="*/ 109422 h 369991"/>
                <a:gd name="connsiteX6" fmla="*/ 248648 w 348703"/>
                <a:gd name="connsiteY6" fmla="*/ 59182 h 369991"/>
                <a:gd name="connsiteX7" fmla="*/ 180951 w 348703"/>
                <a:gd name="connsiteY7" fmla="*/ 41299 h 369991"/>
                <a:gd name="connsiteX8" fmla="*/ 112828 w 348703"/>
                <a:gd name="connsiteY8" fmla="*/ 59182 h 369991"/>
                <a:gd name="connsiteX9" fmla="*/ 65568 w 348703"/>
                <a:gd name="connsiteY9" fmla="*/ 109422 h 369991"/>
                <a:gd name="connsiteX10" fmla="*/ 48538 w 348703"/>
                <a:gd name="connsiteY10" fmla="*/ 185635 h 369991"/>
                <a:gd name="connsiteX11" fmla="*/ 65568 w 348703"/>
                <a:gd name="connsiteY11" fmla="*/ 260995 h 369991"/>
                <a:gd name="connsiteX12" fmla="*/ 112828 w 348703"/>
                <a:gd name="connsiteY12" fmla="*/ 311236 h 369991"/>
                <a:gd name="connsiteX13" fmla="*/ 180951 w 348703"/>
                <a:gd name="connsiteY13" fmla="*/ 329118 h 369991"/>
                <a:gd name="connsiteX14" fmla="*/ 248648 w 348703"/>
                <a:gd name="connsiteY14" fmla="*/ 311662 h 369991"/>
                <a:gd name="connsiteX15" fmla="*/ 292077 w 348703"/>
                <a:gd name="connsiteY15" fmla="*/ 261421 h 369991"/>
                <a:gd name="connsiteX16" fmla="*/ 348704 w 348703"/>
                <a:gd name="connsiteY16" fmla="*/ 261421 h 369991"/>
                <a:gd name="connsiteX17" fmla="*/ 284413 w 348703"/>
                <a:gd name="connsiteY17" fmla="*/ 341891 h 369991"/>
                <a:gd name="connsiteX18" fmla="*/ 181377 w 348703"/>
                <a:gd name="connsiteY18" fmla="*/ 369992 h 369991"/>
                <a:gd name="connsiteX19" fmla="*/ 89411 w 348703"/>
                <a:gd name="connsiteY19" fmla="*/ 346575 h 369991"/>
                <a:gd name="connsiteX20" fmla="*/ 23843 w 348703"/>
                <a:gd name="connsiteY20" fmla="*/ 281007 h 369991"/>
                <a:gd name="connsiteX21" fmla="*/ 0 w 348703"/>
                <a:gd name="connsiteY21" fmla="*/ 186060 h 369991"/>
                <a:gd name="connsiteX22" fmla="*/ 24269 w 348703"/>
                <a:gd name="connsiteY22" fmla="*/ 90263 h 36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8703" h="369991">
                  <a:moveTo>
                    <a:pt x="24269" y="90263"/>
                  </a:moveTo>
                  <a:cubicBezTo>
                    <a:pt x="40448" y="62162"/>
                    <a:pt x="61736" y="40022"/>
                    <a:pt x="89411" y="23843"/>
                  </a:cubicBezTo>
                  <a:cubicBezTo>
                    <a:pt x="117086" y="7664"/>
                    <a:pt x="147316" y="0"/>
                    <a:pt x="181377" y="0"/>
                  </a:cubicBezTo>
                  <a:cubicBezTo>
                    <a:pt x="220973" y="0"/>
                    <a:pt x="255461" y="9367"/>
                    <a:pt x="284413" y="28526"/>
                  </a:cubicBezTo>
                  <a:cubicBezTo>
                    <a:pt x="313791" y="47686"/>
                    <a:pt x="335079" y="74935"/>
                    <a:pt x="348704" y="109422"/>
                  </a:cubicBezTo>
                  <a:lnTo>
                    <a:pt x="292077" y="109422"/>
                  </a:lnTo>
                  <a:cubicBezTo>
                    <a:pt x="281858" y="87708"/>
                    <a:pt x="267808" y="70677"/>
                    <a:pt x="248648" y="59182"/>
                  </a:cubicBezTo>
                  <a:cubicBezTo>
                    <a:pt x="229915" y="47260"/>
                    <a:pt x="207349" y="41299"/>
                    <a:pt x="180951" y="41299"/>
                  </a:cubicBezTo>
                  <a:cubicBezTo>
                    <a:pt x="154554" y="41299"/>
                    <a:pt x="132839" y="47260"/>
                    <a:pt x="112828" y="59182"/>
                  </a:cubicBezTo>
                  <a:cubicBezTo>
                    <a:pt x="92817" y="71103"/>
                    <a:pt x="77064" y="87708"/>
                    <a:pt x="65568" y="109422"/>
                  </a:cubicBezTo>
                  <a:cubicBezTo>
                    <a:pt x="54072" y="131136"/>
                    <a:pt x="48538" y="156257"/>
                    <a:pt x="48538" y="185635"/>
                  </a:cubicBezTo>
                  <a:cubicBezTo>
                    <a:pt x="48538" y="215013"/>
                    <a:pt x="54072" y="239281"/>
                    <a:pt x="65568" y="260995"/>
                  </a:cubicBezTo>
                  <a:cubicBezTo>
                    <a:pt x="77064" y="282710"/>
                    <a:pt x="92817" y="299315"/>
                    <a:pt x="112828" y="311236"/>
                  </a:cubicBezTo>
                  <a:cubicBezTo>
                    <a:pt x="132839" y="323158"/>
                    <a:pt x="155405" y="329118"/>
                    <a:pt x="180951" y="329118"/>
                  </a:cubicBezTo>
                  <a:cubicBezTo>
                    <a:pt x="206497" y="329118"/>
                    <a:pt x="229915" y="323158"/>
                    <a:pt x="248648" y="311662"/>
                  </a:cubicBezTo>
                  <a:cubicBezTo>
                    <a:pt x="267382" y="300166"/>
                    <a:pt x="281858" y="283561"/>
                    <a:pt x="292077" y="261421"/>
                  </a:cubicBezTo>
                  <a:lnTo>
                    <a:pt x="348704" y="261421"/>
                  </a:lnTo>
                  <a:cubicBezTo>
                    <a:pt x="335079" y="296334"/>
                    <a:pt x="313791" y="323158"/>
                    <a:pt x="284413" y="341891"/>
                  </a:cubicBezTo>
                  <a:cubicBezTo>
                    <a:pt x="255035" y="360625"/>
                    <a:pt x="220548" y="369992"/>
                    <a:pt x="181377" y="369992"/>
                  </a:cubicBezTo>
                  <a:cubicBezTo>
                    <a:pt x="147741" y="369992"/>
                    <a:pt x="117086" y="361902"/>
                    <a:pt x="89411" y="346575"/>
                  </a:cubicBezTo>
                  <a:cubicBezTo>
                    <a:pt x="62162" y="330821"/>
                    <a:pt x="40022" y="309107"/>
                    <a:pt x="23843" y="281007"/>
                  </a:cubicBezTo>
                  <a:cubicBezTo>
                    <a:pt x="7664" y="252906"/>
                    <a:pt x="0" y="221399"/>
                    <a:pt x="0" y="186060"/>
                  </a:cubicBezTo>
                  <a:cubicBezTo>
                    <a:pt x="0" y="150722"/>
                    <a:pt x="8090" y="118363"/>
                    <a:pt x="24269" y="90263"/>
                  </a:cubicBezTo>
                </a:path>
              </a:pathLst>
            </a:custGeom>
            <a:grpFill/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888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5836744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9BEAEAC-F5F5-4842-8633-7078A0655EE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>
              <a:latin typeface="Poppins" panose="00000500000000000000" pitchFamily="2" charset="0"/>
              <a:ea typeface="+mj-ea"/>
              <a:cs typeface="Poppins" panose="00000500000000000000" pitchFamily="2" charset="0"/>
              <a:sym typeface="Segoe UI Semibold" panose="020B0702040204020203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51385" y="1340768"/>
            <a:ext cx="11088000" cy="288000"/>
          </a:xfrm>
          <a:prstGeom prst="rect">
            <a:avLst/>
          </a:prstGeom>
          <a:noFill/>
        </p:spPr>
        <p:txBody>
          <a:bodyPr vert="horz" wrap="square" lIns="0" tIns="0" rIns="0" bIns="97200" rtlCol="0" anchor="b">
            <a:noAutofit/>
          </a:bodyPr>
          <a:lstStyle>
            <a:lvl1pPr>
              <a:defRPr lang="en-US" sz="1400" cap="all" baseline="0" dirty="0"/>
            </a:lvl1pPr>
          </a:lstStyle>
          <a:p>
            <a:pPr lvl="0"/>
            <a:r>
              <a:rPr lang="en-US" dirty="0"/>
              <a:t>SUBTITLE - max one line!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EC188EAD-6A6B-460B-A8B2-F7D90C758E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ource/Note: 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A2FE8CB-0A45-48C0-96BC-DB010C880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Add action title</a:t>
            </a:r>
            <a:br>
              <a:rPr lang="en-US" dirty="0"/>
            </a:br>
            <a:r>
              <a:rPr lang="en-US" dirty="0"/>
              <a:t>max. two lines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FC6A8A21-09ED-4E31-85CF-3B8ECEE88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+mn-lt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 </a:t>
            </a:r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Inhaltsplatzhalter 6">
            <a:extLst>
              <a:ext uri="{FF2B5EF4-FFF2-40B4-BE49-F238E27FC236}">
                <a16:creationId xmlns:a16="http://schemas.microsoft.com/office/drawing/2014/main" id="{66098545-A638-22BE-3E61-7DE1D89D198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0863" y="1700212"/>
            <a:ext cx="11088000" cy="4608513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content</a:t>
            </a:r>
          </a:p>
          <a:p>
            <a:pPr marL="216000" lvl="1" indent="-216000">
              <a:buClr>
                <a:schemeClr val="accent2"/>
              </a:buClr>
              <a:buFont typeface="FEV" panose="02000509000000000000" pitchFamily="49" charset="0"/>
            </a:pPr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0451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:v="urn:schemas-microsoft-com:vml" xmlns:a16="http://schemas.microsoft.com/office/drawing/2014/main"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V_Consulting_Reference_sanit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6239256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1F7B2A5A-6D68-D78B-DEC8-A3A83B951640}"/>
              </a:ext>
            </a:extLst>
          </p:cNvPr>
          <p:cNvSpPr/>
          <p:nvPr userDrawn="1"/>
        </p:nvSpPr>
        <p:spPr>
          <a:xfrm>
            <a:off x="8511674" y="0"/>
            <a:ext cx="3680325" cy="687424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 w="6350">
            <a:noFill/>
          </a:ln>
        </p:spPr>
        <p:txBody>
          <a:bodyPr rtlCol="0" anchor="ctr"/>
          <a:lstStyle/>
          <a:p>
            <a:pPr lvl="0" algn="ctr"/>
            <a:endParaRPr lang="de-DE" dirty="0"/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6F9783ED-2C7F-8F19-D0FC-CC0342E6E71F}"/>
              </a:ext>
            </a:extLst>
          </p:cNvPr>
          <p:cNvSpPr/>
          <p:nvPr/>
        </p:nvSpPr>
        <p:spPr>
          <a:xfrm>
            <a:off x="8511675" y="0"/>
            <a:ext cx="3680325" cy="6874241"/>
          </a:xfrm>
          <a:custGeom>
            <a:avLst/>
            <a:gdLst>
              <a:gd name="connsiteX0" fmla="*/ 696570 w 3680325"/>
              <a:gd name="connsiteY0" fmla="*/ 0 h 6874241"/>
              <a:gd name="connsiteX1" fmla="*/ 1037894 w 3680325"/>
              <a:gd name="connsiteY1" fmla="*/ 140804 h 6874241"/>
              <a:gd name="connsiteX2" fmla="*/ 2678638 w 3680325"/>
              <a:gd name="connsiteY2" fmla="*/ 1781549 h 6874241"/>
              <a:gd name="connsiteX3" fmla="*/ 3680325 w 3680325"/>
              <a:gd name="connsiteY3" fmla="*/ 2783199 h 6874241"/>
              <a:gd name="connsiteX4" fmla="*/ 3680325 w 3680325"/>
              <a:gd name="connsiteY4" fmla="*/ 4743921 h 6874241"/>
              <a:gd name="connsiteX5" fmla="*/ 2678638 w 3680325"/>
              <a:gd name="connsiteY5" fmla="*/ 5745573 h 6874241"/>
              <a:gd name="connsiteX6" fmla="*/ 1549970 w 3680325"/>
              <a:gd name="connsiteY6" fmla="*/ 6874241 h 6874241"/>
              <a:gd name="connsiteX7" fmla="*/ 0 w 3680325"/>
              <a:gd name="connsiteY7" fmla="*/ 6874241 h 6874241"/>
              <a:gd name="connsiteX8" fmla="*/ 0 w 3680325"/>
              <a:gd name="connsiteY8" fmla="*/ 4460130 h 6874241"/>
              <a:gd name="connsiteX9" fmla="*/ 469012 w 3680325"/>
              <a:gd name="connsiteY9" fmla="*/ 3991118 h 6874241"/>
              <a:gd name="connsiteX10" fmla="*/ 469012 w 3680325"/>
              <a:gd name="connsiteY10" fmla="*/ 3536001 h 6874241"/>
              <a:gd name="connsiteX11" fmla="*/ 0 w 3680325"/>
              <a:gd name="connsiteY11" fmla="*/ 3066989 h 6874241"/>
              <a:gd name="connsiteX12" fmla="*/ 0 w 3680325"/>
              <a:gd name="connsiteY12" fmla="*/ 496050 h 6874241"/>
              <a:gd name="connsiteX13" fmla="*/ 355246 w 3680325"/>
              <a:gd name="connsiteY13" fmla="*/ 140804 h 6874241"/>
              <a:gd name="connsiteX14" fmla="*/ 696570 w 3680325"/>
              <a:gd name="connsiteY14" fmla="*/ 0 h 687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80325" h="6874241">
                <a:moveTo>
                  <a:pt x="696570" y="0"/>
                </a:moveTo>
                <a:cubicBezTo>
                  <a:pt x="820297" y="0"/>
                  <a:pt x="944025" y="46935"/>
                  <a:pt x="1037894" y="140804"/>
                </a:cubicBezTo>
                <a:lnTo>
                  <a:pt x="2678638" y="1781549"/>
                </a:lnTo>
                <a:lnTo>
                  <a:pt x="3680325" y="2783199"/>
                </a:lnTo>
                <a:lnTo>
                  <a:pt x="3680325" y="4743921"/>
                </a:lnTo>
                <a:lnTo>
                  <a:pt x="2678638" y="5745573"/>
                </a:lnTo>
                <a:lnTo>
                  <a:pt x="1549970" y="6874241"/>
                </a:lnTo>
                <a:lnTo>
                  <a:pt x="0" y="6874241"/>
                </a:lnTo>
                <a:lnTo>
                  <a:pt x="0" y="4460130"/>
                </a:lnTo>
                <a:lnTo>
                  <a:pt x="469012" y="3991118"/>
                </a:lnTo>
                <a:cubicBezTo>
                  <a:pt x="594169" y="3865960"/>
                  <a:pt x="594169" y="3661162"/>
                  <a:pt x="469012" y="3536001"/>
                </a:cubicBezTo>
                <a:lnTo>
                  <a:pt x="0" y="3066989"/>
                </a:lnTo>
                <a:lnTo>
                  <a:pt x="0" y="496050"/>
                </a:lnTo>
                <a:lnTo>
                  <a:pt x="355246" y="140804"/>
                </a:lnTo>
                <a:cubicBezTo>
                  <a:pt x="449116" y="46935"/>
                  <a:pt x="572843" y="0"/>
                  <a:pt x="69657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 w="6350">
            <a:noFill/>
          </a:ln>
        </p:spPr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0679078-84A7-42A0-B49C-C1B2B04859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>
              <a:latin typeface="Poppins" panose="00000500000000000000" pitchFamily="2" charset="0"/>
              <a:ea typeface="+mj-ea"/>
              <a:cs typeface="Poppins" panose="00000500000000000000" pitchFamily="2" charset="0"/>
              <a:sym typeface="Segoe UI Semibold" panose="020B0702040204020203" pitchFamily="34" charset="0"/>
            </a:endParaRP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 marL="0" indent="0">
              <a:spcBef>
                <a:spcPts val="0"/>
              </a:spcBef>
              <a:defRPr sz="800">
                <a:solidFill>
                  <a:schemeClr val="accent2"/>
                </a:solidFill>
                <a:latin typeface="+mn-lt"/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>
              <a:defRPr sz="1067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</a:lstStyle>
          <a:p>
            <a:pPr lvl="0"/>
            <a:r>
              <a:rPr lang="en-US"/>
              <a:t>Source/Note: 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16893A9-8A8C-49AC-B2FA-A71BCEA943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881998"/>
            <a:ext cx="11088542" cy="288001"/>
          </a:xfrm>
        </p:spPr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Industry/OEM/Tier e.g. European Tier1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B4221156-3988-4853-B946-82EF82D12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+mn-lt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657E1E6F-DFE5-672D-20BA-71510B2BCB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2601391"/>
            <a:ext cx="4994276" cy="32983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00"/>
              </a:spcBef>
              <a:defRPr lang="en-US" sz="1100" dirty="0"/>
            </a:lvl1pPr>
            <a:lvl2pPr>
              <a:spcBef>
                <a:spcPts val="700"/>
              </a:spcBef>
              <a:defRPr lang="en-US" sz="1100" dirty="0"/>
            </a:lvl2pPr>
            <a:lvl3pPr>
              <a:spcBef>
                <a:spcPts val="700"/>
              </a:spcBef>
              <a:defRPr lang="en-US" sz="1050" dirty="0"/>
            </a:lvl3pPr>
            <a:lvl4pPr>
              <a:spcBef>
                <a:spcPts val="700"/>
              </a:spcBef>
              <a:defRPr lang="en-US" sz="1050" dirty="0"/>
            </a:lvl4pPr>
            <a:lvl5pPr>
              <a:spcBef>
                <a:spcPts val="700"/>
              </a:spcBef>
              <a:defRPr lang="en-US" sz="1050" dirty="0"/>
            </a:lvl5pPr>
          </a:lstStyle>
          <a:p>
            <a:pPr marL="216000" lvl="1" indent="-216000"/>
            <a:r>
              <a:rPr lang="en-US"/>
              <a:t>First level</a:t>
            </a:r>
          </a:p>
          <a:p>
            <a:pPr marL="432000" lvl="2" indent="-216000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BC227CD-7224-0B55-06C6-2D55F9068AEE}"/>
              </a:ext>
            </a:extLst>
          </p:cNvPr>
          <p:cNvSpPr txBox="1"/>
          <p:nvPr userDrawn="1"/>
        </p:nvSpPr>
        <p:spPr>
          <a:xfrm>
            <a:off x="549691" y="2299347"/>
            <a:ext cx="4465017" cy="307777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lvl="0"/>
            <a:r>
              <a:rPr lang="en-US" sz="1400" b="1" noProof="0">
                <a:solidFill>
                  <a:schemeClr val="tx1"/>
                </a:solidFill>
              </a:rPr>
              <a:t>FEV involvemen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7CC5678-FEB7-E091-8BB9-FAD544D118A2}"/>
              </a:ext>
            </a:extLst>
          </p:cNvPr>
          <p:cNvSpPr txBox="1"/>
          <p:nvPr userDrawn="1"/>
        </p:nvSpPr>
        <p:spPr>
          <a:xfrm>
            <a:off x="550863" y="508610"/>
            <a:ext cx="6583680" cy="40011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000" b="1" dirty="0">
                <a:solidFill>
                  <a:schemeClr val="tx2"/>
                </a:solidFill>
                <a:latin typeface="+mj-lt"/>
              </a:rPr>
              <a:t>Sanitized reference project FEV Consulting</a:t>
            </a:r>
            <a:endParaRPr lang="de-DE" sz="20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0" name="Textplatzhalter 38">
            <a:extLst>
              <a:ext uri="{FF2B5EF4-FFF2-40B4-BE49-F238E27FC236}">
                <a16:creationId xmlns:a16="http://schemas.microsoft.com/office/drawing/2014/main" id="{5D024B01-A353-3768-2AD4-EBF05EA831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58238" y="1711786"/>
            <a:ext cx="4986902" cy="601662"/>
          </a:xfrm>
        </p:spPr>
        <p:txBody>
          <a:bodyPr/>
          <a:lstStyle>
            <a:lvl1pPr>
              <a:defRPr sz="1100" b="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/>
              <a:t>Background: </a:t>
            </a:r>
            <a:r>
              <a:rPr lang="de-DE" err="1"/>
              <a:t>Provide</a:t>
            </a:r>
            <a:r>
              <a:rPr lang="de-DE"/>
              <a:t> a </a:t>
            </a:r>
            <a:r>
              <a:rPr lang="de-DE" err="1"/>
              <a:t>concise</a:t>
            </a:r>
            <a:r>
              <a:rPr lang="de-DE"/>
              <a:t> </a:t>
            </a:r>
            <a:r>
              <a:rPr lang="de-DE" err="1"/>
              <a:t>description</a:t>
            </a:r>
            <a:r>
              <a:rPr lang="de-DE"/>
              <a:t>, </a:t>
            </a:r>
            <a:r>
              <a:rPr lang="de-DE" err="1"/>
              <a:t>up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three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, </a:t>
            </a:r>
            <a:r>
              <a:rPr lang="de-DE" err="1"/>
              <a:t>outlin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motivation</a:t>
            </a:r>
            <a:r>
              <a:rPr lang="de-DE"/>
              <a:t>, </a:t>
            </a:r>
            <a:r>
              <a:rPr lang="de-DE" err="1"/>
              <a:t>background</a:t>
            </a:r>
            <a:r>
              <a:rPr lang="de-DE"/>
              <a:t>, and </a:t>
            </a:r>
            <a:r>
              <a:rPr lang="de-DE" err="1"/>
              <a:t>objective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project</a:t>
            </a:r>
            <a:r>
              <a:rPr lang="de-DE"/>
              <a:t>.</a:t>
            </a:r>
            <a:endParaRPr lang="en-US"/>
          </a:p>
        </p:txBody>
      </p:sp>
      <p:sp>
        <p:nvSpPr>
          <p:cNvPr id="21" name="Bildplatzhalter 21">
            <a:extLst>
              <a:ext uri="{FF2B5EF4-FFF2-40B4-BE49-F238E27FC236}">
                <a16:creationId xmlns:a16="http://schemas.microsoft.com/office/drawing/2014/main" id="{4EA57325-F06D-AB01-9A55-4F2F01DF7406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096000" y="1700213"/>
            <a:ext cx="5545138" cy="4198937"/>
          </a:xfrm>
          <a:prstGeom prst="roundRect">
            <a:avLst>
              <a:gd name="adj" fmla="val 2793"/>
            </a:avLst>
          </a:pr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Image</a:t>
            </a: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4FB7BF52-5BF6-96A4-5F01-E89309D243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38508" y="840326"/>
            <a:ext cx="702000" cy="267011"/>
            <a:chOff x="5975501" y="3608175"/>
            <a:chExt cx="3050378" cy="1160231"/>
          </a:xfrm>
        </p:grpSpPr>
        <p:sp>
          <p:nvSpPr>
            <p:cNvPr id="14" name="Freeform: Shape 40">
              <a:extLst>
                <a:ext uri="{FF2B5EF4-FFF2-40B4-BE49-F238E27FC236}">
                  <a16:creationId xmlns:a16="http://schemas.microsoft.com/office/drawing/2014/main" id="{C2980BCB-ABF5-C137-51BC-2E2C6092783D}"/>
                </a:ext>
              </a:extLst>
            </p:cNvPr>
            <p:cNvSpPr/>
            <p:nvPr/>
          </p:nvSpPr>
          <p:spPr>
            <a:xfrm>
              <a:off x="7098250" y="3614987"/>
              <a:ext cx="608847" cy="620768"/>
            </a:xfrm>
            <a:custGeom>
              <a:avLst/>
              <a:gdLst>
                <a:gd name="connsiteX0" fmla="*/ 369141 w 608847"/>
                <a:gd name="connsiteY0" fmla="*/ 620769 h 620768"/>
                <a:gd name="connsiteX1" fmla="*/ 608848 w 608847"/>
                <a:gd name="connsiteY1" fmla="*/ 0 h 620768"/>
                <a:gd name="connsiteX2" fmla="*/ 485375 w 608847"/>
                <a:gd name="connsiteY2" fmla="*/ 0 h 620768"/>
                <a:gd name="connsiteX3" fmla="*/ 304424 w 608847"/>
                <a:gd name="connsiteY3" fmla="*/ 467493 h 620768"/>
                <a:gd name="connsiteX4" fmla="*/ 123473 w 608847"/>
                <a:gd name="connsiteY4" fmla="*/ 0 h 620768"/>
                <a:gd name="connsiteX5" fmla="*/ 0 w 608847"/>
                <a:gd name="connsiteY5" fmla="*/ 0 h 620768"/>
                <a:gd name="connsiteX6" fmla="*/ 240133 w 608847"/>
                <a:gd name="connsiteY6" fmla="*/ 620769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8847" h="620768">
                  <a:moveTo>
                    <a:pt x="369141" y="620769"/>
                  </a:moveTo>
                  <a:lnTo>
                    <a:pt x="608848" y="0"/>
                  </a:lnTo>
                  <a:lnTo>
                    <a:pt x="485375" y="0"/>
                  </a:lnTo>
                  <a:lnTo>
                    <a:pt x="304424" y="467493"/>
                  </a:lnTo>
                  <a:lnTo>
                    <a:pt x="123473" y="0"/>
                  </a:lnTo>
                  <a:lnTo>
                    <a:pt x="0" y="0"/>
                  </a:lnTo>
                  <a:lnTo>
                    <a:pt x="240133" y="620769"/>
                  </a:lnTo>
                  <a:close/>
                </a:path>
              </a:pathLst>
            </a:custGeom>
            <a:solidFill>
              <a:srgbClr val="B9052D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41">
              <a:extLst>
                <a:ext uri="{FF2B5EF4-FFF2-40B4-BE49-F238E27FC236}">
                  <a16:creationId xmlns:a16="http://schemas.microsoft.com/office/drawing/2014/main" id="{81B8B865-C316-C7C9-2FA2-1D1D23A3EF6C}"/>
                </a:ext>
              </a:extLst>
            </p:cNvPr>
            <p:cNvSpPr/>
            <p:nvPr/>
          </p:nvSpPr>
          <p:spPr>
            <a:xfrm>
              <a:off x="5975501" y="3614987"/>
              <a:ext cx="505386" cy="620768"/>
            </a:xfrm>
            <a:custGeom>
              <a:avLst/>
              <a:gdLst>
                <a:gd name="connsiteX0" fmla="*/ 505386 w 505386"/>
                <a:gd name="connsiteY0" fmla="*/ 114957 h 620768"/>
                <a:gd name="connsiteX1" fmla="*/ 505386 w 505386"/>
                <a:gd name="connsiteY1" fmla="*/ 0 h 620768"/>
                <a:gd name="connsiteX2" fmla="*/ 144335 w 505386"/>
                <a:gd name="connsiteY2" fmla="*/ 0 h 620768"/>
                <a:gd name="connsiteX3" fmla="*/ 0 w 505386"/>
                <a:gd name="connsiteY3" fmla="*/ 144335 h 620768"/>
                <a:gd name="connsiteX4" fmla="*/ 0 w 505386"/>
                <a:gd name="connsiteY4" fmla="*/ 620769 h 620768"/>
                <a:gd name="connsiteX5" fmla="*/ 115809 w 505386"/>
                <a:gd name="connsiteY5" fmla="*/ 620769 h 620768"/>
                <a:gd name="connsiteX6" fmla="*/ 115809 w 505386"/>
                <a:gd name="connsiteY6" fmla="*/ 389577 h 620768"/>
                <a:gd name="connsiteX7" fmla="*/ 389577 w 505386"/>
                <a:gd name="connsiteY7" fmla="*/ 389577 h 620768"/>
                <a:gd name="connsiteX8" fmla="*/ 389577 w 505386"/>
                <a:gd name="connsiteY8" fmla="*/ 288670 h 620768"/>
                <a:gd name="connsiteX9" fmla="*/ 115383 w 505386"/>
                <a:gd name="connsiteY9" fmla="*/ 288670 h 620768"/>
                <a:gd name="connsiteX10" fmla="*/ 115383 w 505386"/>
                <a:gd name="connsiteY10" fmla="*/ 144335 h 620768"/>
                <a:gd name="connsiteX11" fmla="*/ 143909 w 505386"/>
                <a:gd name="connsiteY11" fmla="*/ 115809 h 620768"/>
                <a:gd name="connsiteX12" fmla="*/ 504960 w 505386"/>
                <a:gd name="connsiteY12" fmla="*/ 115809 h 620768"/>
                <a:gd name="connsiteX13" fmla="*/ 504960 w 505386"/>
                <a:gd name="connsiteY13" fmla="*/ 114957 h 620768"/>
                <a:gd name="connsiteX14" fmla="*/ 505386 w 505386"/>
                <a:gd name="connsiteY14" fmla="*/ 114957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5386" h="620768">
                  <a:moveTo>
                    <a:pt x="505386" y="114957"/>
                  </a:moveTo>
                  <a:lnTo>
                    <a:pt x="505386" y="0"/>
                  </a:lnTo>
                  <a:lnTo>
                    <a:pt x="144335" y="0"/>
                  </a:lnTo>
                  <a:cubicBezTo>
                    <a:pt x="64717" y="0"/>
                    <a:pt x="0" y="64717"/>
                    <a:pt x="0" y="144335"/>
                  </a:cubicBezTo>
                  <a:lnTo>
                    <a:pt x="0" y="620769"/>
                  </a:lnTo>
                  <a:lnTo>
                    <a:pt x="115809" y="620769"/>
                  </a:lnTo>
                  <a:lnTo>
                    <a:pt x="115809" y="389577"/>
                  </a:lnTo>
                  <a:lnTo>
                    <a:pt x="389577" y="389577"/>
                  </a:lnTo>
                  <a:lnTo>
                    <a:pt x="389577" y="288670"/>
                  </a:lnTo>
                  <a:lnTo>
                    <a:pt x="115383" y="288670"/>
                  </a:lnTo>
                  <a:lnTo>
                    <a:pt x="115383" y="144335"/>
                  </a:lnTo>
                  <a:cubicBezTo>
                    <a:pt x="115383" y="128582"/>
                    <a:pt x="128156" y="115809"/>
                    <a:pt x="143909" y="115809"/>
                  </a:cubicBezTo>
                  <a:lnTo>
                    <a:pt x="504960" y="115809"/>
                  </a:lnTo>
                  <a:lnTo>
                    <a:pt x="504960" y="114957"/>
                  </a:lnTo>
                  <a:lnTo>
                    <a:pt x="505386" y="114957"/>
                  </a:lnTo>
                  <a:close/>
                </a:path>
              </a:pathLst>
            </a:custGeom>
            <a:solidFill>
              <a:srgbClr val="B9052D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42">
              <a:extLst>
                <a:ext uri="{FF2B5EF4-FFF2-40B4-BE49-F238E27FC236}">
                  <a16:creationId xmlns:a16="http://schemas.microsoft.com/office/drawing/2014/main" id="{14CFED75-D1D6-42B6-56FE-57C7E3237552}"/>
                </a:ext>
              </a:extLst>
            </p:cNvPr>
            <p:cNvSpPr/>
            <p:nvPr/>
          </p:nvSpPr>
          <p:spPr>
            <a:xfrm>
              <a:off x="6487699" y="3608175"/>
              <a:ext cx="625452" cy="635245"/>
            </a:xfrm>
            <a:custGeom>
              <a:avLst/>
              <a:gdLst>
                <a:gd name="connsiteX0" fmla="*/ 503257 w 625452"/>
                <a:gd name="connsiteY0" fmla="*/ 395964 h 635245"/>
                <a:gd name="connsiteX1" fmla="*/ 317197 w 625452"/>
                <a:gd name="connsiteY1" fmla="*/ 518585 h 635245"/>
                <a:gd name="connsiteX2" fmla="*/ 172862 w 625452"/>
                <a:gd name="connsiteY2" fmla="*/ 458126 h 635245"/>
                <a:gd name="connsiteX3" fmla="*/ 512198 w 625452"/>
                <a:gd name="connsiteY3" fmla="*/ 262699 h 635245"/>
                <a:gd name="connsiteX4" fmla="*/ 614383 w 625452"/>
                <a:gd name="connsiteY4" fmla="*/ 203943 h 635245"/>
                <a:gd name="connsiteX5" fmla="*/ 563716 w 625452"/>
                <a:gd name="connsiteY5" fmla="*/ 116660 h 635245"/>
                <a:gd name="connsiteX6" fmla="*/ 317623 w 625452"/>
                <a:gd name="connsiteY6" fmla="*/ 0 h 635245"/>
                <a:gd name="connsiteX7" fmla="*/ 0 w 625452"/>
                <a:gd name="connsiteY7" fmla="*/ 317623 h 635245"/>
                <a:gd name="connsiteX8" fmla="*/ 20863 w 625452"/>
                <a:gd name="connsiteY8" fmla="*/ 430877 h 635245"/>
                <a:gd name="connsiteX9" fmla="*/ 71529 w 625452"/>
                <a:gd name="connsiteY9" fmla="*/ 518159 h 635245"/>
                <a:gd name="connsiteX10" fmla="*/ 317623 w 625452"/>
                <a:gd name="connsiteY10" fmla="*/ 635245 h 635245"/>
                <a:gd name="connsiteX11" fmla="*/ 625453 w 625452"/>
                <a:gd name="connsiteY11" fmla="*/ 397241 h 635245"/>
                <a:gd name="connsiteX12" fmla="*/ 503257 w 625452"/>
                <a:gd name="connsiteY12" fmla="*/ 395964 h 635245"/>
                <a:gd name="connsiteX13" fmla="*/ 503257 w 625452"/>
                <a:gd name="connsiteY13" fmla="*/ 395964 h 635245"/>
                <a:gd name="connsiteX14" fmla="*/ 115383 w 625452"/>
                <a:gd name="connsiteY14" fmla="*/ 316771 h 635245"/>
                <a:gd name="connsiteX15" fmla="*/ 317623 w 625452"/>
                <a:gd name="connsiteY15" fmla="*/ 114531 h 635245"/>
                <a:gd name="connsiteX16" fmla="*/ 461958 w 625452"/>
                <a:gd name="connsiteY16" fmla="*/ 174990 h 635245"/>
                <a:gd name="connsiteX17" fmla="*/ 123047 w 625452"/>
                <a:gd name="connsiteY17" fmla="*/ 370844 h 635245"/>
                <a:gd name="connsiteX18" fmla="*/ 115383 w 625452"/>
                <a:gd name="connsiteY18" fmla="*/ 316771 h 63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5452" h="635245">
                  <a:moveTo>
                    <a:pt x="503257" y="395964"/>
                  </a:moveTo>
                  <a:cubicBezTo>
                    <a:pt x="472602" y="467918"/>
                    <a:pt x="401073" y="518585"/>
                    <a:pt x="317197" y="518585"/>
                  </a:cubicBezTo>
                  <a:cubicBezTo>
                    <a:pt x="260570" y="518585"/>
                    <a:pt x="209478" y="495593"/>
                    <a:pt x="172862" y="458126"/>
                  </a:cubicBezTo>
                  <a:lnTo>
                    <a:pt x="512198" y="262699"/>
                  </a:lnTo>
                  <a:lnTo>
                    <a:pt x="614383" y="203943"/>
                  </a:lnTo>
                  <a:cubicBezTo>
                    <a:pt x="602035" y="172010"/>
                    <a:pt x="585005" y="142632"/>
                    <a:pt x="563716" y="116660"/>
                  </a:cubicBezTo>
                  <a:cubicBezTo>
                    <a:pt x="505812" y="45131"/>
                    <a:pt x="417252" y="0"/>
                    <a:pt x="317623" y="0"/>
                  </a:cubicBezTo>
                  <a:cubicBezTo>
                    <a:pt x="142206" y="0"/>
                    <a:pt x="0" y="142206"/>
                    <a:pt x="0" y="317623"/>
                  </a:cubicBezTo>
                  <a:cubicBezTo>
                    <a:pt x="0" y="357219"/>
                    <a:pt x="7238" y="395538"/>
                    <a:pt x="20863" y="430877"/>
                  </a:cubicBezTo>
                  <a:cubicBezTo>
                    <a:pt x="33210" y="462809"/>
                    <a:pt x="50241" y="492187"/>
                    <a:pt x="71529" y="518159"/>
                  </a:cubicBezTo>
                  <a:cubicBezTo>
                    <a:pt x="129859" y="589688"/>
                    <a:pt x="218419" y="635245"/>
                    <a:pt x="317623" y="635245"/>
                  </a:cubicBezTo>
                  <a:cubicBezTo>
                    <a:pt x="465790" y="635245"/>
                    <a:pt x="589688" y="534338"/>
                    <a:pt x="625453" y="397241"/>
                  </a:cubicBezTo>
                  <a:lnTo>
                    <a:pt x="503257" y="395964"/>
                  </a:lnTo>
                  <a:lnTo>
                    <a:pt x="503257" y="395964"/>
                  </a:lnTo>
                  <a:close/>
                  <a:moveTo>
                    <a:pt x="115383" y="316771"/>
                  </a:moveTo>
                  <a:cubicBezTo>
                    <a:pt x="115383" y="205220"/>
                    <a:pt x="206072" y="114531"/>
                    <a:pt x="317623" y="114531"/>
                  </a:cubicBezTo>
                  <a:cubicBezTo>
                    <a:pt x="374250" y="114531"/>
                    <a:pt x="425342" y="137523"/>
                    <a:pt x="461958" y="174990"/>
                  </a:cubicBezTo>
                  <a:lnTo>
                    <a:pt x="123047" y="370844"/>
                  </a:lnTo>
                  <a:cubicBezTo>
                    <a:pt x="118363" y="353813"/>
                    <a:pt x="115383" y="335931"/>
                    <a:pt x="115383" y="316771"/>
                  </a:cubicBezTo>
                </a:path>
              </a:pathLst>
            </a:custGeom>
            <a:solidFill>
              <a:srgbClr val="B9052D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43">
              <a:extLst>
                <a:ext uri="{FF2B5EF4-FFF2-40B4-BE49-F238E27FC236}">
                  <a16:creationId xmlns:a16="http://schemas.microsoft.com/office/drawing/2014/main" id="{584463BD-1370-C730-549C-A9C45EEB5EB3}"/>
                </a:ext>
              </a:extLst>
            </p:cNvPr>
            <p:cNvSpPr/>
            <p:nvPr/>
          </p:nvSpPr>
          <p:spPr>
            <a:xfrm>
              <a:off x="8659524" y="4396917"/>
              <a:ext cx="366355" cy="371489"/>
            </a:xfrm>
            <a:custGeom>
              <a:avLst/>
              <a:gdLst>
                <a:gd name="connsiteX0" fmla="*/ 242704 w 366355"/>
                <a:gd name="connsiteY0" fmla="*/ 64921 h 371489"/>
                <a:gd name="connsiteX1" fmla="*/ 180542 w 366355"/>
                <a:gd name="connsiteY1" fmla="*/ 44059 h 371489"/>
                <a:gd name="connsiteX2" fmla="*/ 114122 w 366355"/>
                <a:gd name="connsiteY2" fmla="*/ 61941 h 371489"/>
                <a:gd name="connsiteX3" fmla="*/ 63881 w 366355"/>
                <a:gd name="connsiteY3" fmla="*/ 111330 h 371489"/>
                <a:gd name="connsiteX4" fmla="*/ 47702 w 366355"/>
                <a:gd name="connsiteY4" fmla="*/ 178601 h 371489"/>
                <a:gd name="connsiteX5" fmla="*/ 70268 w 366355"/>
                <a:gd name="connsiteY5" fmla="*/ 252259 h 371489"/>
                <a:gd name="connsiteX6" fmla="*/ 122637 w 366355"/>
                <a:gd name="connsiteY6" fmla="*/ 308460 h 371489"/>
                <a:gd name="connsiteX7" fmla="*/ 188631 w 366355"/>
                <a:gd name="connsiteY7" fmla="*/ 327620 h 371489"/>
                <a:gd name="connsiteX8" fmla="*/ 256328 w 366355"/>
                <a:gd name="connsiteY8" fmla="*/ 308460 h 371489"/>
                <a:gd name="connsiteX9" fmla="*/ 315936 w 366355"/>
                <a:gd name="connsiteY9" fmla="*/ 237357 h 371489"/>
                <a:gd name="connsiteX10" fmla="*/ 307420 w 366355"/>
                <a:gd name="connsiteY10" fmla="*/ 143262 h 371489"/>
                <a:gd name="connsiteX11" fmla="*/ 182245 w 366355"/>
                <a:gd name="connsiteY11" fmla="*/ 215643 h 371489"/>
                <a:gd name="connsiteX12" fmla="*/ 163085 w 366355"/>
                <a:gd name="connsiteY12" fmla="*/ 182433 h 371489"/>
                <a:gd name="connsiteX13" fmla="*/ 331689 w 366355"/>
                <a:gd name="connsiteY13" fmla="*/ 84932 h 371489"/>
                <a:gd name="connsiteX14" fmla="*/ 349571 w 366355"/>
                <a:gd name="connsiteY14" fmla="*/ 116439 h 371489"/>
                <a:gd name="connsiteX15" fmla="*/ 366176 w 366355"/>
                <a:gd name="connsiteY15" fmla="*/ 201167 h 371489"/>
                <a:gd name="connsiteX16" fmla="*/ 341056 w 366355"/>
                <a:gd name="connsiteY16" fmla="*/ 283766 h 371489"/>
                <a:gd name="connsiteX17" fmla="*/ 276765 w 366355"/>
                <a:gd name="connsiteY17" fmla="*/ 345928 h 371489"/>
                <a:gd name="connsiteX18" fmla="*/ 185225 w 366355"/>
                <a:gd name="connsiteY18" fmla="*/ 371474 h 371489"/>
                <a:gd name="connsiteX19" fmla="*/ 95388 w 366355"/>
                <a:gd name="connsiteY19" fmla="*/ 347631 h 371489"/>
                <a:gd name="connsiteX20" fmla="*/ 26840 w 366355"/>
                <a:gd name="connsiteY20" fmla="*/ 277379 h 371489"/>
                <a:gd name="connsiteX21" fmla="*/ 16 w 366355"/>
                <a:gd name="connsiteY21" fmla="*/ 182859 h 371489"/>
                <a:gd name="connsiteX22" fmla="*/ 23859 w 366355"/>
                <a:gd name="connsiteY22" fmla="*/ 93022 h 371489"/>
                <a:gd name="connsiteX23" fmla="*/ 91556 w 366355"/>
                <a:gd name="connsiteY23" fmla="*/ 26602 h 371489"/>
                <a:gd name="connsiteX24" fmla="*/ 194166 w 366355"/>
                <a:gd name="connsiteY24" fmla="*/ 205 h 371489"/>
                <a:gd name="connsiteX25" fmla="*/ 290390 w 366355"/>
                <a:gd name="connsiteY25" fmla="*/ 37672 h 371489"/>
                <a:gd name="connsiteX26" fmla="*/ 242704 w 366355"/>
                <a:gd name="connsiteY26" fmla="*/ 64921 h 371489"/>
                <a:gd name="connsiteX27" fmla="*/ 242704 w 366355"/>
                <a:gd name="connsiteY27" fmla="*/ 64921 h 37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6355" h="371489">
                  <a:moveTo>
                    <a:pt x="242704" y="64921"/>
                  </a:moveTo>
                  <a:cubicBezTo>
                    <a:pt x="223544" y="51722"/>
                    <a:pt x="202682" y="44910"/>
                    <a:pt x="180542" y="44059"/>
                  </a:cubicBezTo>
                  <a:cubicBezTo>
                    <a:pt x="158402" y="43633"/>
                    <a:pt x="135836" y="49594"/>
                    <a:pt x="114122" y="61941"/>
                  </a:cubicBezTo>
                  <a:cubicBezTo>
                    <a:pt x="92408" y="74288"/>
                    <a:pt x="75377" y="91319"/>
                    <a:pt x="63881" y="111330"/>
                  </a:cubicBezTo>
                  <a:cubicBezTo>
                    <a:pt x="52386" y="131341"/>
                    <a:pt x="46425" y="153907"/>
                    <a:pt x="47702" y="178601"/>
                  </a:cubicBezTo>
                  <a:cubicBezTo>
                    <a:pt x="48554" y="203296"/>
                    <a:pt x="56217" y="227564"/>
                    <a:pt x="70268" y="252259"/>
                  </a:cubicBezTo>
                  <a:cubicBezTo>
                    <a:pt x="84318" y="276953"/>
                    <a:pt x="101775" y="295687"/>
                    <a:pt x="122637" y="308460"/>
                  </a:cubicBezTo>
                  <a:cubicBezTo>
                    <a:pt x="143500" y="321233"/>
                    <a:pt x="165214" y="327620"/>
                    <a:pt x="188631" y="327620"/>
                  </a:cubicBezTo>
                  <a:cubicBezTo>
                    <a:pt x="212048" y="327620"/>
                    <a:pt x="234614" y="321233"/>
                    <a:pt x="256328" y="308460"/>
                  </a:cubicBezTo>
                  <a:cubicBezTo>
                    <a:pt x="286983" y="290578"/>
                    <a:pt x="306569" y="267161"/>
                    <a:pt x="315936" y="237357"/>
                  </a:cubicBezTo>
                  <a:cubicBezTo>
                    <a:pt x="325303" y="207979"/>
                    <a:pt x="322322" y="176047"/>
                    <a:pt x="307420" y="143262"/>
                  </a:cubicBezTo>
                  <a:lnTo>
                    <a:pt x="182245" y="215643"/>
                  </a:lnTo>
                  <a:lnTo>
                    <a:pt x="163085" y="182433"/>
                  </a:lnTo>
                  <a:lnTo>
                    <a:pt x="331689" y="84932"/>
                  </a:lnTo>
                  <a:lnTo>
                    <a:pt x="349571" y="116439"/>
                  </a:lnTo>
                  <a:cubicBezTo>
                    <a:pt x="361918" y="143688"/>
                    <a:pt x="367454" y="172215"/>
                    <a:pt x="366176" y="201167"/>
                  </a:cubicBezTo>
                  <a:cubicBezTo>
                    <a:pt x="364899" y="230545"/>
                    <a:pt x="356384" y="258220"/>
                    <a:pt x="341056" y="283766"/>
                  </a:cubicBezTo>
                  <a:cubicBezTo>
                    <a:pt x="325728" y="309312"/>
                    <a:pt x="304014" y="330174"/>
                    <a:pt x="276765" y="345928"/>
                  </a:cubicBezTo>
                  <a:cubicBezTo>
                    <a:pt x="247387" y="362533"/>
                    <a:pt x="217157" y="371474"/>
                    <a:pt x="185225" y="371474"/>
                  </a:cubicBezTo>
                  <a:cubicBezTo>
                    <a:pt x="153292" y="371900"/>
                    <a:pt x="123489" y="363810"/>
                    <a:pt x="95388" y="347631"/>
                  </a:cubicBezTo>
                  <a:cubicBezTo>
                    <a:pt x="67287" y="331452"/>
                    <a:pt x="44722" y="308034"/>
                    <a:pt x="26840" y="277379"/>
                  </a:cubicBezTo>
                  <a:cubicBezTo>
                    <a:pt x="8957" y="246724"/>
                    <a:pt x="442" y="215217"/>
                    <a:pt x="16" y="182859"/>
                  </a:cubicBezTo>
                  <a:cubicBezTo>
                    <a:pt x="-410" y="150500"/>
                    <a:pt x="7680" y="120271"/>
                    <a:pt x="23859" y="93022"/>
                  </a:cubicBezTo>
                  <a:cubicBezTo>
                    <a:pt x="40038" y="65773"/>
                    <a:pt x="62604" y="43207"/>
                    <a:pt x="91556" y="26602"/>
                  </a:cubicBezTo>
                  <a:cubicBezTo>
                    <a:pt x="124766" y="7443"/>
                    <a:pt x="158828" y="-1499"/>
                    <a:pt x="194166" y="205"/>
                  </a:cubicBezTo>
                  <a:cubicBezTo>
                    <a:pt x="229505" y="1908"/>
                    <a:pt x="261437" y="14681"/>
                    <a:pt x="290390" y="37672"/>
                  </a:cubicBezTo>
                  <a:lnTo>
                    <a:pt x="242704" y="64921"/>
                  </a:lnTo>
                  <a:lnTo>
                    <a:pt x="242704" y="64921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44">
              <a:extLst>
                <a:ext uri="{FF2B5EF4-FFF2-40B4-BE49-F238E27FC236}">
                  <a16:creationId xmlns:a16="http://schemas.microsoft.com/office/drawing/2014/main" id="{44A3D223-8BAD-8018-FA22-ECC97DB0B271}"/>
                </a:ext>
              </a:extLst>
            </p:cNvPr>
            <p:cNvSpPr/>
            <p:nvPr/>
          </p:nvSpPr>
          <p:spPr>
            <a:xfrm>
              <a:off x="6794252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9 w 284838"/>
                <a:gd name="connsiteY8" fmla="*/ 362754 h 362753"/>
                <a:gd name="connsiteX9" fmla="*/ 284839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9" y="362754"/>
                  </a:lnTo>
                  <a:lnTo>
                    <a:pt x="284839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45">
              <a:extLst>
                <a:ext uri="{FF2B5EF4-FFF2-40B4-BE49-F238E27FC236}">
                  <a16:creationId xmlns:a16="http://schemas.microsoft.com/office/drawing/2014/main" id="{7741FFB5-A263-2382-0D68-CE8ECD06A49A}"/>
                </a:ext>
              </a:extLst>
            </p:cNvPr>
            <p:cNvSpPr/>
            <p:nvPr/>
          </p:nvSpPr>
          <p:spPr>
            <a:xfrm>
              <a:off x="7762873" y="4402657"/>
              <a:ext cx="173713" cy="362328"/>
            </a:xfrm>
            <a:custGeom>
              <a:avLst/>
              <a:gdLst>
                <a:gd name="connsiteX0" fmla="*/ 0 w 173713"/>
                <a:gd name="connsiteY0" fmla="*/ 0 h 362328"/>
                <a:gd name="connsiteX1" fmla="*/ 0 w 173713"/>
                <a:gd name="connsiteY1" fmla="*/ 362328 h 362328"/>
                <a:gd name="connsiteX2" fmla="*/ 173713 w 173713"/>
                <a:gd name="connsiteY2" fmla="*/ 362328 h 362328"/>
                <a:gd name="connsiteX3" fmla="*/ 173713 w 173713"/>
                <a:gd name="connsiteY3" fmla="*/ 323583 h 362328"/>
                <a:gd name="connsiteX4" fmla="*/ 47260 w 173713"/>
                <a:gd name="connsiteY4" fmla="*/ 323583 h 362328"/>
                <a:gd name="connsiteX5" fmla="*/ 47260 w 173713"/>
                <a:gd name="connsiteY5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13" h="362328">
                  <a:moveTo>
                    <a:pt x="0" y="0"/>
                  </a:moveTo>
                  <a:lnTo>
                    <a:pt x="0" y="362328"/>
                  </a:lnTo>
                  <a:lnTo>
                    <a:pt x="173713" y="362328"/>
                  </a:lnTo>
                  <a:lnTo>
                    <a:pt x="173713" y="323583"/>
                  </a:lnTo>
                  <a:lnTo>
                    <a:pt x="47260" y="323583"/>
                  </a:lnTo>
                  <a:lnTo>
                    <a:pt x="47260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46">
              <a:extLst>
                <a:ext uri="{FF2B5EF4-FFF2-40B4-BE49-F238E27FC236}">
                  <a16:creationId xmlns:a16="http://schemas.microsoft.com/office/drawing/2014/main" id="{75C82120-99E8-41BB-2F38-234252DE9B56}"/>
                </a:ext>
              </a:extLst>
            </p:cNvPr>
            <p:cNvSpPr/>
            <p:nvPr/>
          </p:nvSpPr>
          <p:spPr>
            <a:xfrm>
              <a:off x="7909337" y="4402657"/>
              <a:ext cx="245667" cy="362328"/>
            </a:xfrm>
            <a:custGeom>
              <a:avLst/>
              <a:gdLst>
                <a:gd name="connsiteX0" fmla="*/ 0 w 245667"/>
                <a:gd name="connsiteY0" fmla="*/ 0 h 362328"/>
                <a:gd name="connsiteX1" fmla="*/ 0 w 245667"/>
                <a:gd name="connsiteY1" fmla="*/ 38745 h 362328"/>
                <a:gd name="connsiteX2" fmla="*/ 99630 w 245667"/>
                <a:gd name="connsiteY2" fmla="*/ 38745 h 362328"/>
                <a:gd name="connsiteX3" fmla="*/ 99630 w 245667"/>
                <a:gd name="connsiteY3" fmla="*/ 362328 h 362328"/>
                <a:gd name="connsiteX4" fmla="*/ 146890 w 245667"/>
                <a:gd name="connsiteY4" fmla="*/ 362328 h 362328"/>
                <a:gd name="connsiteX5" fmla="*/ 146890 w 245667"/>
                <a:gd name="connsiteY5" fmla="*/ 38745 h 362328"/>
                <a:gd name="connsiteX6" fmla="*/ 245668 w 245667"/>
                <a:gd name="connsiteY6" fmla="*/ 38745 h 362328"/>
                <a:gd name="connsiteX7" fmla="*/ 245668 w 245667"/>
                <a:gd name="connsiteY7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667" h="362328">
                  <a:moveTo>
                    <a:pt x="0" y="0"/>
                  </a:moveTo>
                  <a:lnTo>
                    <a:pt x="0" y="38745"/>
                  </a:lnTo>
                  <a:lnTo>
                    <a:pt x="99630" y="38745"/>
                  </a:lnTo>
                  <a:lnTo>
                    <a:pt x="99630" y="362328"/>
                  </a:lnTo>
                  <a:lnTo>
                    <a:pt x="146890" y="362328"/>
                  </a:lnTo>
                  <a:lnTo>
                    <a:pt x="146890" y="38745"/>
                  </a:lnTo>
                  <a:lnTo>
                    <a:pt x="245668" y="38745"/>
                  </a:lnTo>
                  <a:lnTo>
                    <a:pt x="245668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47">
              <a:extLst>
                <a:ext uri="{FF2B5EF4-FFF2-40B4-BE49-F238E27FC236}">
                  <a16:creationId xmlns:a16="http://schemas.microsoft.com/office/drawing/2014/main" id="{A14380AD-15B6-21C1-F2C6-50BA2792CBDE}"/>
                </a:ext>
              </a:extLst>
            </p:cNvPr>
            <p:cNvSpPr/>
            <p:nvPr/>
          </p:nvSpPr>
          <p:spPr>
            <a:xfrm>
              <a:off x="8212910" y="4402657"/>
              <a:ext cx="47260" cy="362328"/>
            </a:xfrm>
            <a:custGeom>
              <a:avLst/>
              <a:gdLst>
                <a:gd name="connsiteX0" fmla="*/ 0 w 47260"/>
                <a:gd name="connsiteY0" fmla="*/ 0 h 362328"/>
                <a:gd name="connsiteX1" fmla="*/ 47260 w 47260"/>
                <a:gd name="connsiteY1" fmla="*/ 0 h 362328"/>
                <a:gd name="connsiteX2" fmla="*/ 47260 w 47260"/>
                <a:gd name="connsiteY2" fmla="*/ 362328 h 362328"/>
                <a:gd name="connsiteX3" fmla="*/ 0 w 47260"/>
                <a:gd name="connsiteY3" fmla="*/ 362328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260" h="362328">
                  <a:moveTo>
                    <a:pt x="0" y="0"/>
                  </a:moveTo>
                  <a:lnTo>
                    <a:pt x="47260" y="0"/>
                  </a:lnTo>
                  <a:lnTo>
                    <a:pt x="47260" y="362328"/>
                  </a:lnTo>
                  <a:lnTo>
                    <a:pt x="0" y="362328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48">
              <a:extLst>
                <a:ext uri="{FF2B5EF4-FFF2-40B4-BE49-F238E27FC236}">
                  <a16:creationId xmlns:a16="http://schemas.microsoft.com/office/drawing/2014/main" id="{2885D588-1DCB-155F-846C-423141006064}"/>
                </a:ext>
              </a:extLst>
            </p:cNvPr>
            <p:cNvSpPr/>
            <p:nvPr/>
          </p:nvSpPr>
          <p:spPr>
            <a:xfrm>
              <a:off x="7432478" y="4402657"/>
              <a:ext cx="272065" cy="365734"/>
            </a:xfrm>
            <a:custGeom>
              <a:avLst/>
              <a:gdLst>
                <a:gd name="connsiteX0" fmla="*/ 46834 w 272065"/>
                <a:gd name="connsiteY0" fmla="*/ 0 h 365734"/>
                <a:gd name="connsiteX1" fmla="*/ 46834 w 272065"/>
                <a:gd name="connsiteY1" fmla="*/ 229063 h 365734"/>
                <a:gd name="connsiteX2" fmla="*/ 70252 w 272065"/>
                <a:gd name="connsiteY2" fmla="*/ 300592 h 365734"/>
                <a:gd name="connsiteX3" fmla="*/ 135820 w 272065"/>
                <a:gd name="connsiteY3" fmla="*/ 324009 h 365734"/>
                <a:gd name="connsiteX4" fmla="*/ 201388 w 272065"/>
                <a:gd name="connsiteY4" fmla="*/ 300592 h 365734"/>
                <a:gd name="connsiteX5" fmla="*/ 224805 w 272065"/>
                <a:gd name="connsiteY5" fmla="*/ 229063 h 365734"/>
                <a:gd name="connsiteX6" fmla="*/ 224805 w 272065"/>
                <a:gd name="connsiteY6" fmla="*/ 0 h 365734"/>
                <a:gd name="connsiteX7" fmla="*/ 272066 w 272065"/>
                <a:gd name="connsiteY7" fmla="*/ 0 h 365734"/>
                <a:gd name="connsiteX8" fmla="*/ 272066 w 272065"/>
                <a:gd name="connsiteY8" fmla="*/ 228637 h 365734"/>
                <a:gd name="connsiteX9" fmla="*/ 254183 w 272065"/>
                <a:gd name="connsiteY9" fmla="*/ 304850 h 365734"/>
                <a:gd name="connsiteX10" fmla="*/ 205220 w 272065"/>
                <a:gd name="connsiteY10" fmla="*/ 350832 h 365734"/>
                <a:gd name="connsiteX11" fmla="*/ 135820 w 272065"/>
                <a:gd name="connsiteY11" fmla="*/ 365734 h 365734"/>
                <a:gd name="connsiteX12" fmla="*/ 66420 w 272065"/>
                <a:gd name="connsiteY12" fmla="*/ 350832 h 365734"/>
                <a:gd name="connsiteX13" fmla="*/ 17882 w 272065"/>
                <a:gd name="connsiteY13" fmla="*/ 304850 h 365734"/>
                <a:gd name="connsiteX14" fmla="*/ 0 w 272065"/>
                <a:gd name="connsiteY14" fmla="*/ 228637 h 365734"/>
                <a:gd name="connsiteX15" fmla="*/ 0 w 272065"/>
                <a:gd name="connsiteY15" fmla="*/ 0 h 365734"/>
                <a:gd name="connsiteX16" fmla="*/ 46834 w 272065"/>
                <a:gd name="connsiteY16" fmla="*/ 0 h 365734"/>
                <a:gd name="connsiteX17" fmla="*/ 46834 w 272065"/>
                <a:gd name="connsiteY17" fmla="*/ 0 h 36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2065" h="365734">
                  <a:moveTo>
                    <a:pt x="46834" y="0"/>
                  </a:moveTo>
                  <a:lnTo>
                    <a:pt x="46834" y="229063"/>
                  </a:lnTo>
                  <a:cubicBezTo>
                    <a:pt x="46834" y="261421"/>
                    <a:pt x="54924" y="285264"/>
                    <a:pt x="70252" y="300592"/>
                  </a:cubicBezTo>
                  <a:cubicBezTo>
                    <a:pt x="86005" y="316345"/>
                    <a:pt x="107719" y="324009"/>
                    <a:pt x="135820" y="324009"/>
                  </a:cubicBezTo>
                  <a:cubicBezTo>
                    <a:pt x="163921" y="324009"/>
                    <a:pt x="185209" y="316345"/>
                    <a:pt x="201388" y="300592"/>
                  </a:cubicBezTo>
                  <a:cubicBezTo>
                    <a:pt x="217141" y="284838"/>
                    <a:pt x="224805" y="260995"/>
                    <a:pt x="224805" y="229063"/>
                  </a:cubicBezTo>
                  <a:lnTo>
                    <a:pt x="224805" y="0"/>
                  </a:lnTo>
                  <a:lnTo>
                    <a:pt x="272066" y="0"/>
                  </a:lnTo>
                  <a:lnTo>
                    <a:pt x="272066" y="228637"/>
                  </a:lnTo>
                  <a:cubicBezTo>
                    <a:pt x="272066" y="258867"/>
                    <a:pt x="266105" y="284413"/>
                    <a:pt x="254183" y="304850"/>
                  </a:cubicBezTo>
                  <a:cubicBezTo>
                    <a:pt x="241836" y="325286"/>
                    <a:pt x="225657" y="340614"/>
                    <a:pt x="205220" y="350832"/>
                  </a:cubicBezTo>
                  <a:cubicBezTo>
                    <a:pt x="184783" y="361051"/>
                    <a:pt x="161366" y="365734"/>
                    <a:pt x="135820" y="365734"/>
                  </a:cubicBezTo>
                  <a:cubicBezTo>
                    <a:pt x="110274" y="365734"/>
                    <a:pt x="87282" y="361051"/>
                    <a:pt x="66420" y="350832"/>
                  </a:cubicBezTo>
                  <a:cubicBezTo>
                    <a:pt x="45983" y="340614"/>
                    <a:pt x="29804" y="325286"/>
                    <a:pt x="17882" y="304850"/>
                  </a:cubicBezTo>
                  <a:cubicBezTo>
                    <a:pt x="5961" y="284413"/>
                    <a:pt x="0" y="258867"/>
                    <a:pt x="0" y="228637"/>
                  </a:cubicBezTo>
                  <a:lnTo>
                    <a:pt x="0" y="0"/>
                  </a:lnTo>
                  <a:lnTo>
                    <a:pt x="46834" y="0"/>
                  </a:lnTo>
                  <a:lnTo>
                    <a:pt x="46834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49">
              <a:extLst>
                <a:ext uri="{FF2B5EF4-FFF2-40B4-BE49-F238E27FC236}">
                  <a16:creationId xmlns:a16="http://schemas.microsoft.com/office/drawing/2014/main" id="{D26D2EDD-F90F-8BBD-487D-84E8CA8210AF}"/>
                </a:ext>
              </a:extLst>
            </p:cNvPr>
            <p:cNvSpPr/>
            <p:nvPr/>
          </p:nvSpPr>
          <p:spPr>
            <a:xfrm>
              <a:off x="7136995" y="4398399"/>
              <a:ext cx="245667" cy="369595"/>
            </a:xfrm>
            <a:custGeom>
              <a:avLst/>
              <a:gdLst>
                <a:gd name="connsiteX0" fmla="*/ 61311 w 245667"/>
                <a:gd name="connsiteY0" fmla="*/ 357645 h 369595"/>
                <a:gd name="connsiteX1" fmla="*/ 16605 w 245667"/>
                <a:gd name="connsiteY1" fmla="*/ 322306 h 369595"/>
                <a:gd name="connsiteX2" fmla="*/ 0 w 245667"/>
                <a:gd name="connsiteY2" fmla="*/ 269937 h 369595"/>
                <a:gd name="connsiteX3" fmla="*/ 50241 w 245667"/>
                <a:gd name="connsiteY3" fmla="*/ 269937 h 369595"/>
                <a:gd name="connsiteX4" fmla="*/ 71103 w 245667"/>
                <a:gd name="connsiteY4" fmla="*/ 312513 h 369595"/>
                <a:gd name="connsiteX5" fmla="*/ 124750 w 245667"/>
                <a:gd name="connsiteY5" fmla="*/ 329970 h 369595"/>
                <a:gd name="connsiteX6" fmla="*/ 177971 w 245667"/>
                <a:gd name="connsiteY6" fmla="*/ 312939 h 369595"/>
                <a:gd name="connsiteX7" fmla="*/ 197556 w 245667"/>
                <a:gd name="connsiteY7" fmla="*/ 269511 h 369595"/>
                <a:gd name="connsiteX8" fmla="*/ 186061 w 245667"/>
                <a:gd name="connsiteY8" fmla="*/ 235875 h 369595"/>
                <a:gd name="connsiteX9" fmla="*/ 157534 w 245667"/>
                <a:gd name="connsiteY9" fmla="*/ 216290 h 369595"/>
                <a:gd name="connsiteX10" fmla="*/ 111125 w 245667"/>
                <a:gd name="connsiteY10" fmla="*/ 201814 h 369595"/>
                <a:gd name="connsiteX11" fmla="*/ 53647 w 245667"/>
                <a:gd name="connsiteY11" fmla="*/ 183080 h 369595"/>
                <a:gd name="connsiteX12" fmla="*/ 17031 w 245667"/>
                <a:gd name="connsiteY12" fmla="*/ 153702 h 369595"/>
                <a:gd name="connsiteX13" fmla="*/ 1703 w 245667"/>
                <a:gd name="connsiteY13" fmla="*/ 100055 h 369595"/>
                <a:gd name="connsiteX14" fmla="*/ 16605 w 245667"/>
                <a:gd name="connsiteY14" fmla="*/ 47686 h 369595"/>
                <a:gd name="connsiteX15" fmla="*/ 59182 w 245667"/>
                <a:gd name="connsiteY15" fmla="*/ 12347 h 369595"/>
                <a:gd name="connsiteX16" fmla="*/ 121770 w 245667"/>
                <a:gd name="connsiteY16" fmla="*/ 0 h 369595"/>
                <a:gd name="connsiteX17" fmla="*/ 205220 w 245667"/>
                <a:gd name="connsiteY17" fmla="*/ 25546 h 369595"/>
                <a:gd name="connsiteX18" fmla="*/ 241836 w 245667"/>
                <a:gd name="connsiteY18" fmla="*/ 92817 h 369595"/>
                <a:gd name="connsiteX19" fmla="*/ 189892 w 245667"/>
                <a:gd name="connsiteY19" fmla="*/ 92817 h 369595"/>
                <a:gd name="connsiteX20" fmla="*/ 168178 w 245667"/>
                <a:gd name="connsiteY20" fmla="*/ 56201 h 369595"/>
                <a:gd name="connsiteX21" fmla="*/ 117512 w 245667"/>
                <a:gd name="connsiteY21" fmla="*/ 40022 h 369595"/>
                <a:gd name="connsiteX22" fmla="*/ 68974 w 245667"/>
                <a:gd name="connsiteY22" fmla="*/ 55350 h 369595"/>
                <a:gd name="connsiteX23" fmla="*/ 50241 w 245667"/>
                <a:gd name="connsiteY23" fmla="*/ 97927 h 369595"/>
                <a:gd name="connsiteX24" fmla="*/ 61311 w 245667"/>
                <a:gd name="connsiteY24" fmla="*/ 130285 h 369595"/>
                <a:gd name="connsiteX25" fmla="*/ 88985 w 245667"/>
                <a:gd name="connsiteY25" fmla="*/ 149444 h 369595"/>
                <a:gd name="connsiteX26" fmla="*/ 134968 w 245667"/>
                <a:gd name="connsiteY26" fmla="*/ 164346 h 369595"/>
                <a:gd name="connsiteX27" fmla="*/ 192447 w 245667"/>
                <a:gd name="connsiteY27" fmla="*/ 183932 h 369595"/>
                <a:gd name="connsiteX28" fmla="*/ 229915 w 245667"/>
                <a:gd name="connsiteY28" fmla="*/ 213310 h 369595"/>
                <a:gd name="connsiteX29" fmla="*/ 245668 w 245667"/>
                <a:gd name="connsiteY29" fmla="*/ 267382 h 369595"/>
                <a:gd name="connsiteX30" fmla="*/ 231618 w 245667"/>
                <a:gd name="connsiteY30" fmla="*/ 317197 h 369595"/>
                <a:gd name="connsiteX31" fmla="*/ 189892 w 245667"/>
                <a:gd name="connsiteY31" fmla="*/ 355090 h 369595"/>
                <a:gd name="connsiteX32" fmla="*/ 124750 w 245667"/>
                <a:gd name="connsiteY32" fmla="*/ 369566 h 369595"/>
                <a:gd name="connsiteX33" fmla="*/ 61311 w 245667"/>
                <a:gd name="connsiteY33" fmla="*/ 357645 h 369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45667" h="369595">
                  <a:moveTo>
                    <a:pt x="61311" y="357645"/>
                  </a:moveTo>
                  <a:cubicBezTo>
                    <a:pt x="42577" y="349129"/>
                    <a:pt x="27675" y="337634"/>
                    <a:pt x="16605" y="322306"/>
                  </a:cubicBezTo>
                  <a:cubicBezTo>
                    <a:pt x="5961" y="307404"/>
                    <a:pt x="426" y="289948"/>
                    <a:pt x="0" y="269937"/>
                  </a:cubicBezTo>
                  <a:lnTo>
                    <a:pt x="50241" y="269937"/>
                  </a:lnTo>
                  <a:cubicBezTo>
                    <a:pt x="51944" y="286967"/>
                    <a:pt x="58756" y="301443"/>
                    <a:pt x="71103" y="312513"/>
                  </a:cubicBezTo>
                  <a:cubicBezTo>
                    <a:pt x="83450" y="323583"/>
                    <a:pt x="101333" y="329970"/>
                    <a:pt x="124750" y="329970"/>
                  </a:cubicBezTo>
                  <a:cubicBezTo>
                    <a:pt x="148167" y="329970"/>
                    <a:pt x="165198" y="324435"/>
                    <a:pt x="177971" y="312939"/>
                  </a:cubicBezTo>
                  <a:cubicBezTo>
                    <a:pt x="190744" y="301869"/>
                    <a:pt x="197556" y="287393"/>
                    <a:pt x="197556" y="269511"/>
                  </a:cubicBezTo>
                  <a:cubicBezTo>
                    <a:pt x="197556" y="255461"/>
                    <a:pt x="193724" y="244391"/>
                    <a:pt x="186061" y="235875"/>
                  </a:cubicBezTo>
                  <a:cubicBezTo>
                    <a:pt x="178397" y="227360"/>
                    <a:pt x="169030" y="220548"/>
                    <a:pt x="157534" y="216290"/>
                  </a:cubicBezTo>
                  <a:cubicBezTo>
                    <a:pt x="146038" y="211607"/>
                    <a:pt x="130711" y="206923"/>
                    <a:pt x="111125" y="201814"/>
                  </a:cubicBezTo>
                  <a:cubicBezTo>
                    <a:pt x="87282" y="195427"/>
                    <a:pt x="68123" y="189467"/>
                    <a:pt x="53647" y="183080"/>
                  </a:cubicBezTo>
                  <a:cubicBezTo>
                    <a:pt x="39171" y="176694"/>
                    <a:pt x="26823" y="166901"/>
                    <a:pt x="17031" y="153702"/>
                  </a:cubicBezTo>
                  <a:cubicBezTo>
                    <a:pt x="6812" y="140503"/>
                    <a:pt x="1703" y="122195"/>
                    <a:pt x="1703" y="100055"/>
                  </a:cubicBezTo>
                  <a:cubicBezTo>
                    <a:pt x="1703" y="80470"/>
                    <a:pt x="6387" y="63014"/>
                    <a:pt x="16605" y="47686"/>
                  </a:cubicBezTo>
                  <a:cubicBezTo>
                    <a:pt x="26823" y="32358"/>
                    <a:pt x="40874" y="20437"/>
                    <a:pt x="59182" y="12347"/>
                  </a:cubicBezTo>
                  <a:cubicBezTo>
                    <a:pt x="77064" y="3832"/>
                    <a:pt x="97927" y="0"/>
                    <a:pt x="121770" y="0"/>
                  </a:cubicBezTo>
                  <a:cubicBezTo>
                    <a:pt x="155831" y="0"/>
                    <a:pt x="183506" y="8515"/>
                    <a:pt x="205220" y="25546"/>
                  </a:cubicBezTo>
                  <a:cubicBezTo>
                    <a:pt x="226934" y="42577"/>
                    <a:pt x="238856" y="65142"/>
                    <a:pt x="241836" y="92817"/>
                  </a:cubicBezTo>
                  <a:lnTo>
                    <a:pt x="189892" y="92817"/>
                  </a:lnTo>
                  <a:cubicBezTo>
                    <a:pt x="188189" y="78767"/>
                    <a:pt x="180951" y="66846"/>
                    <a:pt x="168178" y="56201"/>
                  </a:cubicBezTo>
                  <a:cubicBezTo>
                    <a:pt x="155405" y="45983"/>
                    <a:pt x="138374" y="40022"/>
                    <a:pt x="117512" y="40022"/>
                  </a:cubicBezTo>
                  <a:cubicBezTo>
                    <a:pt x="96649" y="40022"/>
                    <a:pt x="81747" y="45131"/>
                    <a:pt x="68974" y="55350"/>
                  </a:cubicBezTo>
                  <a:cubicBezTo>
                    <a:pt x="56201" y="65568"/>
                    <a:pt x="50241" y="79619"/>
                    <a:pt x="50241" y="97927"/>
                  </a:cubicBezTo>
                  <a:cubicBezTo>
                    <a:pt x="50241" y="111125"/>
                    <a:pt x="54073" y="121770"/>
                    <a:pt x="61311" y="130285"/>
                  </a:cubicBezTo>
                  <a:cubicBezTo>
                    <a:pt x="68549" y="138800"/>
                    <a:pt x="77915" y="144761"/>
                    <a:pt x="88985" y="149444"/>
                  </a:cubicBezTo>
                  <a:cubicBezTo>
                    <a:pt x="99630" y="153702"/>
                    <a:pt x="115383" y="158811"/>
                    <a:pt x="134968" y="164346"/>
                  </a:cubicBezTo>
                  <a:cubicBezTo>
                    <a:pt x="158811" y="171159"/>
                    <a:pt x="177971" y="177545"/>
                    <a:pt x="192447" y="183932"/>
                  </a:cubicBezTo>
                  <a:cubicBezTo>
                    <a:pt x="206923" y="190318"/>
                    <a:pt x="219696" y="200111"/>
                    <a:pt x="229915" y="213310"/>
                  </a:cubicBezTo>
                  <a:cubicBezTo>
                    <a:pt x="240133" y="226508"/>
                    <a:pt x="245668" y="244816"/>
                    <a:pt x="245668" y="267382"/>
                  </a:cubicBezTo>
                  <a:cubicBezTo>
                    <a:pt x="245668" y="285264"/>
                    <a:pt x="240985" y="301869"/>
                    <a:pt x="231618" y="317197"/>
                  </a:cubicBezTo>
                  <a:cubicBezTo>
                    <a:pt x="222251" y="332950"/>
                    <a:pt x="208200" y="345297"/>
                    <a:pt x="189892" y="355090"/>
                  </a:cubicBezTo>
                  <a:cubicBezTo>
                    <a:pt x="171584" y="364883"/>
                    <a:pt x="149870" y="369566"/>
                    <a:pt x="124750" y="369566"/>
                  </a:cubicBezTo>
                  <a:cubicBezTo>
                    <a:pt x="100055" y="369992"/>
                    <a:pt x="79619" y="365734"/>
                    <a:pt x="61311" y="357645"/>
                  </a:cubicBezTo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50">
              <a:extLst>
                <a:ext uri="{FF2B5EF4-FFF2-40B4-BE49-F238E27FC236}">
                  <a16:creationId xmlns:a16="http://schemas.microsoft.com/office/drawing/2014/main" id="{F334742E-79BA-EE4F-1909-6B2718ACE903}"/>
                </a:ext>
              </a:extLst>
            </p:cNvPr>
            <p:cNvSpPr/>
            <p:nvPr/>
          </p:nvSpPr>
          <p:spPr>
            <a:xfrm>
              <a:off x="8318074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8 w 284838"/>
                <a:gd name="connsiteY8" fmla="*/ 362754 h 362753"/>
                <a:gd name="connsiteX9" fmla="*/ 284838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8" y="362754"/>
                  </a:lnTo>
                  <a:lnTo>
                    <a:pt x="284838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51">
              <a:extLst>
                <a:ext uri="{FF2B5EF4-FFF2-40B4-BE49-F238E27FC236}">
                  <a16:creationId xmlns:a16="http://schemas.microsoft.com/office/drawing/2014/main" id="{EBFD5171-84F5-898B-A741-59D4DF799556}"/>
                </a:ext>
              </a:extLst>
            </p:cNvPr>
            <p:cNvSpPr/>
            <p:nvPr/>
          </p:nvSpPr>
          <p:spPr>
            <a:xfrm>
              <a:off x="6372742" y="4398399"/>
              <a:ext cx="363605" cy="369140"/>
            </a:xfrm>
            <a:custGeom>
              <a:avLst/>
              <a:gdLst>
                <a:gd name="connsiteX0" fmla="*/ 89837 w 363605"/>
                <a:gd name="connsiteY0" fmla="*/ 346575 h 369140"/>
                <a:gd name="connsiteX1" fmla="*/ 24269 w 363605"/>
                <a:gd name="connsiteY1" fmla="*/ 280581 h 369140"/>
                <a:gd name="connsiteX2" fmla="*/ 0 w 363605"/>
                <a:gd name="connsiteY2" fmla="*/ 185209 h 369140"/>
                <a:gd name="connsiteX3" fmla="*/ 24269 w 363605"/>
                <a:gd name="connsiteY3" fmla="*/ 89837 h 369140"/>
                <a:gd name="connsiteX4" fmla="*/ 89837 w 363605"/>
                <a:gd name="connsiteY4" fmla="*/ 23843 h 369140"/>
                <a:gd name="connsiteX5" fmla="*/ 181803 w 363605"/>
                <a:gd name="connsiteY5" fmla="*/ 0 h 369140"/>
                <a:gd name="connsiteX6" fmla="*/ 274194 w 363605"/>
                <a:gd name="connsiteY6" fmla="*/ 23843 h 369140"/>
                <a:gd name="connsiteX7" fmla="*/ 339763 w 363605"/>
                <a:gd name="connsiteY7" fmla="*/ 89411 h 369140"/>
                <a:gd name="connsiteX8" fmla="*/ 363606 w 363605"/>
                <a:gd name="connsiteY8" fmla="*/ 184783 h 369140"/>
                <a:gd name="connsiteX9" fmla="*/ 339763 w 363605"/>
                <a:gd name="connsiteY9" fmla="*/ 280155 h 369140"/>
                <a:gd name="connsiteX10" fmla="*/ 274194 w 363605"/>
                <a:gd name="connsiteY10" fmla="*/ 345723 h 369140"/>
                <a:gd name="connsiteX11" fmla="*/ 181803 w 363605"/>
                <a:gd name="connsiteY11" fmla="*/ 369140 h 369140"/>
                <a:gd name="connsiteX12" fmla="*/ 89837 w 363605"/>
                <a:gd name="connsiteY12" fmla="*/ 346575 h 369140"/>
                <a:gd name="connsiteX13" fmla="*/ 249926 w 363605"/>
                <a:gd name="connsiteY13" fmla="*/ 311236 h 369140"/>
                <a:gd name="connsiteX14" fmla="*/ 297612 w 363605"/>
                <a:gd name="connsiteY14" fmla="*/ 260995 h 369140"/>
                <a:gd name="connsiteX15" fmla="*/ 315068 w 363605"/>
                <a:gd name="connsiteY15" fmla="*/ 185209 h 369140"/>
                <a:gd name="connsiteX16" fmla="*/ 297612 w 363605"/>
                <a:gd name="connsiteY16" fmla="*/ 108997 h 369140"/>
                <a:gd name="connsiteX17" fmla="*/ 249926 w 363605"/>
                <a:gd name="connsiteY17" fmla="*/ 58756 h 369140"/>
                <a:gd name="connsiteX18" fmla="*/ 181377 w 363605"/>
                <a:gd name="connsiteY18" fmla="*/ 40874 h 369140"/>
                <a:gd name="connsiteX19" fmla="*/ 112828 w 363605"/>
                <a:gd name="connsiteY19" fmla="*/ 58756 h 369140"/>
                <a:gd name="connsiteX20" fmla="*/ 65142 w 363605"/>
                <a:gd name="connsiteY20" fmla="*/ 108997 h 369140"/>
                <a:gd name="connsiteX21" fmla="*/ 47686 w 363605"/>
                <a:gd name="connsiteY21" fmla="*/ 185209 h 369140"/>
                <a:gd name="connsiteX22" fmla="*/ 65142 w 363605"/>
                <a:gd name="connsiteY22" fmla="*/ 260995 h 369140"/>
                <a:gd name="connsiteX23" fmla="*/ 112828 w 363605"/>
                <a:gd name="connsiteY23" fmla="*/ 311236 h 369140"/>
                <a:gd name="connsiteX24" fmla="*/ 180951 w 363605"/>
                <a:gd name="connsiteY24" fmla="*/ 329118 h 369140"/>
                <a:gd name="connsiteX25" fmla="*/ 249926 w 363605"/>
                <a:gd name="connsiteY25" fmla="*/ 311236 h 369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3605" h="369140">
                  <a:moveTo>
                    <a:pt x="89837" y="346575"/>
                  </a:moveTo>
                  <a:cubicBezTo>
                    <a:pt x="62162" y="330821"/>
                    <a:pt x="40022" y="308681"/>
                    <a:pt x="24269" y="280581"/>
                  </a:cubicBezTo>
                  <a:cubicBezTo>
                    <a:pt x="8090" y="252480"/>
                    <a:pt x="0" y="220548"/>
                    <a:pt x="0" y="185209"/>
                  </a:cubicBezTo>
                  <a:cubicBezTo>
                    <a:pt x="0" y="149870"/>
                    <a:pt x="8090" y="117938"/>
                    <a:pt x="24269" y="89837"/>
                  </a:cubicBezTo>
                  <a:cubicBezTo>
                    <a:pt x="40448" y="61736"/>
                    <a:pt x="62162" y="39596"/>
                    <a:pt x="89837" y="23843"/>
                  </a:cubicBezTo>
                  <a:cubicBezTo>
                    <a:pt x="117512" y="8090"/>
                    <a:pt x="148167" y="0"/>
                    <a:pt x="181803" y="0"/>
                  </a:cubicBezTo>
                  <a:cubicBezTo>
                    <a:pt x="215438" y="0"/>
                    <a:pt x="246519" y="8090"/>
                    <a:pt x="274194" y="23843"/>
                  </a:cubicBezTo>
                  <a:cubicBezTo>
                    <a:pt x="301869" y="39596"/>
                    <a:pt x="323583" y="61311"/>
                    <a:pt x="339763" y="89411"/>
                  </a:cubicBezTo>
                  <a:cubicBezTo>
                    <a:pt x="355942" y="117512"/>
                    <a:pt x="363606" y="149444"/>
                    <a:pt x="363606" y="184783"/>
                  </a:cubicBezTo>
                  <a:cubicBezTo>
                    <a:pt x="363606" y="220122"/>
                    <a:pt x="355516" y="252054"/>
                    <a:pt x="339763" y="280155"/>
                  </a:cubicBezTo>
                  <a:cubicBezTo>
                    <a:pt x="324009" y="308256"/>
                    <a:pt x="301869" y="330396"/>
                    <a:pt x="274194" y="345723"/>
                  </a:cubicBezTo>
                  <a:cubicBezTo>
                    <a:pt x="246519" y="361477"/>
                    <a:pt x="215864" y="369140"/>
                    <a:pt x="181803" y="369140"/>
                  </a:cubicBezTo>
                  <a:cubicBezTo>
                    <a:pt x="147741" y="369140"/>
                    <a:pt x="117086" y="362328"/>
                    <a:pt x="89837" y="346575"/>
                  </a:cubicBezTo>
                  <a:moveTo>
                    <a:pt x="249926" y="311236"/>
                  </a:moveTo>
                  <a:cubicBezTo>
                    <a:pt x="269937" y="299315"/>
                    <a:pt x="286116" y="282710"/>
                    <a:pt x="297612" y="260995"/>
                  </a:cubicBezTo>
                  <a:cubicBezTo>
                    <a:pt x="309107" y="239281"/>
                    <a:pt x="315068" y="213735"/>
                    <a:pt x="315068" y="185209"/>
                  </a:cubicBezTo>
                  <a:cubicBezTo>
                    <a:pt x="315068" y="156682"/>
                    <a:pt x="309107" y="130711"/>
                    <a:pt x="297612" y="108997"/>
                  </a:cubicBezTo>
                  <a:cubicBezTo>
                    <a:pt x="286116" y="87282"/>
                    <a:pt x="270362" y="70677"/>
                    <a:pt x="249926" y="58756"/>
                  </a:cubicBezTo>
                  <a:cubicBezTo>
                    <a:pt x="229489" y="46834"/>
                    <a:pt x="206923" y="40874"/>
                    <a:pt x="181377" y="40874"/>
                  </a:cubicBezTo>
                  <a:cubicBezTo>
                    <a:pt x="155831" y="40874"/>
                    <a:pt x="132839" y="46834"/>
                    <a:pt x="112828" y="58756"/>
                  </a:cubicBezTo>
                  <a:cubicBezTo>
                    <a:pt x="92817" y="70677"/>
                    <a:pt x="77064" y="87282"/>
                    <a:pt x="65142" y="108997"/>
                  </a:cubicBezTo>
                  <a:cubicBezTo>
                    <a:pt x="53647" y="130711"/>
                    <a:pt x="47686" y="155831"/>
                    <a:pt x="47686" y="185209"/>
                  </a:cubicBezTo>
                  <a:cubicBezTo>
                    <a:pt x="47686" y="214587"/>
                    <a:pt x="53647" y="238856"/>
                    <a:pt x="65142" y="260995"/>
                  </a:cubicBezTo>
                  <a:cubicBezTo>
                    <a:pt x="76638" y="282710"/>
                    <a:pt x="92392" y="299740"/>
                    <a:pt x="112828" y="311236"/>
                  </a:cubicBezTo>
                  <a:cubicBezTo>
                    <a:pt x="132839" y="323158"/>
                    <a:pt x="155831" y="329118"/>
                    <a:pt x="180951" y="329118"/>
                  </a:cubicBezTo>
                  <a:cubicBezTo>
                    <a:pt x="206072" y="329118"/>
                    <a:pt x="229489" y="323158"/>
                    <a:pt x="249926" y="311236"/>
                  </a:cubicBezTo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52">
              <a:extLst>
                <a:ext uri="{FF2B5EF4-FFF2-40B4-BE49-F238E27FC236}">
                  <a16:creationId xmlns:a16="http://schemas.microsoft.com/office/drawing/2014/main" id="{51A825D1-9697-F811-10C4-0EBBB6956086}"/>
                </a:ext>
              </a:extLst>
            </p:cNvPr>
            <p:cNvSpPr/>
            <p:nvPr/>
          </p:nvSpPr>
          <p:spPr>
            <a:xfrm>
              <a:off x="5978481" y="4397973"/>
              <a:ext cx="348703" cy="369991"/>
            </a:xfrm>
            <a:custGeom>
              <a:avLst/>
              <a:gdLst>
                <a:gd name="connsiteX0" fmla="*/ 24269 w 348703"/>
                <a:gd name="connsiteY0" fmla="*/ 90263 h 369991"/>
                <a:gd name="connsiteX1" fmla="*/ 89411 w 348703"/>
                <a:gd name="connsiteY1" fmla="*/ 23843 h 369991"/>
                <a:gd name="connsiteX2" fmla="*/ 181377 w 348703"/>
                <a:gd name="connsiteY2" fmla="*/ 0 h 369991"/>
                <a:gd name="connsiteX3" fmla="*/ 284413 w 348703"/>
                <a:gd name="connsiteY3" fmla="*/ 28526 h 369991"/>
                <a:gd name="connsiteX4" fmla="*/ 348704 w 348703"/>
                <a:gd name="connsiteY4" fmla="*/ 109422 h 369991"/>
                <a:gd name="connsiteX5" fmla="*/ 292077 w 348703"/>
                <a:gd name="connsiteY5" fmla="*/ 109422 h 369991"/>
                <a:gd name="connsiteX6" fmla="*/ 248648 w 348703"/>
                <a:gd name="connsiteY6" fmla="*/ 59182 h 369991"/>
                <a:gd name="connsiteX7" fmla="*/ 180951 w 348703"/>
                <a:gd name="connsiteY7" fmla="*/ 41299 h 369991"/>
                <a:gd name="connsiteX8" fmla="*/ 112828 w 348703"/>
                <a:gd name="connsiteY8" fmla="*/ 59182 h 369991"/>
                <a:gd name="connsiteX9" fmla="*/ 65568 w 348703"/>
                <a:gd name="connsiteY9" fmla="*/ 109422 h 369991"/>
                <a:gd name="connsiteX10" fmla="*/ 48538 w 348703"/>
                <a:gd name="connsiteY10" fmla="*/ 185635 h 369991"/>
                <a:gd name="connsiteX11" fmla="*/ 65568 w 348703"/>
                <a:gd name="connsiteY11" fmla="*/ 260995 h 369991"/>
                <a:gd name="connsiteX12" fmla="*/ 112828 w 348703"/>
                <a:gd name="connsiteY12" fmla="*/ 311236 h 369991"/>
                <a:gd name="connsiteX13" fmla="*/ 180951 w 348703"/>
                <a:gd name="connsiteY13" fmla="*/ 329118 h 369991"/>
                <a:gd name="connsiteX14" fmla="*/ 248648 w 348703"/>
                <a:gd name="connsiteY14" fmla="*/ 311662 h 369991"/>
                <a:gd name="connsiteX15" fmla="*/ 292077 w 348703"/>
                <a:gd name="connsiteY15" fmla="*/ 261421 h 369991"/>
                <a:gd name="connsiteX16" fmla="*/ 348704 w 348703"/>
                <a:gd name="connsiteY16" fmla="*/ 261421 h 369991"/>
                <a:gd name="connsiteX17" fmla="*/ 284413 w 348703"/>
                <a:gd name="connsiteY17" fmla="*/ 341891 h 369991"/>
                <a:gd name="connsiteX18" fmla="*/ 181377 w 348703"/>
                <a:gd name="connsiteY18" fmla="*/ 369992 h 369991"/>
                <a:gd name="connsiteX19" fmla="*/ 89411 w 348703"/>
                <a:gd name="connsiteY19" fmla="*/ 346575 h 369991"/>
                <a:gd name="connsiteX20" fmla="*/ 23843 w 348703"/>
                <a:gd name="connsiteY20" fmla="*/ 281007 h 369991"/>
                <a:gd name="connsiteX21" fmla="*/ 0 w 348703"/>
                <a:gd name="connsiteY21" fmla="*/ 186060 h 369991"/>
                <a:gd name="connsiteX22" fmla="*/ 24269 w 348703"/>
                <a:gd name="connsiteY22" fmla="*/ 90263 h 36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8703" h="369991">
                  <a:moveTo>
                    <a:pt x="24269" y="90263"/>
                  </a:moveTo>
                  <a:cubicBezTo>
                    <a:pt x="40448" y="62162"/>
                    <a:pt x="61736" y="40022"/>
                    <a:pt x="89411" y="23843"/>
                  </a:cubicBezTo>
                  <a:cubicBezTo>
                    <a:pt x="117086" y="7664"/>
                    <a:pt x="147316" y="0"/>
                    <a:pt x="181377" y="0"/>
                  </a:cubicBezTo>
                  <a:cubicBezTo>
                    <a:pt x="220973" y="0"/>
                    <a:pt x="255461" y="9367"/>
                    <a:pt x="284413" y="28526"/>
                  </a:cubicBezTo>
                  <a:cubicBezTo>
                    <a:pt x="313791" y="47686"/>
                    <a:pt x="335079" y="74935"/>
                    <a:pt x="348704" y="109422"/>
                  </a:cubicBezTo>
                  <a:lnTo>
                    <a:pt x="292077" y="109422"/>
                  </a:lnTo>
                  <a:cubicBezTo>
                    <a:pt x="281858" y="87708"/>
                    <a:pt x="267808" y="70677"/>
                    <a:pt x="248648" y="59182"/>
                  </a:cubicBezTo>
                  <a:cubicBezTo>
                    <a:pt x="229915" y="47260"/>
                    <a:pt x="207349" y="41299"/>
                    <a:pt x="180951" y="41299"/>
                  </a:cubicBezTo>
                  <a:cubicBezTo>
                    <a:pt x="154554" y="41299"/>
                    <a:pt x="132839" y="47260"/>
                    <a:pt x="112828" y="59182"/>
                  </a:cubicBezTo>
                  <a:cubicBezTo>
                    <a:pt x="92817" y="71103"/>
                    <a:pt x="77064" y="87708"/>
                    <a:pt x="65568" y="109422"/>
                  </a:cubicBezTo>
                  <a:cubicBezTo>
                    <a:pt x="54072" y="131136"/>
                    <a:pt x="48538" y="156257"/>
                    <a:pt x="48538" y="185635"/>
                  </a:cubicBezTo>
                  <a:cubicBezTo>
                    <a:pt x="48538" y="215013"/>
                    <a:pt x="54072" y="239281"/>
                    <a:pt x="65568" y="260995"/>
                  </a:cubicBezTo>
                  <a:cubicBezTo>
                    <a:pt x="77064" y="282710"/>
                    <a:pt x="92817" y="299315"/>
                    <a:pt x="112828" y="311236"/>
                  </a:cubicBezTo>
                  <a:cubicBezTo>
                    <a:pt x="132839" y="323158"/>
                    <a:pt x="155405" y="329118"/>
                    <a:pt x="180951" y="329118"/>
                  </a:cubicBezTo>
                  <a:cubicBezTo>
                    <a:pt x="206497" y="329118"/>
                    <a:pt x="229915" y="323158"/>
                    <a:pt x="248648" y="311662"/>
                  </a:cubicBezTo>
                  <a:cubicBezTo>
                    <a:pt x="267382" y="300166"/>
                    <a:pt x="281858" y="283561"/>
                    <a:pt x="292077" y="261421"/>
                  </a:cubicBezTo>
                  <a:lnTo>
                    <a:pt x="348704" y="261421"/>
                  </a:lnTo>
                  <a:cubicBezTo>
                    <a:pt x="335079" y="296334"/>
                    <a:pt x="313791" y="323158"/>
                    <a:pt x="284413" y="341891"/>
                  </a:cubicBezTo>
                  <a:cubicBezTo>
                    <a:pt x="255035" y="360625"/>
                    <a:pt x="220548" y="369992"/>
                    <a:pt x="181377" y="369992"/>
                  </a:cubicBezTo>
                  <a:cubicBezTo>
                    <a:pt x="147741" y="369992"/>
                    <a:pt x="117086" y="361902"/>
                    <a:pt x="89411" y="346575"/>
                  </a:cubicBezTo>
                  <a:cubicBezTo>
                    <a:pt x="62162" y="330821"/>
                    <a:pt x="40022" y="309107"/>
                    <a:pt x="23843" y="281007"/>
                  </a:cubicBezTo>
                  <a:cubicBezTo>
                    <a:pt x="7664" y="252906"/>
                    <a:pt x="0" y="221399"/>
                    <a:pt x="0" y="186060"/>
                  </a:cubicBezTo>
                  <a:cubicBezTo>
                    <a:pt x="0" y="150722"/>
                    <a:pt x="8090" y="118363"/>
                    <a:pt x="24269" y="90263"/>
                  </a:cubicBezTo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90377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V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0DB485A-CB9E-4484-A9A5-5FEE1A71F3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9548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10DB485A-CB9E-4484-A9A5-5FEE1A71F3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6CB1E990-85A0-4549-8A97-C4C64B56B47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 dirty="0">
              <a:latin typeface="Poppins" panose="00000500000000000000" pitchFamily="2" charset="0"/>
              <a:ea typeface="+mj-ea"/>
              <a:cs typeface="Poppins" panose="00000500000000000000" pitchFamily="2" charset="0"/>
              <a:sym typeface="Segoe UI Semibold" panose="020B07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45B442E-8CE1-434C-936C-46EBAC4CDE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Add action title</a:t>
            </a:r>
            <a:br>
              <a:rPr lang="en-US"/>
            </a:br>
            <a:r>
              <a:rPr lang="en-US"/>
              <a:t>max. two lines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DACDE7AE-94AA-4B0B-95B2-891652A248D9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51384" y="2276872"/>
            <a:ext cx="3678458" cy="40318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sz="1200" dirty="0"/>
            </a:lvl3pPr>
            <a:lvl4pPr>
              <a:defRPr lang="en-US" dirty="0"/>
            </a:lvl4pPr>
          </a:lstStyle>
          <a:p>
            <a:pPr lvl="0"/>
            <a:r>
              <a:rPr lang="en-US" dirty="0"/>
              <a:t>Add content</a:t>
            </a:r>
          </a:p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4503CB1C-F7A6-4EA8-A365-2BD6D315046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1700808"/>
            <a:ext cx="1837029" cy="2915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wrap="none" lIns="550800" tIns="7200" rIns="108000" bIns="7200" rtlCol="0" anchor="ctr">
            <a:spAutoFit/>
          </a:bodyPr>
          <a:lstStyle>
            <a:lvl1pPr>
              <a:defRPr lang="en-US" sz="1800" cap="all" baseline="0">
                <a:solidFill>
                  <a:schemeClr val="bg1"/>
                </a:solidFill>
              </a:defRPr>
            </a:lvl1pPr>
          </a:lstStyle>
          <a:p>
            <a:pPr lvl="0">
              <a:tabLst/>
            </a:pPr>
            <a:r>
              <a:rPr lang="en-US" dirty="0"/>
              <a:t>Reference</a:t>
            </a:r>
          </a:p>
        </p:txBody>
      </p:sp>
      <p:sp>
        <p:nvSpPr>
          <p:cNvPr id="7" name="Textplatzhalter 14">
            <a:extLst>
              <a:ext uri="{FF2B5EF4-FFF2-40B4-BE49-F238E27FC236}">
                <a16:creationId xmlns:a16="http://schemas.microsoft.com/office/drawing/2014/main" id="{2F37E23E-00FF-4647-8AB7-148A3D7465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" y="1340768"/>
            <a:ext cx="1176592" cy="2915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6350"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wrap="none" lIns="550800" tIns="7200" rIns="108000" bIns="7200" rtlCol="0" anchor="ctr">
            <a:spAutoFit/>
          </a:bodyPr>
          <a:lstStyle>
            <a:lvl1pPr rtl="0">
              <a:defRPr lang="en-US" sz="1800" cap="all" baseline="0" dirty="0">
                <a:solidFill>
                  <a:schemeClr val="bg1"/>
                </a:solidFill>
              </a:defRPr>
            </a:lvl1pPr>
          </a:lstStyle>
          <a:p>
            <a:pPr lvl="0">
              <a:tabLst/>
            </a:pPr>
            <a:r>
              <a:rPr lang="en-US" noProof="0"/>
              <a:t>Text</a:t>
            </a:r>
          </a:p>
        </p:txBody>
      </p:sp>
      <p:sp>
        <p:nvSpPr>
          <p:cNvPr id="8" name="Bildplatzhalter 12">
            <a:extLst>
              <a:ext uri="{FF2B5EF4-FFF2-40B4-BE49-F238E27FC236}">
                <a16:creationId xmlns:a16="http://schemas.microsoft.com/office/drawing/2014/main" id="{6E14D232-9E24-4A3E-A778-1F5ED514E2C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89144" y="1700807"/>
            <a:ext cx="7802856" cy="46079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ctr">
              <a:defRPr lang="en-US" cap="all" baseline="0"/>
            </a:lvl1pPr>
          </a:lstStyle>
          <a:p>
            <a:pPr lvl="0">
              <a:buFont typeface="Wingdings" panose="05000000000000000000" pitchFamily="2" charset="2"/>
              <a:tabLst>
                <a:tab pos="361950" algn="l"/>
              </a:tabLst>
            </a:pPr>
            <a:r>
              <a:rPr lang="en-US" dirty="0"/>
              <a:t>Large Image</a:t>
            </a:r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8A2DE0A7-1540-8149-8B94-1AC34016C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2C1C2410-7BD9-675D-BE18-1306CCCF93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ource/Note: </a:t>
            </a:r>
          </a:p>
        </p:txBody>
      </p:sp>
    </p:spTree>
    <p:extLst>
      <p:ext uri="{BB962C8B-B14F-4D97-AF65-F5344CB8AC3E}">
        <p14:creationId xmlns:p14="http://schemas.microsoft.com/office/powerpoint/2010/main" val="3176390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87B02C-D5C9-6716-D0A8-B4B3658C3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07DC21-946E-35F9-4963-BD4EDF9B5A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526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v="urn:schemas-microsoft-com:vml" xmlns:a16="http://schemas.microsoft.com/office/drawing/2014/main" xmlns:asvg="http://schemas.microsoft.com/office/drawing/2016/SVG/main" xmlns:p15="http://schemas.microsoft.com/office/powerpoint/2012/main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35CC413-5070-34ED-721E-40AF19963D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87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35CC413-5070-34ED-721E-40AF19963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0414FC-A302-00F1-B532-3365D53CD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699" y="1171575"/>
            <a:ext cx="5276705" cy="738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57E09FC5-8528-5321-E1DC-F664C41FAD7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A047D3B3-3626-D759-52A0-C1FC40BDE7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62157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 dirty="0"/>
              <a:t>Source/Note: 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8BF4BCFF-619F-A7AC-8FD4-97F0B761F32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+mn-lt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Inhaltsplatzhalter 6">
            <a:extLst>
              <a:ext uri="{FF2B5EF4-FFF2-40B4-BE49-F238E27FC236}">
                <a16:creationId xmlns:a16="http://schemas.microsoft.com/office/drawing/2014/main" id="{E6F3B30A-8C86-CEB4-D16C-BE3A91BC577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62157" y="2101850"/>
            <a:ext cx="5276706" cy="4206875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content</a:t>
            </a:r>
          </a:p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1000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F50FEE8-8DBF-5653-FBF4-1708895A10E8}"/>
              </a:ext>
            </a:extLst>
          </p:cNvPr>
          <p:cNvSpPr/>
          <p:nvPr userDrawn="1"/>
        </p:nvSpPr>
        <p:spPr>
          <a:xfrm>
            <a:off x="10688636" y="1009815"/>
            <a:ext cx="1376363" cy="246619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0FC0536-B40B-AC4E-BE5B-9CD3B04B3DDC}"/>
              </a:ext>
            </a:extLst>
          </p:cNvPr>
          <p:cNvSpPr/>
          <p:nvPr userDrawn="1"/>
        </p:nvSpPr>
        <p:spPr>
          <a:xfrm>
            <a:off x="10688637" y="675409"/>
            <a:ext cx="903336" cy="328614"/>
          </a:xfrm>
          <a:prstGeom prst="rect">
            <a:avLst/>
          </a:prstGeom>
          <a:solidFill>
            <a:schemeClr val="tx2"/>
          </a:solidFill>
          <a:ln w="6350">
            <a:solidFill>
              <a:schemeClr val="accent1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solidFill>
                <a:schemeClr val="tx2"/>
              </a:solidFill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1519C5A1-29BB-271A-BE60-BBC21FCC2189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1071667 w 12192000"/>
              <a:gd name="connsiteY0" fmla="*/ 1031592 h 6858000"/>
              <a:gd name="connsiteX1" fmla="*/ 11087443 w 12192000"/>
              <a:gd name="connsiteY1" fmla="*/ 1035707 h 6858000"/>
              <a:gd name="connsiteX2" fmla="*/ 11098417 w 12192000"/>
              <a:gd name="connsiteY2" fmla="*/ 1047269 h 6858000"/>
              <a:gd name="connsiteX3" fmla="*/ 11102434 w 12192000"/>
              <a:gd name="connsiteY3" fmla="*/ 1064808 h 6858000"/>
              <a:gd name="connsiteX4" fmla="*/ 11098417 w 12192000"/>
              <a:gd name="connsiteY4" fmla="*/ 1082249 h 6858000"/>
              <a:gd name="connsiteX5" fmla="*/ 11087443 w 12192000"/>
              <a:gd name="connsiteY5" fmla="*/ 1093811 h 6858000"/>
              <a:gd name="connsiteX6" fmla="*/ 11071569 w 12192000"/>
              <a:gd name="connsiteY6" fmla="*/ 1097927 h 6858000"/>
              <a:gd name="connsiteX7" fmla="*/ 11055892 w 12192000"/>
              <a:gd name="connsiteY7" fmla="*/ 1093811 h 6858000"/>
              <a:gd name="connsiteX8" fmla="*/ 11044917 w 12192000"/>
              <a:gd name="connsiteY8" fmla="*/ 1082249 h 6858000"/>
              <a:gd name="connsiteX9" fmla="*/ 11040900 w 12192000"/>
              <a:gd name="connsiteY9" fmla="*/ 1064808 h 6858000"/>
              <a:gd name="connsiteX10" fmla="*/ 11044917 w 12192000"/>
              <a:gd name="connsiteY10" fmla="*/ 1047269 h 6858000"/>
              <a:gd name="connsiteX11" fmla="*/ 11055892 w 12192000"/>
              <a:gd name="connsiteY11" fmla="*/ 1035707 h 6858000"/>
              <a:gd name="connsiteX12" fmla="*/ 11071667 w 12192000"/>
              <a:gd name="connsiteY12" fmla="*/ 1031592 h 6858000"/>
              <a:gd name="connsiteX13" fmla="*/ 11453414 w 12192000"/>
              <a:gd name="connsiteY13" fmla="*/ 1023165 h 6858000"/>
              <a:gd name="connsiteX14" fmla="*/ 11453414 w 12192000"/>
              <a:gd name="connsiteY14" fmla="*/ 1106550 h 6858000"/>
              <a:gd name="connsiteX15" fmla="*/ 11464290 w 12192000"/>
              <a:gd name="connsiteY15" fmla="*/ 1106550 h 6858000"/>
              <a:gd name="connsiteX16" fmla="*/ 11464290 w 12192000"/>
              <a:gd name="connsiteY16" fmla="*/ 1023165 h 6858000"/>
              <a:gd name="connsiteX17" fmla="*/ 11383551 w 12192000"/>
              <a:gd name="connsiteY17" fmla="*/ 1023165 h 6858000"/>
              <a:gd name="connsiteX18" fmla="*/ 11383551 w 12192000"/>
              <a:gd name="connsiteY18" fmla="*/ 1032082 h 6858000"/>
              <a:gd name="connsiteX19" fmla="*/ 11406480 w 12192000"/>
              <a:gd name="connsiteY19" fmla="*/ 1032082 h 6858000"/>
              <a:gd name="connsiteX20" fmla="*/ 11406480 w 12192000"/>
              <a:gd name="connsiteY20" fmla="*/ 1106550 h 6858000"/>
              <a:gd name="connsiteX21" fmla="*/ 11417356 w 12192000"/>
              <a:gd name="connsiteY21" fmla="*/ 1106550 h 6858000"/>
              <a:gd name="connsiteX22" fmla="*/ 11417356 w 12192000"/>
              <a:gd name="connsiteY22" fmla="*/ 1032082 h 6858000"/>
              <a:gd name="connsiteX23" fmla="*/ 11440088 w 12192000"/>
              <a:gd name="connsiteY23" fmla="*/ 1032082 h 6858000"/>
              <a:gd name="connsiteX24" fmla="*/ 11440088 w 12192000"/>
              <a:gd name="connsiteY24" fmla="*/ 1023165 h 6858000"/>
              <a:gd name="connsiteX25" fmla="*/ 11349845 w 12192000"/>
              <a:gd name="connsiteY25" fmla="*/ 1023165 h 6858000"/>
              <a:gd name="connsiteX26" fmla="*/ 11349845 w 12192000"/>
              <a:gd name="connsiteY26" fmla="*/ 1106550 h 6858000"/>
              <a:gd name="connsiteX27" fmla="*/ 11389823 w 12192000"/>
              <a:gd name="connsiteY27" fmla="*/ 1106550 h 6858000"/>
              <a:gd name="connsiteX28" fmla="*/ 11389823 w 12192000"/>
              <a:gd name="connsiteY28" fmla="*/ 1097633 h 6858000"/>
              <a:gd name="connsiteX29" fmla="*/ 11360721 w 12192000"/>
              <a:gd name="connsiteY29" fmla="*/ 1097633 h 6858000"/>
              <a:gd name="connsiteX30" fmla="*/ 11360721 w 12192000"/>
              <a:gd name="connsiteY30" fmla="*/ 1023165 h 6858000"/>
              <a:gd name="connsiteX31" fmla="*/ 11273809 w 12192000"/>
              <a:gd name="connsiteY31" fmla="*/ 1023165 h 6858000"/>
              <a:gd name="connsiteX32" fmla="*/ 11273809 w 12192000"/>
              <a:gd name="connsiteY32" fmla="*/ 1075783 h 6858000"/>
              <a:gd name="connsiteX33" fmla="*/ 11277924 w 12192000"/>
              <a:gd name="connsiteY33" fmla="*/ 1093322 h 6858000"/>
              <a:gd name="connsiteX34" fmla="*/ 11289095 w 12192000"/>
              <a:gd name="connsiteY34" fmla="*/ 1103905 h 6858000"/>
              <a:gd name="connsiteX35" fmla="*/ 11305066 w 12192000"/>
              <a:gd name="connsiteY35" fmla="*/ 1107334 h 6858000"/>
              <a:gd name="connsiteX36" fmla="*/ 11321038 w 12192000"/>
              <a:gd name="connsiteY36" fmla="*/ 1103905 h 6858000"/>
              <a:gd name="connsiteX37" fmla="*/ 11332306 w 12192000"/>
              <a:gd name="connsiteY37" fmla="*/ 1093322 h 6858000"/>
              <a:gd name="connsiteX38" fmla="*/ 11336421 w 12192000"/>
              <a:gd name="connsiteY38" fmla="*/ 1075783 h 6858000"/>
              <a:gd name="connsiteX39" fmla="*/ 11336421 w 12192000"/>
              <a:gd name="connsiteY39" fmla="*/ 1023165 h 6858000"/>
              <a:gd name="connsiteX40" fmla="*/ 11325545 w 12192000"/>
              <a:gd name="connsiteY40" fmla="*/ 1023165 h 6858000"/>
              <a:gd name="connsiteX41" fmla="*/ 11325545 w 12192000"/>
              <a:gd name="connsiteY41" fmla="*/ 1075881 h 6858000"/>
              <a:gd name="connsiteX42" fmla="*/ 11320156 w 12192000"/>
              <a:gd name="connsiteY42" fmla="*/ 1092342 h 6858000"/>
              <a:gd name="connsiteX43" fmla="*/ 11305066 w 12192000"/>
              <a:gd name="connsiteY43" fmla="*/ 1097732 h 6858000"/>
              <a:gd name="connsiteX44" fmla="*/ 11289977 w 12192000"/>
              <a:gd name="connsiteY44" fmla="*/ 1092342 h 6858000"/>
              <a:gd name="connsiteX45" fmla="*/ 11284587 w 12192000"/>
              <a:gd name="connsiteY45" fmla="*/ 1075881 h 6858000"/>
              <a:gd name="connsiteX46" fmla="*/ 11284587 w 12192000"/>
              <a:gd name="connsiteY46" fmla="*/ 1023165 h 6858000"/>
              <a:gd name="connsiteX47" fmla="*/ 11477616 w 12192000"/>
              <a:gd name="connsiteY47" fmla="*/ 1023067 h 6858000"/>
              <a:gd name="connsiteX48" fmla="*/ 11477616 w 12192000"/>
              <a:gd name="connsiteY48" fmla="*/ 1106550 h 6858000"/>
              <a:gd name="connsiteX49" fmla="*/ 11488492 w 12192000"/>
              <a:gd name="connsiteY49" fmla="*/ 1106550 h 6858000"/>
              <a:gd name="connsiteX50" fmla="*/ 11488492 w 12192000"/>
              <a:gd name="connsiteY50" fmla="*/ 1040117 h 6858000"/>
              <a:gd name="connsiteX51" fmla="*/ 11532291 w 12192000"/>
              <a:gd name="connsiteY51" fmla="*/ 1106550 h 6858000"/>
              <a:gd name="connsiteX52" fmla="*/ 11543167 w 12192000"/>
              <a:gd name="connsiteY52" fmla="*/ 1106550 h 6858000"/>
              <a:gd name="connsiteX53" fmla="*/ 11543167 w 12192000"/>
              <a:gd name="connsiteY53" fmla="*/ 1023067 h 6858000"/>
              <a:gd name="connsiteX54" fmla="*/ 11532291 w 12192000"/>
              <a:gd name="connsiteY54" fmla="*/ 1023067 h 6858000"/>
              <a:gd name="connsiteX55" fmla="*/ 11532291 w 12192000"/>
              <a:gd name="connsiteY55" fmla="*/ 1089305 h 6858000"/>
              <a:gd name="connsiteX56" fmla="*/ 11488492 w 12192000"/>
              <a:gd name="connsiteY56" fmla="*/ 1023067 h 6858000"/>
              <a:gd name="connsiteX57" fmla="*/ 11126931 w 12192000"/>
              <a:gd name="connsiteY57" fmla="*/ 1023067 h 6858000"/>
              <a:gd name="connsiteX58" fmla="*/ 11126931 w 12192000"/>
              <a:gd name="connsiteY58" fmla="*/ 1106550 h 6858000"/>
              <a:gd name="connsiteX59" fmla="*/ 11137807 w 12192000"/>
              <a:gd name="connsiteY59" fmla="*/ 1106550 h 6858000"/>
              <a:gd name="connsiteX60" fmla="*/ 11137807 w 12192000"/>
              <a:gd name="connsiteY60" fmla="*/ 1040117 h 6858000"/>
              <a:gd name="connsiteX61" fmla="*/ 11181606 w 12192000"/>
              <a:gd name="connsiteY61" fmla="*/ 1106550 h 6858000"/>
              <a:gd name="connsiteX62" fmla="*/ 11192482 w 12192000"/>
              <a:gd name="connsiteY62" fmla="*/ 1106550 h 6858000"/>
              <a:gd name="connsiteX63" fmla="*/ 11192482 w 12192000"/>
              <a:gd name="connsiteY63" fmla="*/ 1023067 h 6858000"/>
              <a:gd name="connsiteX64" fmla="*/ 11181606 w 12192000"/>
              <a:gd name="connsiteY64" fmla="*/ 1023067 h 6858000"/>
              <a:gd name="connsiteX65" fmla="*/ 11181606 w 12192000"/>
              <a:gd name="connsiteY65" fmla="*/ 1089305 h 6858000"/>
              <a:gd name="connsiteX66" fmla="*/ 11137807 w 12192000"/>
              <a:gd name="connsiteY66" fmla="*/ 1023067 h 6858000"/>
              <a:gd name="connsiteX67" fmla="*/ 11233832 w 12192000"/>
              <a:gd name="connsiteY67" fmla="*/ 1022185 h 6858000"/>
              <a:gd name="connsiteX68" fmla="*/ 11219428 w 12192000"/>
              <a:gd name="connsiteY68" fmla="*/ 1025027 h 6858000"/>
              <a:gd name="connsiteX69" fmla="*/ 11209629 w 12192000"/>
              <a:gd name="connsiteY69" fmla="*/ 1033159 h 6858000"/>
              <a:gd name="connsiteX70" fmla="*/ 11206200 w 12192000"/>
              <a:gd name="connsiteY70" fmla="*/ 1045211 h 6858000"/>
              <a:gd name="connsiteX71" fmla="*/ 11209727 w 12192000"/>
              <a:gd name="connsiteY71" fmla="*/ 1057557 h 6858000"/>
              <a:gd name="connsiteX72" fmla="*/ 11218154 w 12192000"/>
              <a:gd name="connsiteY72" fmla="*/ 1064318 h 6858000"/>
              <a:gd name="connsiteX73" fmla="*/ 11231382 w 12192000"/>
              <a:gd name="connsiteY73" fmla="*/ 1068630 h 6858000"/>
              <a:gd name="connsiteX74" fmla="*/ 11242062 w 12192000"/>
              <a:gd name="connsiteY74" fmla="*/ 1071961 h 6858000"/>
              <a:gd name="connsiteX75" fmla="*/ 11248627 w 12192000"/>
              <a:gd name="connsiteY75" fmla="*/ 1076468 h 6858000"/>
              <a:gd name="connsiteX76" fmla="*/ 11251273 w 12192000"/>
              <a:gd name="connsiteY76" fmla="*/ 1084209 h 6858000"/>
              <a:gd name="connsiteX77" fmla="*/ 11246766 w 12192000"/>
              <a:gd name="connsiteY77" fmla="*/ 1094203 h 6858000"/>
              <a:gd name="connsiteX78" fmla="*/ 11234518 w 12192000"/>
              <a:gd name="connsiteY78" fmla="*/ 1098123 h 6858000"/>
              <a:gd name="connsiteX79" fmla="*/ 11222171 w 12192000"/>
              <a:gd name="connsiteY79" fmla="*/ 1094105 h 6858000"/>
              <a:gd name="connsiteX80" fmla="*/ 11217370 w 12192000"/>
              <a:gd name="connsiteY80" fmla="*/ 1084307 h 6858000"/>
              <a:gd name="connsiteX81" fmla="*/ 11205808 w 12192000"/>
              <a:gd name="connsiteY81" fmla="*/ 1084307 h 6858000"/>
              <a:gd name="connsiteX82" fmla="*/ 11209629 w 12192000"/>
              <a:gd name="connsiteY82" fmla="*/ 1096359 h 6858000"/>
              <a:gd name="connsiteX83" fmla="*/ 11219918 w 12192000"/>
              <a:gd name="connsiteY83" fmla="*/ 1104492 h 6858000"/>
              <a:gd name="connsiteX84" fmla="*/ 11234518 w 12192000"/>
              <a:gd name="connsiteY84" fmla="*/ 1107235 h 6858000"/>
              <a:gd name="connsiteX85" fmla="*/ 11249509 w 12192000"/>
              <a:gd name="connsiteY85" fmla="*/ 1103904 h 6858000"/>
              <a:gd name="connsiteX86" fmla="*/ 11259112 w 12192000"/>
              <a:gd name="connsiteY86" fmla="*/ 1095183 h 6858000"/>
              <a:gd name="connsiteX87" fmla="*/ 11262345 w 12192000"/>
              <a:gd name="connsiteY87" fmla="*/ 1083719 h 6858000"/>
              <a:gd name="connsiteX88" fmla="*/ 11258720 w 12192000"/>
              <a:gd name="connsiteY88" fmla="*/ 1071275 h 6858000"/>
              <a:gd name="connsiteX89" fmla="*/ 11250097 w 12192000"/>
              <a:gd name="connsiteY89" fmla="*/ 1064514 h 6858000"/>
              <a:gd name="connsiteX90" fmla="*/ 11236869 w 12192000"/>
              <a:gd name="connsiteY90" fmla="*/ 1060007 h 6858000"/>
              <a:gd name="connsiteX91" fmla="*/ 11226287 w 12192000"/>
              <a:gd name="connsiteY91" fmla="*/ 1056577 h 6858000"/>
              <a:gd name="connsiteX92" fmla="*/ 11219918 w 12192000"/>
              <a:gd name="connsiteY92" fmla="*/ 1052168 h 6858000"/>
              <a:gd name="connsiteX93" fmla="*/ 11217370 w 12192000"/>
              <a:gd name="connsiteY93" fmla="*/ 1044722 h 6858000"/>
              <a:gd name="connsiteX94" fmla="*/ 11221681 w 12192000"/>
              <a:gd name="connsiteY94" fmla="*/ 1034923 h 6858000"/>
              <a:gd name="connsiteX95" fmla="*/ 11232852 w 12192000"/>
              <a:gd name="connsiteY95" fmla="*/ 1031396 h 6858000"/>
              <a:gd name="connsiteX96" fmla="*/ 11244512 w 12192000"/>
              <a:gd name="connsiteY96" fmla="*/ 1035119 h 6858000"/>
              <a:gd name="connsiteX97" fmla="*/ 11249509 w 12192000"/>
              <a:gd name="connsiteY97" fmla="*/ 1043546 h 6858000"/>
              <a:gd name="connsiteX98" fmla="*/ 11261463 w 12192000"/>
              <a:gd name="connsiteY98" fmla="*/ 1043546 h 6858000"/>
              <a:gd name="connsiteX99" fmla="*/ 11253037 w 12192000"/>
              <a:gd name="connsiteY99" fmla="*/ 1028064 h 6858000"/>
              <a:gd name="connsiteX100" fmla="*/ 11233832 w 12192000"/>
              <a:gd name="connsiteY100" fmla="*/ 1022185 h 6858000"/>
              <a:gd name="connsiteX101" fmla="*/ 11071765 w 12192000"/>
              <a:gd name="connsiteY101" fmla="*/ 1022185 h 6858000"/>
              <a:gd name="connsiteX102" fmla="*/ 11050601 w 12192000"/>
              <a:gd name="connsiteY102" fmla="*/ 1027672 h 6858000"/>
              <a:gd name="connsiteX103" fmla="*/ 11035511 w 12192000"/>
              <a:gd name="connsiteY103" fmla="*/ 1042860 h 6858000"/>
              <a:gd name="connsiteX104" fmla="*/ 11029926 w 12192000"/>
              <a:gd name="connsiteY104" fmla="*/ 1064808 h 6858000"/>
              <a:gd name="connsiteX105" fmla="*/ 11035511 w 12192000"/>
              <a:gd name="connsiteY105" fmla="*/ 1086757 h 6858000"/>
              <a:gd name="connsiteX106" fmla="*/ 11050601 w 12192000"/>
              <a:gd name="connsiteY106" fmla="*/ 1101944 h 6858000"/>
              <a:gd name="connsiteX107" fmla="*/ 11071765 w 12192000"/>
              <a:gd name="connsiteY107" fmla="*/ 1107137 h 6858000"/>
              <a:gd name="connsiteX108" fmla="*/ 11093027 w 12192000"/>
              <a:gd name="connsiteY108" fmla="*/ 1101748 h 6858000"/>
              <a:gd name="connsiteX109" fmla="*/ 11108117 w 12192000"/>
              <a:gd name="connsiteY109" fmla="*/ 1086659 h 6858000"/>
              <a:gd name="connsiteX110" fmla="*/ 11113604 w 12192000"/>
              <a:gd name="connsiteY110" fmla="*/ 1064710 h 6858000"/>
              <a:gd name="connsiteX111" fmla="*/ 11108117 w 12192000"/>
              <a:gd name="connsiteY111" fmla="*/ 1042762 h 6858000"/>
              <a:gd name="connsiteX112" fmla="*/ 11093027 w 12192000"/>
              <a:gd name="connsiteY112" fmla="*/ 1027672 h 6858000"/>
              <a:gd name="connsiteX113" fmla="*/ 11071765 w 12192000"/>
              <a:gd name="connsiteY113" fmla="*/ 1022185 h 6858000"/>
              <a:gd name="connsiteX114" fmla="*/ 10980934 w 12192000"/>
              <a:gd name="connsiteY114" fmla="*/ 1022087 h 6858000"/>
              <a:gd name="connsiteX115" fmla="*/ 10959770 w 12192000"/>
              <a:gd name="connsiteY115" fmla="*/ 1027574 h 6858000"/>
              <a:gd name="connsiteX116" fmla="*/ 10944778 w 12192000"/>
              <a:gd name="connsiteY116" fmla="*/ 1042860 h 6858000"/>
              <a:gd name="connsiteX117" fmla="*/ 10939193 w 12192000"/>
              <a:gd name="connsiteY117" fmla="*/ 1064906 h 6858000"/>
              <a:gd name="connsiteX118" fmla="*/ 10944680 w 12192000"/>
              <a:gd name="connsiteY118" fmla="*/ 1086757 h 6858000"/>
              <a:gd name="connsiteX119" fmla="*/ 10959770 w 12192000"/>
              <a:gd name="connsiteY119" fmla="*/ 1101846 h 6858000"/>
              <a:gd name="connsiteX120" fmla="*/ 10980934 w 12192000"/>
              <a:gd name="connsiteY120" fmla="*/ 1107235 h 6858000"/>
              <a:gd name="connsiteX121" fmla="*/ 11004647 w 12192000"/>
              <a:gd name="connsiteY121" fmla="*/ 1100768 h 6858000"/>
              <a:gd name="connsiteX122" fmla="*/ 11019442 w 12192000"/>
              <a:gd name="connsiteY122" fmla="*/ 1082249 h 6858000"/>
              <a:gd name="connsiteX123" fmla="*/ 11006410 w 12192000"/>
              <a:gd name="connsiteY123" fmla="*/ 1082249 h 6858000"/>
              <a:gd name="connsiteX124" fmla="*/ 10996416 w 12192000"/>
              <a:gd name="connsiteY124" fmla="*/ 1093812 h 6858000"/>
              <a:gd name="connsiteX125" fmla="*/ 10980836 w 12192000"/>
              <a:gd name="connsiteY125" fmla="*/ 1097829 h 6858000"/>
              <a:gd name="connsiteX126" fmla="*/ 10965159 w 12192000"/>
              <a:gd name="connsiteY126" fmla="*/ 1093713 h 6858000"/>
              <a:gd name="connsiteX127" fmla="*/ 10954283 w 12192000"/>
              <a:gd name="connsiteY127" fmla="*/ 1082151 h 6858000"/>
              <a:gd name="connsiteX128" fmla="*/ 10950363 w 12192000"/>
              <a:gd name="connsiteY128" fmla="*/ 1064808 h 6858000"/>
              <a:gd name="connsiteX129" fmla="*/ 10954283 w 12192000"/>
              <a:gd name="connsiteY129" fmla="*/ 1047269 h 6858000"/>
              <a:gd name="connsiteX130" fmla="*/ 10965159 w 12192000"/>
              <a:gd name="connsiteY130" fmla="*/ 1035707 h 6858000"/>
              <a:gd name="connsiteX131" fmla="*/ 10980836 w 12192000"/>
              <a:gd name="connsiteY131" fmla="*/ 1031591 h 6858000"/>
              <a:gd name="connsiteX132" fmla="*/ 10996416 w 12192000"/>
              <a:gd name="connsiteY132" fmla="*/ 1035707 h 6858000"/>
              <a:gd name="connsiteX133" fmla="*/ 11006410 w 12192000"/>
              <a:gd name="connsiteY133" fmla="*/ 1047269 h 6858000"/>
              <a:gd name="connsiteX134" fmla="*/ 11019442 w 12192000"/>
              <a:gd name="connsiteY134" fmla="*/ 1047269 h 6858000"/>
              <a:gd name="connsiteX135" fmla="*/ 11004647 w 12192000"/>
              <a:gd name="connsiteY135" fmla="*/ 1028652 h 6858000"/>
              <a:gd name="connsiteX136" fmla="*/ 10980934 w 12192000"/>
              <a:gd name="connsiteY136" fmla="*/ 1022087 h 6858000"/>
              <a:gd name="connsiteX137" fmla="*/ 11600880 w 12192000"/>
              <a:gd name="connsiteY137" fmla="*/ 1021891 h 6858000"/>
              <a:gd name="connsiteX138" fmla="*/ 11577266 w 12192000"/>
              <a:gd name="connsiteY138" fmla="*/ 1027966 h 6858000"/>
              <a:gd name="connsiteX139" fmla="*/ 11561687 w 12192000"/>
              <a:gd name="connsiteY139" fmla="*/ 1043252 h 6858000"/>
              <a:gd name="connsiteX140" fmla="*/ 11556200 w 12192000"/>
              <a:gd name="connsiteY140" fmla="*/ 1063927 h 6858000"/>
              <a:gd name="connsiteX141" fmla="*/ 11562373 w 12192000"/>
              <a:gd name="connsiteY141" fmla="*/ 1085679 h 6858000"/>
              <a:gd name="connsiteX142" fmla="*/ 11578148 w 12192000"/>
              <a:gd name="connsiteY142" fmla="*/ 1101846 h 6858000"/>
              <a:gd name="connsiteX143" fmla="*/ 11598823 w 12192000"/>
              <a:gd name="connsiteY143" fmla="*/ 1107334 h 6858000"/>
              <a:gd name="connsiteX144" fmla="*/ 11619889 w 12192000"/>
              <a:gd name="connsiteY144" fmla="*/ 1101455 h 6858000"/>
              <a:gd name="connsiteX145" fmla="*/ 11634685 w 12192000"/>
              <a:gd name="connsiteY145" fmla="*/ 1087149 h 6858000"/>
              <a:gd name="connsiteX146" fmla="*/ 11640466 w 12192000"/>
              <a:gd name="connsiteY146" fmla="*/ 1068140 h 6858000"/>
              <a:gd name="connsiteX147" fmla="*/ 11636644 w 12192000"/>
              <a:gd name="connsiteY147" fmla="*/ 1048641 h 6858000"/>
              <a:gd name="connsiteX148" fmla="*/ 11632529 w 12192000"/>
              <a:gd name="connsiteY148" fmla="*/ 1041390 h 6858000"/>
              <a:gd name="connsiteX149" fmla="*/ 11593728 w 12192000"/>
              <a:gd name="connsiteY149" fmla="*/ 1063828 h 6858000"/>
              <a:gd name="connsiteX150" fmla="*/ 11598137 w 12192000"/>
              <a:gd name="connsiteY150" fmla="*/ 1071471 h 6858000"/>
              <a:gd name="connsiteX151" fmla="*/ 11626944 w 12192000"/>
              <a:gd name="connsiteY151" fmla="*/ 1054814 h 6858000"/>
              <a:gd name="connsiteX152" fmla="*/ 11628904 w 12192000"/>
              <a:gd name="connsiteY152" fmla="*/ 1076468 h 6858000"/>
              <a:gd name="connsiteX153" fmla="*/ 11615186 w 12192000"/>
              <a:gd name="connsiteY153" fmla="*/ 1092832 h 6858000"/>
              <a:gd name="connsiteX154" fmla="*/ 11599607 w 12192000"/>
              <a:gd name="connsiteY154" fmla="*/ 1097241 h 6858000"/>
              <a:gd name="connsiteX155" fmla="*/ 11584419 w 12192000"/>
              <a:gd name="connsiteY155" fmla="*/ 1092832 h 6858000"/>
              <a:gd name="connsiteX156" fmla="*/ 11572367 w 12192000"/>
              <a:gd name="connsiteY156" fmla="*/ 1079898 h 6858000"/>
              <a:gd name="connsiteX157" fmla="*/ 11567174 w 12192000"/>
              <a:gd name="connsiteY157" fmla="*/ 1062947 h 6858000"/>
              <a:gd name="connsiteX158" fmla="*/ 11570897 w 12192000"/>
              <a:gd name="connsiteY158" fmla="*/ 1047465 h 6858000"/>
              <a:gd name="connsiteX159" fmla="*/ 11582459 w 12192000"/>
              <a:gd name="connsiteY159" fmla="*/ 1036099 h 6858000"/>
              <a:gd name="connsiteX160" fmla="*/ 11597745 w 12192000"/>
              <a:gd name="connsiteY160" fmla="*/ 1031984 h 6858000"/>
              <a:gd name="connsiteX161" fmla="*/ 11612051 w 12192000"/>
              <a:gd name="connsiteY161" fmla="*/ 1036785 h 6858000"/>
              <a:gd name="connsiteX162" fmla="*/ 11623025 w 12192000"/>
              <a:gd name="connsiteY162" fmla="*/ 1030514 h 6858000"/>
              <a:gd name="connsiteX163" fmla="*/ 11600880 w 12192000"/>
              <a:gd name="connsiteY163" fmla="*/ 1021891 h 6858000"/>
              <a:gd name="connsiteX164" fmla="*/ 11129478 w 12192000"/>
              <a:gd name="connsiteY164" fmla="*/ 866684 h 6858000"/>
              <a:gd name="connsiteX165" fmla="*/ 11162695 w 12192000"/>
              <a:gd name="connsiteY165" fmla="*/ 880598 h 6858000"/>
              <a:gd name="connsiteX166" fmla="*/ 11084700 w 12192000"/>
              <a:gd name="connsiteY166" fmla="*/ 925671 h 6858000"/>
              <a:gd name="connsiteX167" fmla="*/ 11082936 w 12192000"/>
              <a:gd name="connsiteY167" fmla="*/ 913227 h 6858000"/>
              <a:gd name="connsiteX168" fmla="*/ 11129478 w 12192000"/>
              <a:gd name="connsiteY168" fmla="*/ 866684 h 6858000"/>
              <a:gd name="connsiteX169" fmla="*/ 11196891 w 12192000"/>
              <a:gd name="connsiteY169" fmla="*/ 841894 h 6858000"/>
              <a:gd name="connsiteX170" fmla="*/ 11252154 w 12192000"/>
              <a:gd name="connsiteY170" fmla="*/ 984755 h 6858000"/>
              <a:gd name="connsiteX171" fmla="*/ 11281843 w 12192000"/>
              <a:gd name="connsiteY171" fmla="*/ 984755 h 6858000"/>
              <a:gd name="connsiteX172" fmla="*/ 11337008 w 12192000"/>
              <a:gd name="connsiteY172" fmla="*/ 841894 h 6858000"/>
              <a:gd name="connsiteX173" fmla="*/ 11308593 w 12192000"/>
              <a:gd name="connsiteY173" fmla="*/ 841894 h 6858000"/>
              <a:gd name="connsiteX174" fmla="*/ 11266950 w 12192000"/>
              <a:gd name="connsiteY174" fmla="*/ 949481 h 6858000"/>
              <a:gd name="connsiteX175" fmla="*/ 11225306 w 12192000"/>
              <a:gd name="connsiteY175" fmla="*/ 841894 h 6858000"/>
              <a:gd name="connsiteX176" fmla="*/ 10971724 w 12192000"/>
              <a:gd name="connsiteY176" fmla="*/ 841894 h 6858000"/>
              <a:gd name="connsiteX177" fmla="*/ 10938507 w 12192000"/>
              <a:gd name="connsiteY177" fmla="*/ 875111 h 6858000"/>
              <a:gd name="connsiteX178" fmla="*/ 10938507 w 12192000"/>
              <a:gd name="connsiteY178" fmla="*/ 984755 h 6858000"/>
              <a:gd name="connsiteX179" fmla="*/ 10965159 w 12192000"/>
              <a:gd name="connsiteY179" fmla="*/ 984755 h 6858000"/>
              <a:gd name="connsiteX180" fmla="*/ 10965159 w 12192000"/>
              <a:gd name="connsiteY180" fmla="*/ 931550 h 6858000"/>
              <a:gd name="connsiteX181" fmla="*/ 11028162 w 12192000"/>
              <a:gd name="connsiteY181" fmla="*/ 931550 h 6858000"/>
              <a:gd name="connsiteX182" fmla="*/ 11028162 w 12192000"/>
              <a:gd name="connsiteY182" fmla="*/ 908327 h 6858000"/>
              <a:gd name="connsiteX183" fmla="*/ 10965061 w 12192000"/>
              <a:gd name="connsiteY183" fmla="*/ 908327 h 6858000"/>
              <a:gd name="connsiteX184" fmla="*/ 10965061 w 12192000"/>
              <a:gd name="connsiteY184" fmla="*/ 875111 h 6858000"/>
              <a:gd name="connsiteX185" fmla="*/ 10971625 w 12192000"/>
              <a:gd name="connsiteY185" fmla="*/ 868546 h 6858000"/>
              <a:gd name="connsiteX186" fmla="*/ 11054716 w 12192000"/>
              <a:gd name="connsiteY186" fmla="*/ 868546 h 6858000"/>
              <a:gd name="connsiteX187" fmla="*/ 11054716 w 12192000"/>
              <a:gd name="connsiteY187" fmla="*/ 868350 h 6858000"/>
              <a:gd name="connsiteX188" fmla="*/ 11054814 w 12192000"/>
              <a:gd name="connsiteY188" fmla="*/ 868350 h 6858000"/>
              <a:gd name="connsiteX189" fmla="*/ 11054814 w 12192000"/>
              <a:gd name="connsiteY189" fmla="*/ 841894 h 6858000"/>
              <a:gd name="connsiteX190" fmla="*/ 11129478 w 12192000"/>
              <a:gd name="connsiteY190" fmla="*/ 840326 h 6858000"/>
              <a:gd name="connsiteX191" fmla="*/ 11056382 w 12192000"/>
              <a:gd name="connsiteY191" fmla="*/ 913423 h 6858000"/>
              <a:gd name="connsiteX192" fmla="*/ 11061183 w 12192000"/>
              <a:gd name="connsiteY192" fmla="*/ 939486 h 6858000"/>
              <a:gd name="connsiteX193" fmla="*/ 11072843 w 12192000"/>
              <a:gd name="connsiteY193" fmla="*/ 959573 h 6858000"/>
              <a:gd name="connsiteX194" fmla="*/ 11129478 w 12192000"/>
              <a:gd name="connsiteY194" fmla="*/ 986519 h 6858000"/>
              <a:gd name="connsiteX195" fmla="*/ 11200321 w 12192000"/>
              <a:gd name="connsiteY195" fmla="*/ 931746 h 6858000"/>
              <a:gd name="connsiteX196" fmla="*/ 11172200 w 12192000"/>
              <a:gd name="connsiteY196" fmla="*/ 931452 h 6858000"/>
              <a:gd name="connsiteX197" fmla="*/ 11129380 w 12192000"/>
              <a:gd name="connsiteY197" fmla="*/ 959671 h 6858000"/>
              <a:gd name="connsiteX198" fmla="*/ 11096164 w 12192000"/>
              <a:gd name="connsiteY198" fmla="*/ 945757 h 6858000"/>
              <a:gd name="connsiteX199" fmla="*/ 11174257 w 12192000"/>
              <a:gd name="connsiteY199" fmla="*/ 900783 h 6858000"/>
              <a:gd name="connsiteX200" fmla="*/ 11197774 w 12192000"/>
              <a:gd name="connsiteY200" fmla="*/ 887261 h 6858000"/>
              <a:gd name="connsiteX201" fmla="*/ 11186113 w 12192000"/>
              <a:gd name="connsiteY201" fmla="*/ 867174 h 6858000"/>
              <a:gd name="connsiteX202" fmla="*/ 11129478 w 12192000"/>
              <a:gd name="connsiteY202" fmla="*/ 840326 h 6858000"/>
              <a:gd name="connsiteX203" fmla="*/ 0 w 12192000"/>
              <a:gd name="connsiteY203" fmla="*/ 0 h 6858000"/>
              <a:gd name="connsiteX204" fmla="*/ 12192000 w 12192000"/>
              <a:gd name="connsiteY204" fmla="*/ 0 h 6858000"/>
              <a:gd name="connsiteX205" fmla="*/ 12192000 w 12192000"/>
              <a:gd name="connsiteY205" fmla="*/ 6858000 h 6858000"/>
              <a:gd name="connsiteX206" fmla="*/ 0 w 12192000"/>
              <a:gd name="connsiteY20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</a:cxnLst>
            <a:rect l="l" t="t" r="r" b="b"/>
            <a:pathLst>
              <a:path w="12192000" h="6858000">
                <a:moveTo>
                  <a:pt x="11071667" y="1031592"/>
                </a:moveTo>
                <a:cubicBezTo>
                  <a:pt x="11077546" y="1031592"/>
                  <a:pt x="11082739" y="1032963"/>
                  <a:pt x="11087443" y="1035707"/>
                </a:cubicBezTo>
                <a:cubicBezTo>
                  <a:pt x="11092146" y="1038450"/>
                  <a:pt x="11095771" y="1042272"/>
                  <a:pt x="11098417" y="1047269"/>
                </a:cubicBezTo>
                <a:cubicBezTo>
                  <a:pt x="11101062" y="1052266"/>
                  <a:pt x="11102434" y="1058243"/>
                  <a:pt x="11102434" y="1064808"/>
                </a:cubicBezTo>
                <a:cubicBezTo>
                  <a:pt x="11102434" y="1071373"/>
                  <a:pt x="11101062" y="1077252"/>
                  <a:pt x="11098417" y="1082249"/>
                </a:cubicBezTo>
                <a:cubicBezTo>
                  <a:pt x="11095771" y="1087247"/>
                  <a:pt x="11092048" y="1091068"/>
                  <a:pt x="11087443" y="1093811"/>
                </a:cubicBezTo>
                <a:cubicBezTo>
                  <a:pt x="11082739" y="1096555"/>
                  <a:pt x="11077350" y="1097927"/>
                  <a:pt x="11071569" y="1097927"/>
                </a:cubicBezTo>
                <a:cubicBezTo>
                  <a:pt x="11065788" y="1097927"/>
                  <a:pt x="11060497" y="1096555"/>
                  <a:pt x="11055892" y="1093811"/>
                </a:cubicBezTo>
                <a:cubicBezTo>
                  <a:pt x="11051189" y="1091166"/>
                  <a:pt x="11047563" y="1087247"/>
                  <a:pt x="11044917" y="1082249"/>
                </a:cubicBezTo>
                <a:cubicBezTo>
                  <a:pt x="11042272" y="1077154"/>
                  <a:pt x="11040900" y="1071569"/>
                  <a:pt x="11040900" y="1064808"/>
                </a:cubicBezTo>
                <a:cubicBezTo>
                  <a:pt x="11040900" y="1058047"/>
                  <a:pt x="11042272" y="1052266"/>
                  <a:pt x="11044917" y="1047269"/>
                </a:cubicBezTo>
                <a:cubicBezTo>
                  <a:pt x="11047661" y="1042272"/>
                  <a:pt x="11051286" y="1038450"/>
                  <a:pt x="11055892" y="1035707"/>
                </a:cubicBezTo>
                <a:cubicBezTo>
                  <a:pt x="11060497" y="1032963"/>
                  <a:pt x="11065788" y="1031592"/>
                  <a:pt x="11071667" y="1031592"/>
                </a:cubicBezTo>
                <a:close/>
                <a:moveTo>
                  <a:pt x="11453414" y="1023165"/>
                </a:moveTo>
                <a:lnTo>
                  <a:pt x="11453414" y="1106550"/>
                </a:lnTo>
                <a:lnTo>
                  <a:pt x="11464290" y="1106550"/>
                </a:lnTo>
                <a:lnTo>
                  <a:pt x="11464290" y="1023165"/>
                </a:lnTo>
                <a:close/>
                <a:moveTo>
                  <a:pt x="11383551" y="1023165"/>
                </a:moveTo>
                <a:lnTo>
                  <a:pt x="11383551" y="1032082"/>
                </a:lnTo>
                <a:lnTo>
                  <a:pt x="11406480" y="1032082"/>
                </a:lnTo>
                <a:lnTo>
                  <a:pt x="11406480" y="1106550"/>
                </a:lnTo>
                <a:lnTo>
                  <a:pt x="11417356" y="1106550"/>
                </a:lnTo>
                <a:lnTo>
                  <a:pt x="11417356" y="1032082"/>
                </a:lnTo>
                <a:lnTo>
                  <a:pt x="11440088" y="1032082"/>
                </a:lnTo>
                <a:lnTo>
                  <a:pt x="11440088" y="1023165"/>
                </a:lnTo>
                <a:close/>
                <a:moveTo>
                  <a:pt x="11349845" y="1023165"/>
                </a:moveTo>
                <a:lnTo>
                  <a:pt x="11349845" y="1106550"/>
                </a:lnTo>
                <a:lnTo>
                  <a:pt x="11389823" y="1106550"/>
                </a:lnTo>
                <a:lnTo>
                  <a:pt x="11389823" y="1097633"/>
                </a:lnTo>
                <a:lnTo>
                  <a:pt x="11360721" y="1097633"/>
                </a:lnTo>
                <a:lnTo>
                  <a:pt x="11360721" y="1023165"/>
                </a:lnTo>
                <a:close/>
                <a:moveTo>
                  <a:pt x="11273809" y="1023165"/>
                </a:moveTo>
                <a:lnTo>
                  <a:pt x="11273809" y="1075783"/>
                </a:lnTo>
                <a:cubicBezTo>
                  <a:pt x="11273809" y="1082740"/>
                  <a:pt x="11275181" y="1088619"/>
                  <a:pt x="11277924" y="1093322"/>
                </a:cubicBezTo>
                <a:cubicBezTo>
                  <a:pt x="11280668" y="1098025"/>
                  <a:pt x="11284391" y="1101553"/>
                  <a:pt x="11289095" y="1103905"/>
                </a:cubicBezTo>
                <a:cubicBezTo>
                  <a:pt x="11293896" y="1106256"/>
                  <a:pt x="11299187" y="1107334"/>
                  <a:pt x="11305066" y="1107334"/>
                </a:cubicBezTo>
                <a:cubicBezTo>
                  <a:pt x="11310945" y="1107334"/>
                  <a:pt x="11316334" y="1106256"/>
                  <a:pt x="11321038" y="1103905"/>
                </a:cubicBezTo>
                <a:cubicBezTo>
                  <a:pt x="11325741" y="1101553"/>
                  <a:pt x="11329464" y="1098025"/>
                  <a:pt x="11332306" y="1093322"/>
                </a:cubicBezTo>
                <a:cubicBezTo>
                  <a:pt x="11335049" y="1088619"/>
                  <a:pt x="11336421" y="1082740"/>
                  <a:pt x="11336421" y="1075783"/>
                </a:cubicBezTo>
                <a:lnTo>
                  <a:pt x="11336421" y="1023165"/>
                </a:lnTo>
                <a:lnTo>
                  <a:pt x="11325545" y="1023165"/>
                </a:lnTo>
                <a:lnTo>
                  <a:pt x="11325545" y="1075881"/>
                </a:lnTo>
                <a:cubicBezTo>
                  <a:pt x="11325545" y="1083230"/>
                  <a:pt x="11323781" y="1088717"/>
                  <a:pt x="11320156" y="1092342"/>
                </a:cubicBezTo>
                <a:cubicBezTo>
                  <a:pt x="11316432" y="1095968"/>
                  <a:pt x="11311533" y="1097732"/>
                  <a:pt x="11305066" y="1097732"/>
                </a:cubicBezTo>
                <a:cubicBezTo>
                  <a:pt x="11298599" y="1097732"/>
                  <a:pt x="11293602" y="1095968"/>
                  <a:pt x="11289977" y="1092342"/>
                </a:cubicBezTo>
                <a:cubicBezTo>
                  <a:pt x="11286449" y="1088815"/>
                  <a:pt x="11284587" y="1083328"/>
                  <a:pt x="11284587" y="1075881"/>
                </a:cubicBezTo>
                <a:lnTo>
                  <a:pt x="11284587" y="1023165"/>
                </a:lnTo>
                <a:close/>
                <a:moveTo>
                  <a:pt x="11477616" y="1023067"/>
                </a:moveTo>
                <a:lnTo>
                  <a:pt x="11477616" y="1106550"/>
                </a:lnTo>
                <a:lnTo>
                  <a:pt x="11488492" y="1106550"/>
                </a:lnTo>
                <a:lnTo>
                  <a:pt x="11488492" y="1040117"/>
                </a:lnTo>
                <a:lnTo>
                  <a:pt x="11532291" y="1106550"/>
                </a:lnTo>
                <a:lnTo>
                  <a:pt x="11543167" y="1106550"/>
                </a:lnTo>
                <a:lnTo>
                  <a:pt x="11543167" y="1023067"/>
                </a:lnTo>
                <a:lnTo>
                  <a:pt x="11532291" y="1023067"/>
                </a:lnTo>
                <a:lnTo>
                  <a:pt x="11532291" y="1089305"/>
                </a:lnTo>
                <a:lnTo>
                  <a:pt x="11488492" y="1023067"/>
                </a:lnTo>
                <a:close/>
                <a:moveTo>
                  <a:pt x="11126931" y="1023067"/>
                </a:moveTo>
                <a:lnTo>
                  <a:pt x="11126931" y="1106550"/>
                </a:lnTo>
                <a:lnTo>
                  <a:pt x="11137807" y="1106550"/>
                </a:lnTo>
                <a:lnTo>
                  <a:pt x="11137807" y="1040117"/>
                </a:lnTo>
                <a:lnTo>
                  <a:pt x="11181606" y="1106550"/>
                </a:lnTo>
                <a:lnTo>
                  <a:pt x="11192482" y="1106550"/>
                </a:lnTo>
                <a:lnTo>
                  <a:pt x="11192482" y="1023067"/>
                </a:lnTo>
                <a:lnTo>
                  <a:pt x="11181606" y="1023067"/>
                </a:lnTo>
                <a:lnTo>
                  <a:pt x="11181606" y="1089305"/>
                </a:lnTo>
                <a:lnTo>
                  <a:pt x="11137807" y="1023067"/>
                </a:lnTo>
                <a:close/>
                <a:moveTo>
                  <a:pt x="11233832" y="1022185"/>
                </a:moveTo>
                <a:cubicBezTo>
                  <a:pt x="11228345" y="1022185"/>
                  <a:pt x="11223543" y="1023067"/>
                  <a:pt x="11219428" y="1025027"/>
                </a:cubicBezTo>
                <a:cubicBezTo>
                  <a:pt x="11215215" y="1026888"/>
                  <a:pt x="11211981" y="1029632"/>
                  <a:pt x="11209629" y="1033159"/>
                </a:cubicBezTo>
                <a:cubicBezTo>
                  <a:pt x="11207278" y="1036687"/>
                  <a:pt x="11206200" y="1040704"/>
                  <a:pt x="11206200" y="1045211"/>
                </a:cubicBezTo>
                <a:cubicBezTo>
                  <a:pt x="11206200" y="1050306"/>
                  <a:pt x="11207376" y="1054520"/>
                  <a:pt x="11209727" y="1057557"/>
                </a:cubicBezTo>
                <a:cubicBezTo>
                  <a:pt x="11211981" y="1060595"/>
                  <a:pt x="11214823" y="1062849"/>
                  <a:pt x="11218154" y="1064318"/>
                </a:cubicBezTo>
                <a:cubicBezTo>
                  <a:pt x="11221486" y="1065788"/>
                  <a:pt x="11225895" y="1067160"/>
                  <a:pt x="11231382" y="1068630"/>
                </a:cubicBezTo>
                <a:cubicBezTo>
                  <a:pt x="11235889" y="1069805"/>
                  <a:pt x="11239417" y="1070883"/>
                  <a:pt x="11242062" y="1071961"/>
                </a:cubicBezTo>
                <a:cubicBezTo>
                  <a:pt x="11244708" y="1072941"/>
                  <a:pt x="11246864" y="1074509"/>
                  <a:pt x="11248627" y="1076468"/>
                </a:cubicBezTo>
                <a:cubicBezTo>
                  <a:pt x="11250391" y="1078428"/>
                  <a:pt x="11251273" y="1080976"/>
                  <a:pt x="11251273" y="1084209"/>
                </a:cubicBezTo>
                <a:cubicBezTo>
                  <a:pt x="11251273" y="1088324"/>
                  <a:pt x="11249705" y="1091656"/>
                  <a:pt x="11246766" y="1094203"/>
                </a:cubicBezTo>
                <a:cubicBezTo>
                  <a:pt x="11243826" y="1096849"/>
                  <a:pt x="11239907" y="1098123"/>
                  <a:pt x="11234518" y="1098123"/>
                </a:cubicBezTo>
                <a:cubicBezTo>
                  <a:pt x="11229128" y="1098123"/>
                  <a:pt x="11225013" y="1096653"/>
                  <a:pt x="11222171" y="1094105"/>
                </a:cubicBezTo>
                <a:cubicBezTo>
                  <a:pt x="11219330" y="1091558"/>
                  <a:pt x="11217762" y="1088226"/>
                  <a:pt x="11217370" y="1084307"/>
                </a:cubicBezTo>
                <a:lnTo>
                  <a:pt x="11205808" y="1084307"/>
                </a:lnTo>
                <a:cubicBezTo>
                  <a:pt x="11205906" y="1088912"/>
                  <a:pt x="11207180" y="1092930"/>
                  <a:pt x="11209629" y="1096359"/>
                </a:cubicBezTo>
                <a:cubicBezTo>
                  <a:pt x="11212177" y="1099887"/>
                  <a:pt x="11215607" y="1102532"/>
                  <a:pt x="11219918" y="1104492"/>
                </a:cubicBezTo>
                <a:cubicBezTo>
                  <a:pt x="11224131" y="1106354"/>
                  <a:pt x="11228834" y="1107333"/>
                  <a:pt x="11234518" y="1107235"/>
                </a:cubicBezTo>
                <a:cubicBezTo>
                  <a:pt x="11240299" y="1107235"/>
                  <a:pt x="11245296" y="1106158"/>
                  <a:pt x="11249509" y="1103904"/>
                </a:cubicBezTo>
                <a:cubicBezTo>
                  <a:pt x="11253722" y="1101650"/>
                  <a:pt x="11256956" y="1098809"/>
                  <a:pt x="11259112" y="1095183"/>
                </a:cubicBezTo>
                <a:cubicBezTo>
                  <a:pt x="11261267" y="1091656"/>
                  <a:pt x="11262345" y="1087834"/>
                  <a:pt x="11262345" y="1083719"/>
                </a:cubicBezTo>
                <a:cubicBezTo>
                  <a:pt x="11262345" y="1078526"/>
                  <a:pt x="11261071" y="1074313"/>
                  <a:pt x="11258720" y="1071275"/>
                </a:cubicBezTo>
                <a:cubicBezTo>
                  <a:pt x="11256368" y="1068238"/>
                  <a:pt x="11253429" y="1065984"/>
                  <a:pt x="11250097" y="1064514"/>
                </a:cubicBezTo>
                <a:cubicBezTo>
                  <a:pt x="11246766" y="1063045"/>
                  <a:pt x="11242356" y="1061575"/>
                  <a:pt x="11236869" y="1060007"/>
                </a:cubicBezTo>
                <a:cubicBezTo>
                  <a:pt x="11232362" y="1058733"/>
                  <a:pt x="11228737" y="1057557"/>
                  <a:pt x="11226287" y="1056577"/>
                </a:cubicBezTo>
                <a:cubicBezTo>
                  <a:pt x="11223739" y="1055500"/>
                  <a:pt x="11221584" y="1054128"/>
                  <a:pt x="11219918" y="1052168"/>
                </a:cubicBezTo>
                <a:cubicBezTo>
                  <a:pt x="11218252" y="1050209"/>
                  <a:pt x="11217370" y="1047759"/>
                  <a:pt x="11217370" y="1044722"/>
                </a:cubicBezTo>
                <a:cubicBezTo>
                  <a:pt x="11217370" y="1040508"/>
                  <a:pt x="11218742" y="1037275"/>
                  <a:pt x="11221681" y="1034923"/>
                </a:cubicBezTo>
                <a:cubicBezTo>
                  <a:pt x="11224621" y="1032571"/>
                  <a:pt x="11228050" y="1031396"/>
                  <a:pt x="11232852" y="1031396"/>
                </a:cubicBezTo>
                <a:cubicBezTo>
                  <a:pt x="11237653" y="1031396"/>
                  <a:pt x="11241572" y="1032767"/>
                  <a:pt x="11244512" y="1035119"/>
                </a:cubicBezTo>
                <a:cubicBezTo>
                  <a:pt x="11247451" y="1037569"/>
                  <a:pt x="11249117" y="1040312"/>
                  <a:pt x="11249509" y="1043546"/>
                </a:cubicBezTo>
                <a:lnTo>
                  <a:pt x="11261463" y="1043546"/>
                </a:lnTo>
                <a:cubicBezTo>
                  <a:pt x="11260778" y="1037177"/>
                  <a:pt x="11258034" y="1031984"/>
                  <a:pt x="11253037" y="1028064"/>
                </a:cubicBezTo>
                <a:cubicBezTo>
                  <a:pt x="11248039" y="1024145"/>
                  <a:pt x="11241670" y="1022185"/>
                  <a:pt x="11233832" y="1022185"/>
                </a:cubicBezTo>
                <a:close/>
                <a:moveTo>
                  <a:pt x="11071765" y="1022185"/>
                </a:moveTo>
                <a:cubicBezTo>
                  <a:pt x="11064024" y="1022185"/>
                  <a:pt x="11056970" y="1024047"/>
                  <a:pt x="11050601" y="1027672"/>
                </a:cubicBezTo>
                <a:cubicBezTo>
                  <a:pt x="11044232" y="1031297"/>
                  <a:pt x="11039234" y="1036393"/>
                  <a:pt x="11035511" y="1042860"/>
                </a:cubicBezTo>
                <a:cubicBezTo>
                  <a:pt x="11031788" y="1049327"/>
                  <a:pt x="11029926" y="1056675"/>
                  <a:pt x="11029926" y="1064808"/>
                </a:cubicBezTo>
                <a:cubicBezTo>
                  <a:pt x="11029926" y="1072941"/>
                  <a:pt x="11031788" y="1080290"/>
                  <a:pt x="11035511" y="1086757"/>
                </a:cubicBezTo>
                <a:cubicBezTo>
                  <a:pt x="11039136" y="1093223"/>
                  <a:pt x="11044232" y="1098319"/>
                  <a:pt x="11050601" y="1101944"/>
                </a:cubicBezTo>
                <a:cubicBezTo>
                  <a:pt x="11056872" y="1105569"/>
                  <a:pt x="11063926" y="1107137"/>
                  <a:pt x="11071765" y="1107137"/>
                </a:cubicBezTo>
                <a:cubicBezTo>
                  <a:pt x="11079604" y="1107137"/>
                  <a:pt x="11086658" y="1105374"/>
                  <a:pt x="11093027" y="1101748"/>
                </a:cubicBezTo>
                <a:cubicBezTo>
                  <a:pt x="11099396" y="1098221"/>
                  <a:pt x="11104492" y="1093126"/>
                  <a:pt x="11108117" y="1086659"/>
                </a:cubicBezTo>
                <a:cubicBezTo>
                  <a:pt x="11111742" y="1080191"/>
                  <a:pt x="11113604" y="1072843"/>
                  <a:pt x="11113604" y="1064710"/>
                </a:cubicBezTo>
                <a:cubicBezTo>
                  <a:pt x="11113604" y="1056577"/>
                  <a:pt x="11111840" y="1049229"/>
                  <a:pt x="11108117" y="1042762"/>
                </a:cubicBezTo>
                <a:cubicBezTo>
                  <a:pt x="11104394" y="1036295"/>
                  <a:pt x="11099396" y="1031297"/>
                  <a:pt x="11093027" y="1027672"/>
                </a:cubicBezTo>
                <a:cubicBezTo>
                  <a:pt x="11086658" y="1024047"/>
                  <a:pt x="11079506" y="1022185"/>
                  <a:pt x="11071765" y="1022185"/>
                </a:cubicBezTo>
                <a:close/>
                <a:moveTo>
                  <a:pt x="10980934" y="1022087"/>
                </a:moveTo>
                <a:cubicBezTo>
                  <a:pt x="10973096" y="1022087"/>
                  <a:pt x="10966139" y="1023851"/>
                  <a:pt x="10959770" y="1027574"/>
                </a:cubicBezTo>
                <a:cubicBezTo>
                  <a:pt x="10953401" y="1031298"/>
                  <a:pt x="10948502" y="1036393"/>
                  <a:pt x="10944778" y="1042860"/>
                </a:cubicBezTo>
                <a:cubicBezTo>
                  <a:pt x="10941055" y="1049327"/>
                  <a:pt x="10939193" y="1056774"/>
                  <a:pt x="10939193" y="1064906"/>
                </a:cubicBezTo>
                <a:cubicBezTo>
                  <a:pt x="10939193" y="1073039"/>
                  <a:pt x="10940957" y="1080290"/>
                  <a:pt x="10944680" y="1086757"/>
                </a:cubicBezTo>
                <a:cubicBezTo>
                  <a:pt x="10948403" y="1093224"/>
                  <a:pt x="10953499" y="1098221"/>
                  <a:pt x="10959770" y="1101846"/>
                </a:cubicBezTo>
                <a:cubicBezTo>
                  <a:pt x="10966139" y="1105374"/>
                  <a:pt x="10973193" y="1107235"/>
                  <a:pt x="10980934" y="1107235"/>
                </a:cubicBezTo>
                <a:cubicBezTo>
                  <a:pt x="10989949" y="1107235"/>
                  <a:pt x="10997886" y="1105080"/>
                  <a:pt x="11004647" y="1100768"/>
                </a:cubicBezTo>
                <a:cubicBezTo>
                  <a:pt x="11011407" y="1096457"/>
                  <a:pt x="11016307" y="1090284"/>
                  <a:pt x="11019442" y="1082249"/>
                </a:cubicBezTo>
                <a:lnTo>
                  <a:pt x="11006410" y="1082249"/>
                </a:lnTo>
                <a:cubicBezTo>
                  <a:pt x="11004059" y="1087344"/>
                  <a:pt x="11000727" y="1091166"/>
                  <a:pt x="10996416" y="1093812"/>
                </a:cubicBezTo>
                <a:cubicBezTo>
                  <a:pt x="10992105" y="1096457"/>
                  <a:pt x="10986715" y="1097829"/>
                  <a:pt x="10980836" y="1097829"/>
                </a:cubicBezTo>
                <a:cubicBezTo>
                  <a:pt x="10974957" y="1097829"/>
                  <a:pt x="10969764" y="1096457"/>
                  <a:pt x="10965159" y="1093713"/>
                </a:cubicBezTo>
                <a:cubicBezTo>
                  <a:pt x="10960554" y="1090970"/>
                  <a:pt x="10956928" y="1087149"/>
                  <a:pt x="10954283" y="1082151"/>
                </a:cubicBezTo>
                <a:cubicBezTo>
                  <a:pt x="10951637" y="1077154"/>
                  <a:pt x="10950363" y="1071569"/>
                  <a:pt x="10950363" y="1064808"/>
                </a:cubicBezTo>
                <a:cubicBezTo>
                  <a:pt x="10950363" y="1058047"/>
                  <a:pt x="10951637" y="1052266"/>
                  <a:pt x="10954283" y="1047269"/>
                </a:cubicBezTo>
                <a:cubicBezTo>
                  <a:pt x="10956928" y="1042272"/>
                  <a:pt x="10960554" y="1038450"/>
                  <a:pt x="10965159" y="1035707"/>
                </a:cubicBezTo>
                <a:cubicBezTo>
                  <a:pt x="10969764" y="1032963"/>
                  <a:pt x="10974761" y="1031591"/>
                  <a:pt x="10980836" y="1031591"/>
                </a:cubicBezTo>
                <a:cubicBezTo>
                  <a:pt x="10986911" y="1031591"/>
                  <a:pt x="10992105" y="1032963"/>
                  <a:pt x="10996416" y="1035707"/>
                </a:cubicBezTo>
                <a:cubicBezTo>
                  <a:pt x="11000825" y="1038352"/>
                  <a:pt x="11004059" y="1042272"/>
                  <a:pt x="11006410" y="1047269"/>
                </a:cubicBezTo>
                <a:lnTo>
                  <a:pt x="11019442" y="1047269"/>
                </a:lnTo>
                <a:cubicBezTo>
                  <a:pt x="11016307" y="1039332"/>
                  <a:pt x="11011407" y="1033061"/>
                  <a:pt x="11004647" y="1028652"/>
                </a:cubicBezTo>
                <a:cubicBezTo>
                  <a:pt x="10997984" y="1024243"/>
                  <a:pt x="10990047" y="1022087"/>
                  <a:pt x="10980934" y="1022087"/>
                </a:cubicBezTo>
                <a:close/>
                <a:moveTo>
                  <a:pt x="11600880" y="1021891"/>
                </a:moveTo>
                <a:cubicBezTo>
                  <a:pt x="11592748" y="1021499"/>
                  <a:pt x="11584909" y="1023557"/>
                  <a:pt x="11577266" y="1027966"/>
                </a:cubicBezTo>
                <a:cubicBezTo>
                  <a:pt x="11570603" y="1031788"/>
                  <a:pt x="11565410" y="1036981"/>
                  <a:pt x="11561687" y="1043252"/>
                </a:cubicBezTo>
                <a:cubicBezTo>
                  <a:pt x="11557963" y="1049523"/>
                  <a:pt x="11556102" y="1056480"/>
                  <a:pt x="11556200" y="1063927"/>
                </a:cubicBezTo>
                <a:cubicBezTo>
                  <a:pt x="11556298" y="1071373"/>
                  <a:pt x="11558257" y="1078624"/>
                  <a:pt x="11562373" y="1085679"/>
                </a:cubicBezTo>
                <a:cubicBezTo>
                  <a:pt x="11566488" y="1092734"/>
                  <a:pt x="11571681" y="1098123"/>
                  <a:pt x="11578148" y="1101846"/>
                </a:cubicBezTo>
                <a:cubicBezTo>
                  <a:pt x="11584615" y="1105570"/>
                  <a:pt x="11591474" y="1107432"/>
                  <a:pt x="11598823" y="1107334"/>
                </a:cubicBezTo>
                <a:cubicBezTo>
                  <a:pt x="11606171" y="1107334"/>
                  <a:pt x="11613128" y="1105276"/>
                  <a:pt x="11619889" y="1101455"/>
                </a:cubicBezTo>
                <a:cubicBezTo>
                  <a:pt x="11626160" y="1097829"/>
                  <a:pt x="11631157" y="1093028"/>
                  <a:pt x="11634685" y="1087149"/>
                </a:cubicBezTo>
                <a:cubicBezTo>
                  <a:pt x="11638212" y="1081270"/>
                  <a:pt x="11640172" y="1074901"/>
                  <a:pt x="11640466" y="1068140"/>
                </a:cubicBezTo>
                <a:cubicBezTo>
                  <a:pt x="11640760" y="1061477"/>
                  <a:pt x="11639486" y="1054912"/>
                  <a:pt x="11636644" y="1048641"/>
                </a:cubicBezTo>
                <a:lnTo>
                  <a:pt x="11632529" y="1041390"/>
                </a:lnTo>
                <a:lnTo>
                  <a:pt x="11593728" y="1063828"/>
                </a:lnTo>
                <a:lnTo>
                  <a:pt x="11598137" y="1071471"/>
                </a:lnTo>
                <a:lnTo>
                  <a:pt x="11626944" y="1054814"/>
                </a:lnTo>
                <a:cubicBezTo>
                  <a:pt x="11630373" y="1062359"/>
                  <a:pt x="11631060" y="1069708"/>
                  <a:pt x="11628904" y="1076468"/>
                </a:cubicBezTo>
                <a:cubicBezTo>
                  <a:pt x="11626748" y="1083327"/>
                  <a:pt x="11622241" y="1088717"/>
                  <a:pt x="11615186" y="1092832"/>
                </a:cubicBezTo>
                <a:cubicBezTo>
                  <a:pt x="11610189" y="1095771"/>
                  <a:pt x="11604996" y="1097241"/>
                  <a:pt x="11599607" y="1097241"/>
                </a:cubicBezTo>
                <a:cubicBezTo>
                  <a:pt x="11594217" y="1097241"/>
                  <a:pt x="11589220" y="1095771"/>
                  <a:pt x="11584419" y="1092832"/>
                </a:cubicBezTo>
                <a:cubicBezTo>
                  <a:pt x="11579618" y="1089892"/>
                  <a:pt x="11575600" y="1085581"/>
                  <a:pt x="11572367" y="1079898"/>
                </a:cubicBezTo>
                <a:cubicBezTo>
                  <a:pt x="11569133" y="1074215"/>
                  <a:pt x="11567370" y="1068630"/>
                  <a:pt x="11567174" y="1062947"/>
                </a:cubicBezTo>
                <a:cubicBezTo>
                  <a:pt x="11566880" y="1057264"/>
                  <a:pt x="11568252" y="1052070"/>
                  <a:pt x="11570897" y="1047465"/>
                </a:cubicBezTo>
                <a:cubicBezTo>
                  <a:pt x="11573543" y="1042860"/>
                  <a:pt x="11577462" y="1038940"/>
                  <a:pt x="11582459" y="1036099"/>
                </a:cubicBezTo>
                <a:cubicBezTo>
                  <a:pt x="11587457" y="1033257"/>
                  <a:pt x="11592650" y="1031886"/>
                  <a:pt x="11597745" y="1031984"/>
                </a:cubicBezTo>
                <a:cubicBezTo>
                  <a:pt x="11602840" y="1032179"/>
                  <a:pt x="11607641" y="1033747"/>
                  <a:pt x="11612051" y="1036785"/>
                </a:cubicBezTo>
                <a:lnTo>
                  <a:pt x="11623025" y="1030514"/>
                </a:lnTo>
                <a:cubicBezTo>
                  <a:pt x="11616362" y="1025223"/>
                  <a:pt x="11609013" y="1022283"/>
                  <a:pt x="11600880" y="1021891"/>
                </a:cubicBezTo>
                <a:close/>
                <a:moveTo>
                  <a:pt x="11129478" y="866684"/>
                </a:moveTo>
                <a:cubicBezTo>
                  <a:pt x="11142510" y="866684"/>
                  <a:pt x="11154268" y="871975"/>
                  <a:pt x="11162695" y="880598"/>
                </a:cubicBezTo>
                <a:lnTo>
                  <a:pt x="11084700" y="925671"/>
                </a:lnTo>
                <a:cubicBezTo>
                  <a:pt x="11083622" y="921751"/>
                  <a:pt x="11082936" y="917636"/>
                  <a:pt x="11082936" y="913227"/>
                </a:cubicBezTo>
                <a:cubicBezTo>
                  <a:pt x="11082936" y="887555"/>
                  <a:pt x="11103807" y="866684"/>
                  <a:pt x="11129478" y="866684"/>
                </a:cubicBezTo>
                <a:close/>
                <a:moveTo>
                  <a:pt x="11196891" y="841894"/>
                </a:moveTo>
                <a:lnTo>
                  <a:pt x="11252154" y="984755"/>
                </a:lnTo>
                <a:lnTo>
                  <a:pt x="11281843" y="984755"/>
                </a:lnTo>
                <a:lnTo>
                  <a:pt x="11337008" y="841894"/>
                </a:lnTo>
                <a:lnTo>
                  <a:pt x="11308593" y="841894"/>
                </a:lnTo>
                <a:lnTo>
                  <a:pt x="11266950" y="949481"/>
                </a:lnTo>
                <a:lnTo>
                  <a:pt x="11225306" y="841894"/>
                </a:lnTo>
                <a:close/>
                <a:moveTo>
                  <a:pt x="10971724" y="841894"/>
                </a:moveTo>
                <a:cubicBezTo>
                  <a:pt x="10953401" y="841894"/>
                  <a:pt x="10938507" y="856788"/>
                  <a:pt x="10938507" y="875111"/>
                </a:cubicBezTo>
                <a:lnTo>
                  <a:pt x="10938507" y="984755"/>
                </a:lnTo>
                <a:lnTo>
                  <a:pt x="10965159" y="984755"/>
                </a:lnTo>
                <a:lnTo>
                  <a:pt x="10965159" y="931550"/>
                </a:lnTo>
                <a:lnTo>
                  <a:pt x="11028162" y="931550"/>
                </a:lnTo>
                <a:lnTo>
                  <a:pt x="11028162" y="908327"/>
                </a:lnTo>
                <a:lnTo>
                  <a:pt x="10965061" y="908327"/>
                </a:lnTo>
                <a:lnTo>
                  <a:pt x="10965061" y="875111"/>
                </a:lnTo>
                <a:cubicBezTo>
                  <a:pt x="10965061" y="871485"/>
                  <a:pt x="10968000" y="868546"/>
                  <a:pt x="10971625" y="868546"/>
                </a:cubicBezTo>
                <a:lnTo>
                  <a:pt x="11054716" y="868546"/>
                </a:lnTo>
                <a:lnTo>
                  <a:pt x="11054716" y="868350"/>
                </a:lnTo>
                <a:lnTo>
                  <a:pt x="11054814" y="868350"/>
                </a:lnTo>
                <a:lnTo>
                  <a:pt x="11054814" y="841894"/>
                </a:lnTo>
                <a:close/>
                <a:moveTo>
                  <a:pt x="11129478" y="840326"/>
                </a:moveTo>
                <a:cubicBezTo>
                  <a:pt x="11089109" y="840326"/>
                  <a:pt x="11056382" y="873053"/>
                  <a:pt x="11056382" y="913423"/>
                </a:cubicBezTo>
                <a:cubicBezTo>
                  <a:pt x="11056382" y="922535"/>
                  <a:pt x="11058048" y="931354"/>
                  <a:pt x="11061183" y="939486"/>
                </a:cubicBezTo>
                <a:cubicBezTo>
                  <a:pt x="11064025" y="946835"/>
                  <a:pt x="11067944" y="953596"/>
                  <a:pt x="11072843" y="959573"/>
                </a:cubicBezTo>
                <a:cubicBezTo>
                  <a:pt x="11086267" y="976035"/>
                  <a:pt x="11106648" y="986519"/>
                  <a:pt x="11129478" y="986519"/>
                </a:cubicBezTo>
                <a:cubicBezTo>
                  <a:pt x="11163577" y="986519"/>
                  <a:pt x="11192090" y="963297"/>
                  <a:pt x="11200321" y="931746"/>
                </a:cubicBezTo>
                <a:lnTo>
                  <a:pt x="11172200" y="931452"/>
                </a:lnTo>
                <a:cubicBezTo>
                  <a:pt x="11165145" y="948011"/>
                  <a:pt x="11148683" y="959671"/>
                  <a:pt x="11129380" y="959671"/>
                </a:cubicBezTo>
                <a:cubicBezTo>
                  <a:pt x="11116349" y="959671"/>
                  <a:pt x="11104590" y="954380"/>
                  <a:pt x="11096164" y="945757"/>
                </a:cubicBezTo>
                <a:lnTo>
                  <a:pt x="11174257" y="900783"/>
                </a:lnTo>
                <a:lnTo>
                  <a:pt x="11197774" y="887261"/>
                </a:lnTo>
                <a:cubicBezTo>
                  <a:pt x="11194932" y="879912"/>
                  <a:pt x="11191013" y="873151"/>
                  <a:pt x="11186113" y="867174"/>
                </a:cubicBezTo>
                <a:cubicBezTo>
                  <a:pt x="11172788" y="850712"/>
                  <a:pt x="11152407" y="840326"/>
                  <a:pt x="11129478" y="840326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pPr marL="0" marR="0" lvl="0" indent="0" algn="l" defTabSz="108374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4324666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4E0063EC-12D6-132D-4289-0BE64509E391}"/>
              </a:ext>
            </a:extLst>
          </p:cNvPr>
          <p:cNvSpPr/>
          <p:nvPr userDrawn="1"/>
        </p:nvSpPr>
        <p:spPr>
          <a:xfrm>
            <a:off x="12941299" y="504825"/>
            <a:ext cx="1733551" cy="836613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err="1"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E831179-E5D5-4439-A945-93CF6349D0B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5301208"/>
            <a:ext cx="2038746" cy="369332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txBody>
          <a:bodyPr vert="horz" wrap="none" lIns="550800" tIns="0" rIns="108000" bIns="0" rtlCol="0" anchor="ctr">
            <a:spAutoFit/>
          </a:bodyPr>
          <a:lstStyle>
            <a:lvl1pPr>
              <a:defRPr lang="en-US" sz="2400" cap="all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ine two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8B49847-B6A6-4AB2-AAA4-37F33518841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0" y="4801637"/>
            <a:ext cx="3247672" cy="369332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txBody>
          <a:bodyPr vert="horz" wrap="none" lIns="550800" tIns="0" rIns="108000" bIns="0" rtlCol="0" anchor="ctr">
            <a:spAutoFit/>
          </a:bodyPr>
          <a:lstStyle>
            <a:lvl1pPr>
              <a:defRPr lang="en-US" sz="2400" cap="all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ext</a:t>
            </a:r>
            <a:r>
              <a:rPr lang="en-US" dirty="0"/>
              <a:t> over image</a:t>
            </a:r>
          </a:p>
        </p:txBody>
      </p:sp>
    </p:spTree>
    <p:extLst>
      <p:ext uri="{BB962C8B-B14F-4D97-AF65-F5344CB8AC3E}">
        <p14:creationId xmlns:p14="http://schemas.microsoft.com/office/powerpoint/2010/main" val="1569946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v="urn:schemas-microsoft-com:vml" xmlns:a16="http://schemas.microsoft.com/office/drawing/2014/main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_Imag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4E0063EC-12D6-132D-4289-0BE64509E391}"/>
              </a:ext>
            </a:extLst>
          </p:cNvPr>
          <p:cNvSpPr/>
          <p:nvPr userDrawn="1"/>
        </p:nvSpPr>
        <p:spPr>
          <a:xfrm>
            <a:off x="10620374" y="504825"/>
            <a:ext cx="1419225" cy="92392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err="1"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1055070-B880-8747-433D-1F1B91043B31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1071667 w 12192000"/>
              <a:gd name="connsiteY0" fmla="*/ 1031592 h 6858000"/>
              <a:gd name="connsiteX1" fmla="*/ 11087443 w 12192000"/>
              <a:gd name="connsiteY1" fmla="*/ 1035707 h 6858000"/>
              <a:gd name="connsiteX2" fmla="*/ 11098417 w 12192000"/>
              <a:gd name="connsiteY2" fmla="*/ 1047269 h 6858000"/>
              <a:gd name="connsiteX3" fmla="*/ 11102434 w 12192000"/>
              <a:gd name="connsiteY3" fmla="*/ 1064808 h 6858000"/>
              <a:gd name="connsiteX4" fmla="*/ 11098417 w 12192000"/>
              <a:gd name="connsiteY4" fmla="*/ 1082249 h 6858000"/>
              <a:gd name="connsiteX5" fmla="*/ 11087443 w 12192000"/>
              <a:gd name="connsiteY5" fmla="*/ 1093811 h 6858000"/>
              <a:gd name="connsiteX6" fmla="*/ 11071569 w 12192000"/>
              <a:gd name="connsiteY6" fmla="*/ 1097927 h 6858000"/>
              <a:gd name="connsiteX7" fmla="*/ 11055892 w 12192000"/>
              <a:gd name="connsiteY7" fmla="*/ 1093811 h 6858000"/>
              <a:gd name="connsiteX8" fmla="*/ 11044917 w 12192000"/>
              <a:gd name="connsiteY8" fmla="*/ 1082249 h 6858000"/>
              <a:gd name="connsiteX9" fmla="*/ 11040900 w 12192000"/>
              <a:gd name="connsiteY9" fmla="*/ 1064808 h 6858000"/>
              <a:gd name="connsiteX10" fmla="*/ 11044917 w 12192000"/>
              <a:gd name="connsiteY10" fmla="*/ 1047269 h 6858000"/>
              <a:gd name="connsiteX11" fmla="*/ 11055892 w 12192000"/>
              <a:gd name="connsiteY11" fmla="*/ 1035707 h 6858000"/>
              <a:gd name="connsiteX12" fmla="*/ 11071667 w 12192000"/>
              <a:gd name="connsiteY12" fmla="*/ 1031592 h 6858000"/>
              <a:gd name="connsiteX13" fmla="*/ 11453414 w 12192000"/>
              <a:gd name="connsiteY13" fmla="*/ 1023165 h 6858000"/>
              <a:gd name="connsiteX14" fmla="*/ 11453414 w 12192000"/>
              <a:gd name="connsiteY14" fmla="*/ 1106550 h 6858000"/>
              <a:gd name="connsiteX15" fmla="*/ 11464290 w 12192000"/>
              <a:gd name="connsiteY15" fmla="*/ 1106550 h 6858000"/>
              <a:gd name="connsiteX16" fmla="*/ 11464290 w 12192000"/>
              <a:gd name="connsiteY16" fmla="*/ 1023165 h 6858000"/>
              <a:gd name="connsiteX17" fmla="*/ 11383551 w 12192000"/>
              <a:gd name="connsiteY17" fmla="*/ 1023165 h 6858000"/>
              <a:gd name="connsiteX18" fmla="*/ 11383551 w 12192000"/>
              <a:gd name="connsiteY18" fmla="*/ 1032082 h 6858000"/>
              <a:gd name="connsiteX19" fmla="*/ 11406480 w 12192000"/>
              <a:gd name="connsiteY19" fmla="*/ 1032082 h 6858000"/>
              <a:gd name="connsiteX20" fmla="*/ 11406480 w 12192000"/>
              <a:gd name="connsiteY20" fmla="*/ 1106550 h 6858000"/>
              <a:gd name="connsiteX21" fmla="*/ 11417356 w 12192000"/>
              <a:gd name="connsiteY21" fmla="*/ 1106550 h 6858000"/>
              <a:gd name="connsiteX22" fmla="*/ 11417356 w 12192000"/>
              <a:gd name="connsiteY22" fmla="*/ 1032082 h 6858000"/>
              <a:gd name="connsiteX23" fmla="*/ 11440088 w 12192000"/>
              <a:gd name="connsiteY23" fmla="*/ 1032082 h 6858000"/>
              <a:gd name="connsiteX24" fmla="*/ 11440088 w 12192000"/>
              <a:gd name="connsiteY24" fmla="*/ 1023165 h 6858000"/>
              <a:gd name="connsiteX25" fmla="*/ 11349845 w 12192000"/>
              <a:gd name="connsiteY25" fmla="*/ 1023165 h 6858000"/>
              <a:gd name="connsiteX26" fmla="*/ 11349845 w 12192000"/>
              <a:gd name="connsiteY26" fmla="*/ 1106550 h 6858000"/>
              <a:gd name="connsiteX27" fmla="*/ 11389823 w 12192000"/>
              <a:gd name="connsiteY27" fmla="*/ 1106550 h 6858000"/>
              <a:gd name="connsiteX28" fmla="*/ 11389823 w 12192000"/>
              <a:gd name="connsiteY28" fmla="*/ 1097633 h 6858000"/>
              <a:gd name="connsiteX29" fmla="*/ 11360721 w 12192000"/>
              <a:gd name="connsiteY29" fmla="*/ 1097633 h 6858000"/>
              <a:gd name="connsiteX30" fmla="*/ 11360721 w 12192000"/>
              <a:gd name="connsiteY30" fmla="*/ 1023165 h 6858000"/>
              <a:gd name="connsiteX31" fmla="*/ 11273809 w 12192000"/>
              <a:gd name="connsiteY31" fmla="*/ 1023165 h 6858000"/>
              <a:gd name="connsiteX32" fmla="*/ 11273809 w 12192000"/>
              <a:gd name="connsiteY32" fmla="*/ 1075783 h 6858000"/>
              <a:gd name="connsiteX33" fmla="*/ 11277924 w 12192000"/>
              <a:gd name="connsiteY33" fmla="*/ 1093322 h 6858000"/>
              <a:gd name="connsiteX34" fmla="*/ 11289095 w 12192000"/>
              <a:gd name="connsiteY34" fmla="*/ 1103905 h 6858000"/>
              <a:gd name="connsiteX35" fmla="*/ 11305066 w 12192000"/>
              <a:gd name="connsiteY35" fmla="*/ 1107334 h 6858000"/>
              <a:gd name="connsiteX36" fmla="*/ 11321038 w 12192000"/>
              <a:gd name="connsiteY36" fmla="*/ 1103905 h 6858000"/>
              <a:gd name="connsiteX37" fmla="*/ 11332306 w 12192000"/>
              <a:gd name="connsiteY37" fmla="*/ 1093322 h 6858000"/>
              <a:gd name="connsiteX38" fmla="*/ 11336421 w 12192000"/>
              <a:gd name="connsiteY38" fmla="*/ 1075783 h 6858000"/>
              <a:gd name="connsiteX39" fmla="*/ 11336421 w 12192000"/>
              <a:gd name="connsiteY39" fmla="*/ 1023165 h 6858000"/>
              <a:gd name="connsiteX40" fmla="*/ 11325545 w 12192000"/>
              <a:gd name="connsiteY40" fmla="*/ 1023165 h 6858000"/>
              <a:gd name="connsiteX41" fmla="*/ 11325545 w 12192000"/>
              <a:gd name="connsiteY41" fmla="*/ 1075881 h 6858000"/>
              <a:gd name="connsiteX42" fmla="*/ 11320156 w 12192000"/>
              <a:gd name="connsiteY42" fmla="*/ 1092342 h 6858000"/>
              <a:gd name="connsiteX43" fmla="*/ 11305066 w 12192000"/>
              <a:gd name="connsiteY43" fmla="*/ 1097732 h 6858000"/>
              <a:gd name="connsiteX44" fmla="*/ 11289977 w 12192000"/>
              <a:gd name="connsiteY44" fmla="*/ 1092342 h 6858000"/>
              <a:gd name="connsiteX45" fmla="*/ 11284587 w 12192000"/>
              <a:gd name="connsiteY45" fmla="*/ 1075881 h 6858000"/>
              <a:gd name="connsiteX46" fmla="*/ 11284587 w 12192000"/>
              <a:gd name="connsiteY46" fmla="*/ 1023165 h 6858000"/>
              <a:gd name="connsiteX47" fmla="*/ 11477616 w 12192000"/>
              <a:gd name="connsiteY47" fmla="*/ 1023067 h 6858000"/>
              <a:gd name="connsiteX48" fmla="*/ 11477616 w 12192000"/>
              <a:gd name="connsiteY48" fmla="*/ 1106550 h 6858000"/>
              <a:gd name="connsiteX49" fmla="*/ 11488492 w 12192000"/>
              <a:gd name="connsiteY49" fmla="*/ 1106550 h 6858000"/>
              <a:gd name="connsiteX50" fmla="*/ 11488492 w 12192000"/>
              <a:gd name="connsiteY50" fmla="*/ 1040117 h 6858000"/>
              <a:gd name="connsiteX51" fmla="*/ 11532291 w 12192000"/>
              <a:gd name="connsiteY51" fmla="*/ 1106550 h 6858000"/>
              <a:gd name="connsiteX52" fmla="*/ 11543167 w 12192000"/>
              <a:gd name="connsiteY52" fmla="*/ 1106550 h 6858000"/>
              <a:gd name="connsiteX53" fmla="*/ 11543167 w 12192000"/>
              <a:gd name="connsiteY53" fmla="*/ 1023067 h 6858000"/>
              <a:gd name="connsiteX54" fmla="*/ 11532291 w 12192000"/>
              <a:gd name="connsiteY54" fmla="*/ 1023067 h 6858000"/>
              <a:gd name="connsiteX55" fmla="*/ 11532291 w 12192000"/>
              <a:gd name="connsiteY55" fmla="*/ 1089305 h 6858000"/>
              <a:gd name="connsiteX56" fmla="*/ 11488492 w 12192000"/>
              <a:gd name="connsiteY56" fmla="*/ 1023067 h 6858000"/>
              <a:gd name="connsiteX57" fmla="*/ 11126931 w 12192000"/>
              <a:gd name="connsiteY57" fmla="*/ 1023067 h 6858000"/>
              <a:gd name="connsiteX58" fmla="*/ 11126931 w 12192000"/>
              <a:gd name="connsiteY58" fmla="*/ 1106550 h 6858000"/>
              <a:gd name="connsiteX59" fmla="*/ 11137807 w 12192000"/>
              <a:gd name="connsiteY59" fmla="*/ 1106550 h 6858000"/>
              <a:gd name="connsiteX60" fmla="*/ 11137807 w 12192000"/>
              <a:gd name="connsiteY60" fmla="*/ 1040117 h 6858000"/>
              <a:gd name="connsiteX61" fmla="*/ 11181606 w 12192000"/>
              <a:gd name="connsiteY61" fmla="*/ 1106550 h 6858000"/>
              <a:gd name="connsiteX62" fmla="*/ 11192482 w 12192000"/>
              <a:gd name="connsiteY62" fmla="*/ 1106550 h 6858000"/>
              <a:gd name="connsiteX63" fmla="*/ 11192482 w 12192000"/>
              <a:gd name="connsiteY63" fmla="*/ 1023067 h 6858000"/>
              <a:gd name="connsiteX64" fmla="*/ 11181606 w 12192000"/>
              <a:gd name="connsiteY64" fmla="*/ 1023067 h 6858000"/>
              <a:gd name="connsiteX65" fmla="*/ 11181606 w 12192000"/>
              <a:gd name="connsiteY65" fmla="*/ 1089305 h 6858000"/>
              <a:gd name="connsiteX66" fmla="*/ 11137807 w 12192000"/>
              <a:gd name="connsiteY66" fmla="*/ 1023067 h 6858000"/>
              <a:gd name="connsiteX67" fmla="*/ 11233832 w 12192000"/>
              <a:gd name="connsiteY67" fmla="*/ 1022185 h 6858000"/>
              <a:gd name="connsiteX68" fmla="*/ 11219428 w 12192000"/>
              <a:gd name="connsiteY68" fmla="*/ 1025027 h 6858000"/>
              <a:gd name="connsiteX69" fmla="*/ 11209629 w 12192000"/>
              <a:gd name="connsiteY69" fmla="*/ 1033159 h 6858000"/>
              <a:gd name="connsiteX70" fmla="*/ 11206200 w 12192000"/>
              <a:gd name="connsiteY70" fmla="*/ 1045211 h 6858000"/>
              <a:gd name="connsiteX71" fmla="*/ 11209727 w 12192000"/>
              <a:gd name="connsiteY71" fmla="*/ 1057557 h 6858000"/>
              <a:gd name="connsiteX72" fmla="*/ 11218154 w 12192000"/>
              <a:gd name="connsiteY72" fmla="*/ 1064318 h 6858000"/>
              <a:gd name="connsiteX73" fmla="*/ 11231382 w 12192000"/>
              <a:gd name="connsiteY73" fmla="*/ 1068630 h 6858000"/>
              <a:gd name="connsiteX74" fmla="*/ 11242062 w 12192000"/>
              <a:gd name="connsiteY74" fmla="*/ 1071961 h 6858000"/>
              <a:gd name="connsiteX75" fmla="*/ 11248627 w 12192000"/>
              <a:gd name="connsiteY75" fmla="*/ 1076468 h 6858000"/>
              <a:gd name="connsiteX76" fmla="*/ 11251273 w 12192000"/>
              <a:gd name="connsiteY76" fmla="*/ 1084209 h 6858000"/>
              <a:gd name="connsiteX77" fmla="*/ 11246766 w 12192000"/>
              <a:gd name="connsiteY77" fmla="*/ 1094203 h 6858000"/>
              <a:gd name="connsiteX78" fmla="*/ 11234518 w 12192000"/>
              <a:gd name="connsiteY78" fmla="*/ 1098123 h 6858000"/>
              <a:gd name="connsiteX79" fmla="*/ 11222171 w 12192000"/>
              <a:gd name="connsiteY79" fmla="*/ 1094105 h 6858000"/>
              <a:gd name="connsiteX80" fmla="*/ 11217370 w 12192000"/>
              <a:gd name="connsiteY80" fmla="*/ 1084307 h 6858000"/>
              <a:gd name="connsiteX81" fmla="*/ 11205808 w 12192000"/>
              <a:gd name="connsiteY81" fmla="*/ 1084307 h 6858000"/>
              <a:gd name="connsiteX82" fmla="*/ 11209629 w 12192000"/>
              <a:gd name="connsiteY82" fmla="*/ 1096359 h 6858000"/>
              <a:gd name="connsiteX83" fmla="*/ 11219918 w 12192000"/>
              <a:gd name="connsiteY83" fmla="*/ 1104492 h 6858000"/>
              <a:gd name="connsiteX84" fmla="*/ 11234518 w 12192000"/>
              <a:gd name="connsiteY84" fmla="*/ 1107235 h 6858000"/>
              <a:gd name="connsiteX85" fmla="*/ 11249509 w 12192000"/>
              <a:gd name="connsiteY85" fmla="*/ 1103904 h 6858000"/>
              <a:gd name="connsiteX86" fmla="*/ 11259112 w 12192000"/>
              <a:gd name="connsiteY86" fmla="*/ 1095183 h 6858000"/>
              <a:gd name="connsiteX87" fmla="*/ 11262345 w 12192000"/>
              <a:gd name="connsiteY87" fmla="*/ 1083719 h 6858000"/>
              <a:gd name="connsiteX88" fmla="*/ 11258720 w 12192000"/>
              <a:gd name="connsiteY88" fmla="*/ 1071275 h 6858000"/>
              <a:gd name="connsiteX89" fmla="*/ 11250097 w 12192000"/>
              <a:gd name="connsiteY89" fmla="*/ 1064514 h 6858000"/>
              <a:gd name="connsiteX90" fmla="*/ 11236869 w 12192000"/>
              <a:gd name="connsiteY90" fmla="*/ 1060007 h 6858000"/>
              <a:gd name="connsiteX91" fmla="*/ 11226287 w 12192000"/>
              <a:gd name="connsiteY91" fmla="*/ 1056577 h 6858000"/>
              <a:gd name="connsiteX92" fmla="*/ 11219918 w 12192000"/>
              <a:gd name="connsiteY92" fmla="*/ 1052168 h 6858000"/>
              <a:gd name="connsiteX93" fmla="*/ 11217370 w 12192000"/>
              <a:gd name="connsiteY93" fmla="*/ 1044722 h 6858000"/>
              <a:gd name="connsiteX94" fmla="*/ 11221681 w 12192000"/>
              <a:gd name="connsiteY94" fmla="*/ 1034923 h 6858000"/>
              <a:gd name="connsiteX95" fmla="*/ 11232852 w 12192000"/>
              <a:gd name="connsiteY95" fmla="*/ 1031396 h 6858000"/>
              <a:gd name="connsiteX96" fmla="*/ 11244512 w 12192000"/>
              <a:gd name="connsiteY96" fmla="*/ 1035119 h 6858000"/>
              <a:gd name="connsiteX97" fmla="*/ 11249509 w 12192000"/>
              <a:gd name="connsiteY97" fmla="*/ 1043546 h 6858000"/>
              <a:gd name="connsiteX98" fmla="*/ 11261463 w 12192000"/>
              <a:gd name="connsiteY98" fmla="*/ 1043546 h 6858000"/>
              <a:gd name="connsiteX99" fmla="*/ 11253037 w 12192000"/>
              <a:gd name="connsiteY99" fmla="*/ 1028064 h 6858000"/>
              <a:gd name="connsiteX100" fmla="*/ 11233832 w 12192000"/>
              <a:gd name="connsiteY100" fmla="*/ 1022185 h 6858000"/>
              <a:gd name="connsiteX101" fmla="*/ 11071765 w 12192000"/>
              <a:gd name="connsiteY101" fmla="*/ 1022185 h 6858000"/>
              <a:gd name="connsiteX102" fmla="*/ 11050601 w 12192000"/>
              <a:gd name="connsiteY102" fmla="*/ 1027672 h 6858000"/>
              <a:gd name="connsiteX103" fmla="*/ 11035511 w 12192000"/>
              <a:gd name="connsiteY103" fmla="*/ 1042860 h 6858000"/>
              <a:gd name="connsiteX104" fmla="*/ 11029926 w 12192000"/>
              <a:gd name="connsiteY104" fmla="*/ 1064808 h 6858000"/>
              <a:gd name="connsiteX105" fmla="*/ 11035511 w 12192000"/>
              <a:gd name="connsiteY105" fmla="*/ 1086757 h 6858000"/>
              <a:gd name="connsiteX106" fmla="*/ 11050601 w 12192000"/>
              <a:gd name="connsiteY106" fmla="*/ 1101944 h 6858000"/>
              <a:gd name="connsiteX107" fmla="*/ 11071765 w 12192000"/>
              <a:gd name="connsiteY107" fmla="*/ 1107137 h 6858000"/>
              <a:gd name="connsiteX108" fmla="*/ 11093027 w 12192000"/>
              <a:gd name="connsiteY108" fmla="*/ 1101748 h 6858000"/>
              <a:gd name="connsiteX109" fmla="*/ 11108117 w 12192000"/>
              <a:gd name="connsiteY109" fmla="*/ 1086659 h 6858000"/>
              <a:gd name="connsiteX110" fmla="*/ 11113604 w 12192000"/>
              <a:gd name="connsiteY110" fmla="*/ 1064710 h 6858000"/>
              <a:gd name="connsiteX111" fmla="*/ 11108117 w 12192000"/>
              <a:gd name="connsiteY111" fmla="*/ 1042762 h 6858000"/>
              <a:gd name="connsiteX112" fmla="*/ 11093027 w 12192000"/>
              <a:gd name="connsiteY112" fmla="*/ 1027672 h 6858000"/>
              <a:gd name="connsiteX113" fmla="*/ 11071765 w 12192000"/>
              <a:gd name="connsiteY113" fmla="*/ 1022185 h 6858000"/>
              <a:gd name="connsiteX114" fmla="*/ 10980934 w 12192000"/>
              <a:gd name="connsiteY114" fmla="*/ 1022087 h 6858000"/>
              <a:gd name="connsiteX115" fmla="*/ 10959770 w 12192000"/>
              <a:gd name="connsiteY115" fmla="*/ 1027574 h 6858000"/>
              <a:gd name="connsiteX116" fmla="*/ 10944778 w 12192000"/>
              <a:gd name="connsiteY116" fmla="*/ 1042860 h 6858000"/>
              <a:gd name="connsiteX117" fmla="*/ 10939193 w 12192000"/>
              <a:gd name="connsiteY117" fmla="*/ 1064906 h 6858000"/>
              <a:gd name="connsiteX118" fmla="*/ 10944680 w 12192000"/>
              <a:gd name="connsiteY118" fmla="*/ 1086757 h 6858000"/>
              <a:gd name="connsiteX119" fmla="*/ 10959770 w 12192000"/>
              <a:gd name="connsiteY119" fmla="*/ 1101846 h 6858000"/>
              <a:gd name="connsiteX120" fmla="*/ 10980934 w 12192000"/>
              <a:gd name="connsiteY120" fmla="*/ 1107235 h 6858000"/>
              <a:gd name="connsiteX121" fmla="*/ 11004647 w 12192000"/>
              <a:gd name="connsiteY121" fmla="*/ 1100768 h 6858000"/>
              <a:gd name="connsiteX122" fmla="*/ 11019442 w 12192000"/>
              <a:gd name="connsiteY122" fmla="*/ 1082249 h 6858000"/>
              <a:gd name="connsiteX123" fmla="*/ 11006410 w 12192000"/>
              <a:gd name="connsiteY123" fmla="*/ 1082249 h 6858000"/>
              <a:gd name="connsiteX124" fmla="*/ 10996416 w 12192000"/>
              <a:gd name="connsiteY124" fmla="*/ 1093812 h 6858000"/>
              <a:gd name="connsiteX125" fmla="*/ 10980836 w 12192000"/>
              <a:gd name="connsiteY125" fmla="*/ 1097829 h 6858000"/>
              <a:gd name="connsiteX126" fmla="*/ 10965159 w 12192000"/>
              <a:gd name="connsiteY126" fmla="*/ 1093713 h 6858000"/>
              <a:gd name="connsiteX127" fmla="*/ 10954283 w 12192000"/>
              <a:gd name="connsiteY127" fmla="*/ 1082151 h 6858000"/>
              <a:gd name="connsiteX128" fmla="*/ 10950363 w 12192000"/>
              <a:gd name="connsiteY128" fmla="*/ 1064808 h 6858000"/>
              <a:gd name="connsiteX129" fmla="*/ 10954283 w 12192000"/>
              <a:gd name="connsiteY129" fmla="*/ 1047269 h 6858000"/>
              <a:gd name="connsiteX130" fmla="*/ 10965159 w 12192000"/>
              <a:gd name="connsiteY130" fmla="*/ 1035707 h 6858000"/>
              <a:gd name="connsiteX131" fmla="*/ 10980836 w 12192000"/>
              <a:gd name="connsiteY131" fmla="*/ 1031591 h 6858000"/>
              <a:gd name="connsiteX132" fmla="*/ 10996416 w 12192000"/>
              <a:gd name="connsiteY132" fmla="*/ 1035707 h 6858000"/>
              <a:gd name="connsiteX133" fmla="*/ 11006410 w 12192000"/>
              <a:gd name="connsiteY133" fmla="*/ 1047269 h 6858000"/>
              <a:gd name="connsiteX134" fmla="*/ 11019442 w 12192000"/>
              <a:gd name="connsiteY134" fmla="*/ 1047269 h 6858000"/>
              <a:gd name="connsiteX135" fmla="*/ 11004647 w 12192000"/>
              <a:gd name="connsiteY135" fmla="*/ 1028652 h 6858000"/>
              <a:gd name="connsiteX136" fmla="*/ 10980934 w 12192000"/>
              <a:gd name="connsiteY136" fmla="*/ 1022087 h 6858000"/>
              <a:gd name="connsiteX137" fmla="*/ 11600880 w 12192000"/>
              <a:gd name="connsiteY137" fmla="*/ 1021891 h 6858000"/>
              <a:gd name="connsiteX138" fmla="*/ 11577266 w 12192000"/>
              <a:gd name="connsiteY138" fmla="*/ 1027966 h 6858000"/>
              <a:gd name="connsiteX139" fmla="*/ 11561687 w 12192000"/>
              <a:gd name="connsiteY139" fmla="*/ 1043252 h 6858000"/>
              <a:gd name="connsiteX140" fmla="*/ 11556200 w 12192000"/>
              <a:gd name="connsiteY140" fmla="*/ 1063927 h 6858000"/>
              <a:gd name="connsiteX141" fmla="*/ 11562373 w 12192000"/>
              <a:gd name="connsiteY141" fmla="*/ 1085679 h 6858000"/>
              <a:gd name="connsiteX142" fmla="*/ 11578148 w 12192000"/>
              <a:gd name="connsiteY142" fmla="*/ 1101846 h 6858000"/>
              <a:gd name="connsiteX143" fmla="*/ 11598823 w 12192000"/>
              <a:gd name="connsiteY143" fmla="*/ 1107334 h 6858000"/>
              <a:gd name="connsiteX144" fmla="*/ 11619889 w 12192000"/>
              <a:gd name="connsiteY144" fmla="*/ 1101455 h 6858000"/>
              <a:gd name="connsiteX145" fmla="*/ 11634685 w 12192000"/>
              <a:gd name="connsiteY145" fmla="*/ 1087149 h 6858000"/>
              <a:gd name="connsiteX146" fmla="*/ 11640466 w 12192000"/>
              <a:gd name="connsiteY146" fmla="*/ 1068140 h 6858000"/>
              <a:gd name="connsiteX147" fmla="*/ 11636644 w 12192000"/>
              <a:gd name="connsiteY147" fmla="*/ 1048641 h 6858000"/>
              <a:gd name="connsiteX148" fmla="*/ 11632529 w 12192000"/>
              <a:gd name="connsiteY148" fmla="*/ 1041390 h 6858000"/>
              <a:gd name="connsiteX149" fmla="*/ 11593728 w 12192000"/>
              <a:gd name="connsiteY149" fmla="*/ 1063828 h 6858000"/>
              <a:gd name="connsiteX150" fmla="*/ 11598137 w 12192000"/>
              <a:gd name="connsiteY150" fmla="*/ 1071471 h 6858000"/>
              <a:gd name="connsiteX151" fmla="*/ 11626944 w 12192000"/>
              <a:gd name="connsiteY151" fmla="*/ 1054814 h 6858000"/>
              <a:gd name="connsiteX152" fmla="*/ 11628904 w 12192000"/>
              <a:gd name="connsiteY152" fmla="*/ 1076468 h 6858000"/>
              <a:gd name="connsiteX153" fmla="*/ 11615186 w 12192000"/>
              <a:gd name="connsiteY153" fmla="*/ 1092832 h 6858000"/>
              <a:gd name="connsiteX154" fmla="*/ 11599607 w 12192000"/>
              <a:gd name="connsiteY154" fmla="*/ 1097241 h 6858000"/>
              <a:gd name="connsiteX155" fmla="*/ 11584419 w 12192000"/>
              <a:gd name="connsiteY155" fmla="*/ 1092832 h 6858000"/>
              <a:gd name="connsiteX156" fmla="*/ 11572367 w 12192000"/>
              <a:gd name="connsiteY156" fmla="*/ 1079898 h 6858000"/>
              <a:gd name="connsiteX157" fmla="*/ 11567174 w 12192000"/>
              <a:gd name="connsiteY157" fmla="*/ 1062947 h 6858000"/>
              <a:gd name="connsiteX158" fmla="*/ 11570897 w 12192000"/>
              <a:gd name="connsiteY158" fmla="*/ 1047465 h 6858000"/>
              <a:gd name="connsiteX159" fmla="*/ 11582459 w 12192000"/>
              <a:gd name="connsiteY159" fmla="*/ 1036099 h 6858000"/>
              <a:gd name="connsiteX160" fmla="*/ 11597745 w 12192000"/>
              <a:gd name="connsiteY160" fmla="*/ 1031984 h 6858000"/>
              <a:gd name="connsiteX161" fmla="*/ 11612051 w 12192000"/>
              <a:gd name="connsiteY161" fmla="*/ 1036785 h 6858000"/>
              <a:gd name="connsiteX162" fmla="*/ 11623025 w 12192000"/>
              <a:gd name="connsiteY162" fmla="*/ 1030514 h 6858000"/>
              <a:gd name="connsiteX163" fmla="*/ 11600880 w 12192000"/>
              <a:gd name="connsiteY163" fmla="*/ 1021891 h 6858000"/>
              <a:gd name="connsiteX164" fmla="*/ 11129478 w 12192000"/>
              <a:gd name="connsiteY164" fmla="*/ 866684 h 6858000"/>
              <a:gd name="connsiteX165" fmla="*/ 11162695 w 12192000"/>
              <a:gd name="connsiteY165" fmla="*/ 880598 h 6858000"/>
              <a:gd name="connsiteX166" fmla="*/ 11084700 w 12192000"/>
              <a:gd name="connsiteY166" fmla="*/ 925671 h 6858000"/>
              <a:gd name="connsiteX167" fmla="*/ 11082936 w 12192000"/>
              <a:gd name="connsiteY167" fmla="*/ 913227 h 6858000"/>
              <a:gd name="connsiteX168" fmla="*/ 11129478 w 12192000"/>
              <a:gd name="connsiteY168" fmla="*/ 866684 h 6858000"/>
              <a:gd name="connsiteX169" fmla="*/ 11196891 w 12192000"/>
              <a:gd name="connsiteY169" fmla="*/ 841894 h 6858000"/>
              <a:gd name="connsiteX170" fmla="*/ 11252154 w 12192000"/>
              <a:gd name="connsiteY170" fmla="*/ 984755 h 6858000"/>
              <a:gd name="connsiteX171" fmla="*/ 11281843 w 12192000"/>
              <a:gd name="connsiteY171" fmla="*/ 984755 h 6858000"/>
              <a:gd name="connsiteX172" fmla="*/ 11337008 w 12192000"/>
              <a:gd name="connsiteY172" fmla="*/ 841894 h 6858000"/>
              <a:gd name="connsiteX173" fmla="*/ 11308593 w 12192000"/>
              <a:gd name="connsiteY173" fmla="*/ 841894 h 6858000"/>
              <a:gd name="connsiteX174" fmla="*/ 11266950 w 12192000"/>
              <a:gd name="connsiteY174" fmla="*/ 949481 h 6858000"/>
              <a:gd name="connsiteX175" fmla="*/ 11225306 w 12192000"/>
              <a:gd name="connsiteY175" fmla="*/ 841894 h 6858000"/>
              <a:gd name="connsiteX176" fmla="*/ 10971724 w 12192000"/>
              <a:gd name="connsiteY176" fmla="*/ 841894 h 6858000"/>
              <a:gd name="connsiteX177" fmla="*/ 10938507 w 12192000"/>
              <a:gd name="connsiteY177" fmla="*/ 875111 h 6858000"/>
              <a:gd name="connsiteX178" fmla="*/ 10938507 w 12192000"/>
              <a:gd name="connsiteY178" fmla="*/ 984755 h 6858000"/>
              <a:gd name="connsiteX179" fmla="*/ 10965159 w 12192000"/>
              <a:gd name="connsiteY179" fmla="*/ 984755 h 6858000"/>
              <a:gd name="connsiteX180" fmla="*/ 10965159 w 12192000"/>
              <a:gd name="connsiteY180" fmla="*/ 931550 h 6858000"/>
              <a:gd name="connsiteX181" fmla="*/ 11028162 w 12192000"/>
              <a:gd name="connsiteY181" fmla="*/ 931550 h 6858000"/>
              <a:gd name="connsiteX182" fmla="*/ 11028162 w 12192000"/>
              <a:gd name="connsiteY182" fmla="*/ 908327 h 6858000"/>
              <a:gd name="connsiteX183" fmla="*/ 10965061 w 12192000"/>
              <a:gd name="connsiteY183" fmla="*/ 908327 h 6858000"/>
              <a:gd name="connsiteX184" fmla="*/ 10965061 w 12192000"/>
              <a:gd name="connsiteY184" fmla="*/ 875111 h 6858000"/>
              <a:gd name="connsiteX185" fmla="*/ 10971625 w 12192000"/>
              <a:gd name="connsiteY185" fmla="*/ 868546 h 6858000"/>
              <a:gd name="connsiteX186" fmla="*/ 11054716 w 12192000"/>
              <a:gd name="connsiteY186" fmla="*/ 868546 h 6858000"/>
              <a:gd name="connsiteX187" fmla="*/ 11054716 w 12192000"/>
              <a:gd name="connsiteY187" fmla="*/ 868350 h 6858000"/>
              <a:gd name="connsiteX188" fmla="*/ 11054814 w 12192000"/>
              <a:gd name="connsiteY188" fmla="*/ 868350 h 6858000"/>
              <a:gd name="connsiteX189" fmla="*/ 11054814 w 12192000"/>
              <a:gd name="connsiteY189" fmla="*/ 841894 h 6858000"/>
              <a:gd name="connsiteX190" fmla="*/ 11129478 w 12192000"/>
              <a:gd name="connsiteY190" fmla="*/ 840326 h 6858000"/>
              <a:gd name="connsiteX191" fmla="*/ 11056382 w 12192000"/>
              <a:gd name="connsiteY191" fmla="*/ 913423 h 6858000"/>
              <a:gd name="connsiteX192" fmla="*/ 11061183 w 12192000"/>
              <a:gd name="connsiteY192" fmla="*/ 939486 h 6858000"/>
              <a:gd name="connsiteX193" fmla="*/ 11072843 w 12192000"/>
              <a:gd name="connsiteY193" fmla="*/ 959573 h 6858000"/>
              <a:gd name="connsiteX194" fmla="*/ 11129478 w 12192000"/>
              <a:gd name="connsiteY194" fmla="*/ 986519 h 6858000"/>
              <a:gd name="connsiteX195" fmla="*/ 11200321 w 12192000"/>
              <a:gd name="connsiteY195" fmla="*/ 931746 h 6858000"/>
              <a:gd name="connsiteX196" fmla="*/ 11172200 w 12192000"/>
              <a:gd name="connsiteY196" fmla="*/ 931452 h 6858000"/>
              <a:gd name="connsiteX197" fmla="*/ 11129380 w 12192000"/>
              <a:gd name="connsiteY197" fmla="*/ 959671 h 6858000"/>
              <a:gd name="connsiteX198" fmla="*/ 11096164 w 12192000"/>
              <a:gd name="connsiteY198" fmla="*/ 945757 h 6858000"/>
              <a:gd name="connsiteX199" fmla="*/ 11174257 w 12192000"/>
              <a:gd name="connsiteY199" fmla="*/ 900783 h 6858000"/>
              <a:gd name="connsiteX200" fmla="*/ 11197774 w 12192000"/>
              <a:gd name="connsiteY200" fmla="*/ 887261 h 6858000"/>
              <a:gd name="connsiteX201" fmla="*/ 11186113 w 12192000"/>
              <a:gd name="connsiteY201" fmla="*/ 867174 h 6858000"/>
              <a:gd name="connsiteX202" fmla="*/ 11129478 w 12192000"/>
              <a:gd name="connsiteY202" fmla="*/ 840326 h 6858000"/>
              <a:gd name="connsiteX203" fmla="*/ 0 w 12192000"/>
              <a:gd name="connsiteY203" fmla="*/ 0 h 6858000"/>
              <a:gd name="connsiteX204" fmla="*/ 12192000 w 12192000"/>
              <a:gd name="connsiteY204" fmla="*/ 0 h 6858000"/>
              <a:gd name="connsiteX205" fmla="*/ 12192000 w 12192000"/>
              <a:gd name="connsiteY205" fmla="*/ 6858000 h 6858000"/>
              <a:gd name="connsiteX206" fmla="*/ 0 w 12192000"/>
              <a:gd name="connsiteY20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</a:cxnLst>
            <a:rect l="l" t="t" r="r" b="b"/>
            <a:pathLst>
              <a:path w="12192000" h="6858000">
                <a:moveTo>
                  <a:pt x="11071667" y="1031592"/>
                </a:moveTo>
                <a:cubicBezTo>
                  <a:pt x="11077546" y="1031592"/>
                  <a:pt x="11082739" y="1032963"/>
                  <a:pt x="11087443" y="1035707"/>
                </a:cubicBezTo>
                <a:cubicBezTo>
                  <a:pt x="11092146" y="1038450"/>
                  <a:pt x="11095771" y="1042272"/>
                  <a:pt x="11098417" y="1047269"/>
                </a:cubicBezTo>
                <a:cubicBezTo>
                  <a:pt x="11101062" y="1052266"/>
                  <a:pt x="11102434" y="1058243"/>
                  <a:pt x="11102434" y="1064808"/>
                </a:cubicBezTo>
                <a:cubicBezTo>
                  <a:pt x="11102434" y="1071373"/>
                  <a:pt x="11101062" y="1077252"/>
                  <a:pt x="11098417" y="1082249"/>
                </a:cubicBezTo>
                <a:cubicBezTo>
                  <a:pt x="11095771" y="1087247"/>
                  <a:pt x="11092048" y="1091068"/>
                  <a:pt x="11087443" y="1093811"/>
                </a:cubicBezTo>
                <a:cubicBezTo>
                  <a:pt x="11082739" y="1096555"/>
                  <a:pt x="11077350" y="1097927"/>
                  <a:pt x="11071569" y="1097927"/>
                </a:cubicBezTo>
                <a:cubicBezTo>
                  <a:pt x="11065788" y="1097927"/>
                  <a:pt x="11060497" y="1096555"/>
                  <a:pt x="11055892" y="1093811"/>
                </a:cubicBezTo>
                <a:cubicBezTo>
                  <a:pt x="11051189" y="1091166"/>
                  <a:pt x="11047563" y="1087247"/>
                  <a:pt x="11044917" y="1082249"/>
                </a:cubicBezTo>
                <a:cubicBezTo>
                  <a:pt x="11042272" y="1077154"/>
                  <a:pt x="11040900" y="1071569"/>
                  <a:pt x="11040900" y="1064808"/>
                </a:cubicBezTo>
                <a:cubicBezTo>
                  <a:pt x="11040900" y="1058047"/>
                  <a:pt x="11042272" y="1052266"/>
                  <a:pt x="11044917" y="1047269"/>
                </a:cubicBezTo>
                <a:cubicBezTo>
                  <a:pt x="11047661" y="1042272"/>
                  <a:pt x="11051286" y="1038450"/>
                  <a:pt x="11055892" y="1035707"/>
                </a:cubicBezTo>
                <a:cubicBezTo>
                  <a:pt x="11060497" y="1032963"/>
                  <a:pt x="11065788" y="1031592"/>
                  <a:pt x="11071667" y="1031592"/>
                </a:cubicBezTo>
                <a:close/>
                <a:moveTo>
                  <a:pt x="11453414" y="1023165"/>
                </a:moveTo>
                <a:lnTo>
                  <a:pt x="11453414" y="1106550"/>
                </a:lnTo>
                <a:lnTo>
                  <a:pt x="11464290" y="1106550"/>
                </a:lnTo>
                <a:lnTo>
                  <a:pt x="11464290" y="1023165"/>
                </a:lnTo>
                <a:close/>
                <a:moveTo>
                  <a:pt x="11383551" y="1023165"/>
                </a:moveTo>
                <a:lnTo>
                  <a:pt x="11383551" y="1032082"/>
                </a:lnTo>
                <a:lnTo>
                  <a:pt x="11406480" y="1032082"/>
                </a:lnTo>
                <a:lnTo>
                  <a:pt x="11406480" y="1106550"/>
                </a:lnTo>
                <a:lnTo>
                  <a:pt x="11417356" y="1106550"/>
                </a:lnTo>
                <a:lnTo>
                  <a:pt x="11417356" y="1032082"/>
                </a:lnTo>
                <a:lnTo>
                  <a:pt x="11440088" y="1032082"/>
                </a:lnTo>
                <a:lnTo>
                  <a:pt x="11440088" y="1023165"/>
                </a:lnTo>
                <a:close/>
                <a:moveTo>
                  <a:pt x="11349845" y="1023165"/>
                </a:moveTo>
                <a:lnTo>
                  <a:pt x="11349845" y="1106550"/>
                </a:lnTo>
                <a:lnTo>
                  <a:pt x="11389823" y="1106550"/>
                </a:lnTo>
                <a:lnTo>
                  <a:pt x="11389823" y="1097633"/>
                </a:lnTo>
                <a:lnTo>
                  <a:pt x="11360721" y="1097633"/>
                </a:lnTo>
                <a:lnTo>
                  <a:pt x="11360721" y="1023165"/>
                </a:lnTo>
                <a:close/>
                <a:moveTo>
                  <a:pt x="11273809" y="1023165"/>
                </a:moveTo>
                <a:lnTo>
                  <a:pt x="11273809" y="1075783"/>
                </a:lnTo>
                <a:cubicBezTo>
                  <a:pt x="11273809" y="1082740"/>
                  <a:pt x="11275181" y="1088619"/>
                  <a:pt x="11277924" y="1093322"/>
                </a:cubicBezTo>
                <a:cubicBezTo>
                  <a:pt x="11280668" y="1098025"/>
                  <a:pt x="11284391" y="1101553"/>
                  <a:pt x="11289095" y="1103905"/>
                </a:cubicBezTo>
                <a:cubicBezTo>
                  <a:pt x="11293896" y="1106256"/>
                  <a:pt x="11299187" y="1107334"/>
                  <a:pt x="11305066" y="1107334"/>
                </a:cubicBezTo>
                <a:cubicBezTo>
                  <a:pt x="11310945" y="1107334"/>
                  <a:pt x="11316334" y="1106256"/>
                  <a:pt x="11321038" y="1103905"/>
                </a:cubicBezTo>
                <a:cubicBezTo>
                  <a:pt x="11325741" y="1101553"/>
                  <a:pt x="11329464" y="1098025"/>
                  <a:pt x="11332306" y="1093322"/>
                </a:cubicBezTo>
                <a:cubicBezTo>
                  <a:pt x="11335049" y="1088619"/>
                  <a:pt x="11336421" y="1082740"/>
                  <a:pt x="11336421" y="1075783"/>
                </a:cubicBezTo>
                <a:lnTo>
                  <a:pt x="11336421" y="1023165"/>
                </a:lnTo>
                <a:lnTo>
                  <a:pt x="11325545" y="1023165"/>
                </a:lnTo>
                <a:lnTo>
                  <a:pt x="11325545" y="1075881"/>
                </a:lnTo>
                <a:cubicBezTo>
                  <a:pt x="11325545" y="1083230"/>
                  <a:pt x="11323781" y="1088717"/>
                  <a:pt x="11320156" y="1092342"/>
                </a:cubicBezTo>
                <a:cubicBezTo>
                  <a:pt x="11316432" y="1095968"/>
                  <a:pt x="11311533" y="1097732"/>
                  <a:pt x="11305066" y="1097732"/>
                </a:cubicBezTo>
                <a:cubicBezTo>
                  <a:pt x="11298599" y="1097732"/>
                  <a:pt x="11293602" y="1095968"/>
                  <a:pt x="11289977" y="1092342"/>
                </a:cubicBezTo>
                <a:cubicBezTo>
                  <a:pt x="11286449" y="1088815"/>
                  <a:pt x="11284587" y="1083328"/>
                  <a:pt x="11284587" y="1075881"/>
                </a:cubicBezTo>
                <a:lnTo>
                  <a:pt x="11284587" y="1023165"/>
                </a:lnTo>
                <a:close/>
                <a:moveTo>
                  <a:pt x="11477616" y="1023067"/>
                </a:moveTo>
                <a:lnTo>
                  <a:pt x="11477616" y="1106550"/>
                </a:lnTo>
                <a:lnTo>
                  <a:pt x="11488492" y="1106550"/>
                </a:lnTo>
                <a:lnTo>
                  <a:pt x="11488492" y="1040117"/>
                </a:lnTo>
                <a:lnTo>
                  <a:pt x="11532291" y="1106550"/>
                </a:lnTo>
                <a:lnTo>
                  <a:pt x="11543167" y="1106550"/>
                </a:lnTo>
                <a:lnTo>
                  <a:pt x="11543167" y="1023067"/>
                </a:lnTo>
                <a:lnTo>
                  <a:pt x="11532291" y="1023067"/>
                </a:lnTo>
                <a:lnTo>
                  <a:pt x="11532291" y="1089305"/>
                </a:lnTo>
                <a:lnTo>
                  <a:pt x="11488492" y="1023067"/>
                </a:lnTo>
                <a:close/>
                <a:moveTo>
                  <a:pt x="11126931" y="1023067"/>
                </a:moveTo>
                <a:lnTo>
                  <a:pt x="11126931" y="1106550"/>
                </a:lnTo>
                <a:lnTo>
                  <a:pt x="11137807" y="1106550"/>
                </a:lnTo>
                <a:lnTo>
                  <a:pt x="11137807" y="1040117"/>
                </a:lnTo>
                <a:lnTo>
                  <a:pt x="11181606" y="1106550"/>
                </a:lnTo>
                <a:lnTo>
                  <a:pt x="11192482" y="1106550"/>
                </a:lnTo>
                <a:lnTo>
                  <a:pt x="11192482" y="1023067"/>
                </a:lnTo>
                <a:lnTo>
                  <a:pt x="11181606" y="1023067"/>
                </a:lnTo>
                <a:lnTo>
                  <a:pt x="11181606" y="1089305"/>
                </a:lnTo>
                <a:lnTo>
                  <a:pt x="11137807" y="1023067"/>
                </a:lnTo>
                <a:close/>
                <a:moveTo>
                  <a:pt x="11233832" y="1022185"/>
                </a:moveTo>
                <a:cubicBezTo>
                  <a:pt x="11228345" y="1022185"/>
                  <a:pt x="11223543" y="1023067"/>
                  <a:pt x="11219428" y="1025027"/>
                </a:cubicBezTo>
                <a:cubicBezTo>
                  <a:pt x="11215215" y="1026888"/>
                  <a:pt x="11211981" y="1029632"/>
                  <a:pt x="11209629" y="1033159"/>
                </a:cubicBezTo>
                <a:cubicBezTo>
                  <a:pt x="11207278" y="1036687"/>
                  <a:pt x="11206200" y="1040704"/>
                  <a:pt x="11206200" y="1045211"/>
                </a:cubicBezTo>
                <a:cubicBezTo>
                  <a:pt x="11206200" y="1050306"/>
                  <a:pt x="11207376" y="1054520"/>
                  <a:pt x="11209727" y="1057557"/>
                </a:cubicBezTo>
                <a:cubicBezTo>
                  <a:pt x="11211981" y="1060595"/>
                  <a:pt x="11214823" y="1062849"/>
                  <a:pt x="11218154" y="1064318"/>
                </a:cubicBezTo>
                <a:cubicBezTo>
                  <a:pt x="11221486" y="1065788"/>
                  <a:pt x="11225895" y="1067160"/>
                  <a:pt x="11231382" y="1068630"/>
                </a:cubicBezTo>
                <a:cubicBezTo>
                  <a:pt x="11235889" y="1069805"/>
                  <a:pt x="11239417" y="1070883"/>
                  <a:pt x="11242062" y="1071961"/>
                </a:cubicBezTo>
                <a:cubicBezTo>
                  <a:pt x="11244708" y="1072941"/>
                  <a:pt x="11246864" y="1074509"/>
                  <a:pt x="11248627" y="1076468"/>
                </a:cubicBezTo>
                <a:cubicBezTo>
                  <a:pt x="11250391" y="1078428"/>
                  <a:pt x="11251273" y="1080976"/>
                  <a:pt x="11251273" y="1084209"/>
                </a:cubicBezTo>
                <a:cubicBezTo>
                  <a:pt x="11251273" y="1088324"/>
                  <a:pt x="11249705" y="1091656"/>
                  <a:pt x="11246766" y="1094203"/>
                </a:cubicBezTo>
                <a:cubicBezTo>
                  <a:pt x="11243826" y="1096849"/>
                  <a:pt x="11239907" y="1098123"/>
                  <a:pt x="11234518" y="1098123"/>
                </a:cubicBezTo>
                <a:cubicBezTo>
                  <a:pt x="11229128" y="1098123"/>
                  <a:pt x="11225013" y="1096653"/>
                  <a:pt x="11222171" y="1094105"/>
                </a:cubicBezTo>
                <a:cubicBezTo>
                  <a:pt x="11219330" y="1091558"/>
                  <a:pt x="11217762" y="1088226"/>
                  <a:pt x="11217370" y="1084307"/>
                </a:cubicBezTo>
                <a:lnTo>
                  <a:pt x="11205808" y="1084307"/>
                </a:lnTo>
                <a:cubicBezTo>
                  <a:pt x="11205906" y="1088912"/>
                  <a:pt x="11207180" y="1092930"/>
                  <a:pt x="11209629" y="1096359"/>
                </a:cubicBezTo>
                <a:cubicBezTo>
                  <a:pt x="11212177" y="1099887"/>
                  <a:pt x="11215607" y="1102532"/>
                  <a:pt x="11219918" y="1104492"/>
                </a:cubicBezTo>
                <a:cubicBezTo>
                  <a:pt x="11224131" y="1106354"/>
                  <a:pt x="11228834" y="1107333"/>
                  <a:pt x="11234518" y="1107235"/>
                </a:cubicBezTo>
                <a:cubicBezTo>
                  <a:pt x="11240299" y="1107235"/>
                  <a:pt x="11245296" y="1106158"/>
                  <a:pt x="11249509" y="1103904"/>
                </a:cubicBezTo>
                <a:cubicBezTo>
                  <a:pt x="11253722" y="1101650"/>
                  <a:pt x="11256956" y="1098809"/>
                  <a:pt x="11259112" y="1095183"/>
                </a:cubicBezTo>
                <a:cubicBezTo>
                  <a:pt x="11261267" y="1091656"/>
                  <a:pt x="11262345" y="1087834"/>
                  <a:pt x="11262345" y="1083719"/>
                </a:cubicBezTo>
                <a:cubicBezTo>
                  <a:pt x="11262345" y="1078526"/>
                  <a:pt x="11261071" y="1074313"/>
                  <a:pt x="11258720" y="1071275"/>
                </a:cubicBezTo>
                <a:cubicBezTo>
                  <a:pt x="11256368" y="1068238"/>
                  <a:pt x="11253429" y="1065984"/>
                  <a:pt x="11250097" y="1064514"/>
                </a:cubicBezTo>
                <a:cubicBezTo>
                  <a:pt x="11246766" y="1063045"/>
                  <a:pt x="11242356" y="1061575"/>
                  <a:pt x="11236869" y="1060007"/>
                </a:cubicBezTo>
                <a:cubicBezTo>
                  <a:pt x="11232362" y="1058733"/>
                  <a:pt x="11228737" y="1057557"/>
                  <a:pt x="11226287" y="1056577"/>
                </a:cubicBezTo>
                <a:cubicBezTo>
                  <a:pt x="11223739" y="1055500"/>
                  <a:pt x="11221584" y="1054128"/>
                  <a:pt x="11219918" y="1052168"/>
                </a:cubicBezTo>
                <a:cubicBezTo>
                  <a:pt x="11218252" y="1050209"/>
                  <a:pt x="11217370" y="1047759"/>
                  <a:pt x="11217370" y="1044722"/>
                </a:cubicBezTo>
                <a:cubicBezTo>
                  <a:pt x="11217370" y="1040508"/>
                  <a:pt x="11218742" y="1037275"/>
                  <a:pt x="11221681" y="1034923"/>
                </a:cubicBezTo>
                <a:cubicBezTo>
                  <a:pt x="11224621" y="1032571"/>
                  <a:pt x="11228050" y="1031396"/>
                  <a:pt x="11232852" y="1031396"/>
                </a:cubicBezTo>
                <a:cubicBezTo>
                  <a:pt x="11237653" y="1031396"/>
                  <a:pt x="11241572" y="1032767"/>
                  <a:pt x="11244512" y="1035119"/>
                </a:cubicBezTo>
                <a:cubicBezTo>
                  <a:pt x="11247451" y="1037569"/>
                  <a:pt x="11249117" y="1040312"/>
                  <a:pt x="11249509" y="1043546"/>
                </a:cubicBezTo>
                <a:lnTo>
                  <a:pt x="11261463" y="1043546"/>
                </a:lnTo>
                <a:cubicBezTo>
                  <a:pt x="11260778" y="1037177"/>
                  <a:pt x="11258034" y="1031984"/>
                  <a:pt x="11253037" y="1028064"/>
                </a:cubicBezTo>
                <a:cubicBezTo>
                  <a:pt x="11248039" y="1024145"/>
                  <a:pt x="11241670" y="1022185"/>
                  <a:pt x="11233832" y="1022185"/>
                </a:cubicBezTo>
                <a:close/>
                <a:moveTo>
                  <a:pt x="11071765" y="1022185"/>
                </a:moveTo>
                <a:cubicBezTo>
                  <a:pt x="11064024" y="1022185"/>
                  <a:pt x="11056970" y="1024047"/>
                  <a:pt x="11050601" y="1027672"/>
                </a:cubicBezTo>
                <a:cubicBezTo>
                  <a:pt x="11044232" y="1031297"/>
                  <a:pt x="11039234" y="1036393"/>
                  <a:pt x="11035511" y="1042860"/>
                </a:cubicBezTo>
                <a:cubicBezTo>
                  <a:pt x="11031788" y="1049327"/>
                  <a:pt x="11029926" y="1056675"/>
                  <a:pt x="11029926" y="1064808"/>
                </a:cubicBezTo>
                <a:cubicBezTo>
                  <a:pt x="11029926" y="1072941"/>
                  <a:pt x="11031788" y="1080290"/>
                  <a:pt x="11035511" y="1086757"/>
                </a:cubicBezTo>
                <a:cubicBezTo>
                  <a:pt x="11039136" y="1093223"/>
                  <a:pt x="11044232" y="1098319"/>
                  <a:pt x="11050601" y="1101944"/>
                </a:cubicBezTo>
                <a:cubicBezTo>
                  <a:pt x="11056872" y="1105569"/>
                  <a:pt x="11063926" y="1107137"/>
                  <a:pt x="11071765" y="1107137"/>
                </a:cubicBezTo>
                <a:cubicBezTo>
                  <a:pt x="11079604" y="1107137"/>
                  <a:pt x="11086658" y="1105374"/>
                  <a:pt x="11093027" y="1101748"/>
                </a:cubicBezTo>
                <a:cubicBezTo>
                  <a:pt x="11099396" y="1098221"/>
                  <a:pt x="11104492" y="1093126"/>
                  <a:pt x="11108117" y="1086659"/>
                </a:cubicBezTo>
                <a:cubicBezTo>
                  <a:pt x="11111742" y="1080191"/>
                  <a:pt x="11113604" y="1072843"/>
                  <a:pt x="11113604" y="1064710"/>
                </a:cubicBezTo>
                <a:cubicBezTo>
                  <a:pt x="11113604" y="1056577"/>
                  <a:pt x="11111840" y="1049229"/>
                  <a:pt x="11108117" y="1042762"/>
                </a:cubicBezTo>
                <a:cubicBezTo>
                  <a:pt x="11104394" y="1036295"/>
                  <a:pt x="11099396" y="1031297"/>
                  <a:pt x="11093027" y="1027672"/>
                </a:cubicBezTo>
                <a:cubicBezTo>
                  <a:pt x="11086658" y="1024047"/>
                  <a:pt x="11079506" y="1022185"/>
                  <a:pt x="11071765" y="1022185"/>
                </a:cubicBezTo>
                <a:close/>
                <a:moveTo>
                  <a:pt x="10980934" y="1022087"/>
                </a:moveTo>
                <a:cubicBezTo>
                  <a:pt x="10973096" y="1022087"/>
                  <a:pt x="10966139" y="1023851"/>
                  <a:pt x="10959770" y="1027574"/>
                </a:cubicBezTo>
                <a:cubicBezTo>
                  <a:pt x="10953401" y="1031298"/>
                  <a:pt x="10948502" y="1036393"/>
                  <a:pt x="10944778" y="1042860"/>
                </a:cubicBezTo>
                <a:cubicBezTo>
                  <a:pt x="10941055" y="1049327"/>
                  <a:pt x="10939193" y="1056774"/>
                  <a:pt x="10939193" y="1064906"/>
                </a:cubicBezTo>
                <a:cubicBezTo>
                  <a:pt x="10939193" y="1073039"/>
                  <a:pt x="10940957" y="1080290"/>
                  <a:pt x="10944680" y="1086757"/>
                </a:cubicBezTo>
                <a:cubicBezTo>
                  <a:pt x="10948403" y="1093224"/>
                  <a:pt x="10953499" y="1098221"/>
                  <a:pt x="10959770" y="1101846"/>
                </a:cubicBezTo>
                <a:cubicBezTo>
                  <a:pt x="10966139" y="1105374"/>
                  <a:pt x="10973193" y="1107235"/>
                  <a:pt x="10980934" y="1107235"/>
                </a:cubicBezTo>
                <a:cubicBezTo>
                  <a:pt x="10989949" y="1107235"/>
                  <a:pt x="10997886" y="1105080"/>
                  <a:pt x="11004647" y="1100768"/>
                </a:cubicBezTo>
                <a:cubicBezTo>
                  <a:pt x="11011407" y="1096457"/>
                  <a:pt x="11016307" y="1090284"/>
                  <a:pt x="11019442" y="1082249"/>
                </a:cubicBezTo>
                <a:lnTo>
                  <a:pt x="11006410" y="1082249"/>
                </a:lnTo>
                <a:cubicBezTo>
                  <a:pt x="11004059" y="1087344"/>
                  <a:pt x="11000727" y="1091166"/>
                  <a:pt x="10996416" y="1093812"/>
                </a:cubicBezTo>
                <a:cubicBezTo>
                  <a:pt x="10992105" y="1096457"/>
                  <a:pt x="10986715" y="1097829"/>
                  <a:pt x="10980836" y="1097829"/>
                </a:cubicBezTo>
                <a:cubicBezTo>
                  <a:pt x="10974957" y="1097829"/>
                  <a:pt x="10969764" y="1096457"/>
                  <a:pt x="10965159" y="1093713"/>
                </a:cubicBezTo>
                <a:cubicBezTo>
                  <a:pt x="10960554" y="1090970"/>
                  <a:pt x="10956928" y="1087149"/>
                  <a:pt x="10954283" y="1082151"/>
                </a:cubicBezTo>
                <a:cubicBezTo>
                  <a:pt x="10951637" y="1077154"/>
                  <a:pt x="10950363" y="1071569"/>
                  <a:pt x="10950363" y="1064808"/>
                </a:cubicBezTo>
                <a:cubicBezTo>
                  <a:pt x="10950363" y="1058047"/>
                  <a:pt x="10951637" y="1052266"/>
                  <a:pt x="10954283" y="1047269"/>
                </a:cubicBezTo>
                <a:cubicBezTo>
                  <a:pt x="10956928" y="1042272"/>
                  <a:pt x="10960554" y="1038450"/>
                  <a:pt x="10965159" y="1035707"/>
                </a:cubicBezTo>
                <a:cubicBezTo>
                  <a:pt x="10969764" y="1032963"/>
                  <a:pt x="10974761" y="1031591"/>
                  <a:pt x="10980836" y="1031591"/>
                </a:cubicBezTo>
                <a:cubicBezTo>
                  <a:pt x="10986911" y="1031591"/>
                  <a:pt x="10992105" y="1032963"/>
                  <a:pt x="10996416" y="1035707"/>
                </a:cubicBezTo>
                <a:cubicBezTo>
                  <a:pt x="11000825" y="1038352"/>
                  <a:pt x="11004059" y="1042272"/>
                  <a:pt x="11006410" y="1047269"/>
                </a:cubicBezTo>
                <a:lnTo>
                  <a:pt x="11019442" y="1047269"/>
                </a:lnTo>
                <a:cubicBezTo>
                  <a:pt x="11016307" y="1039332"/>
                  <a:pt x="11011407" y="1033061"/>
                  <a:pt x="11004647" y="1028652"/>
                </a:cubicBezTo>
                <a:cubicBezTo>
                  <a:pt x="10997984" y="1024243"/>
                  <a:pt x="10990047" y="1022087"/>
                  <a:pt x="10980934" y="1022087"/>
                </a:cubicBezTo>
                <a:close/>
                <a:moveTo>
                  <a:pt x="11600880" y="1021891"/>
                </a:moveTo>
                <a:cubicBezTo>
                  <a:pt x="11592748" y="1021499"/>
                  <a:pt x="11584909" y="1023557"/>
                  <a:pt x="11577266" y="1027966"/>
                </a:cubicBezTo>
                <a:cubicBezTo>
                  <a:pt x="11570603" y="1031788"/>
                  <a:pt x="11565410" y="1036981"/>
                  <a:pt x="11561687" y="1043252"/>
                </a:cubicBezTo>
                <a:cubicBezTo>
                  <a:pt x="11557963" y="1049523"/>
                  <a:pt x="11556102" y="1056480"/>
                  <a:pt x="11556200" y="1063927"/>
                </a:cubicBezTo>
                <a:cubicBezTo>
                  <a:pt x="11556298" y="1071373"/>
                  <a:pt x="11558257" y="1078624"/>
                  <a:pt x="11562373" y="1085679"/>
                </a:cubicBezTo>
                <a:cubicBezTo>
                  <a:pt x="11566488" y="1092734"/>
                  <a:pt x="11571681" y="1098123"/>
                  <a:pt x="11578148" y="1101846"/>
                </a:cubicBezTo>
                <a:cubicBezTo>
                  <a:pt x="11584615" y="1105570"/>
                  <a:pt x="11591474" y="1107432"/>
                  <a:pt x="11598823" y="1107334"/>
                </a:cubicBezTo>
                <a:cubicBezTo>
                  <a:pt x="11606171" y="1107334"/>
                  <a:pt x="11613128" y="1105276"/>
                  <a:pt x="11619889" y="1101455"/>
                </a:cubicBezTo>
                <a:cubicBezTo>
                  <a:pt x="11626160" y="1097829"/>
                  <a:pt x="11631157" y="1093028"/>
                  <a:pt x="11634685" y="1087149"/>
                </a:cubicBezTo>
                <a:cubicBezTo>
                  <a:pt x="11638212" y="1081270"/>
                  <a:pt x="11640172" y="1074901"/>
                  <a:pt x="11640466" y="1068140"/>
                </a:cubicBezTo>
                <a:cubicBezTo>
                  <a:pt x="11640760" y="1061477"/>
                  <a:pt x="11639486" y="1054912"/>
                  <a:pt x="11636644" y="1048641"/>
                </a:cubicBezTo>
                <a:lnTo>
                  <a:pt x="11632529" y="1041390"/>
                </a:lnTo>
                <a:lnTo>
                  <a:pt x="11593728" y="1063828"/>
                </a:lnTo>
                <a:lnTo>
                  <a:pt x="11598137" y="1071471"/>
                </a:lnTo>
                <a:lnTo>
                  <a:pt x="11626944" y="1054814"/>
                </a:lnTo>
                <a:cubicBezTo>
                  <a:pt x="11630373" y="1062359"/>
                  <a:pt x="11631060" y="1069708"/>
                  <a:pt x="11628904" y="1076468"/>
                </a:cubicBezTo>
                <a:cubicBezTo>
                  <a:pt x="11626748" y="1083327"/>
                  <a:pt x="11622241" y="1088717"/>
                  <a:pt x="11615186" y="1092832"/>
                </a:cubicBezTo>
                <a:cubicBezTo>
                  <a:pt x="11610189" y="1095771"/>
                  <a:pt x="11604996" y="1097241"/>
                  <a:pt x="11599607" y="1097241"/>
                </a:cubicBezTo>
                <a:cubicBezTo>
                  <a:pt x="11594217" y="1097241"/>
                  <a:pt x="11589220" y="1095771"/>
                  <a:pt x="11584419" y="1092832"/>
                </a:cubicBezTo>
                <a:cubicBezTo>
                  <a:pt x="11579618" y="1089892"/>
                  <a:pt x="11575600" y="1085581"/>
                  <a:pt x="11572367" y="1079898"/>
                </a:cubicBezTo>
                <a:cubicBezTo>
                  <a:pt x="11569133" y="1074215"/>
                  <a:pt x="11567370" y="1068630"/>
                  <a:pt x="11567174" y="1062947"/>
                </a:cubicBezTo>
                <a:cubicBezTo>
                  <a:pt x="11566880" y="1057264"/>
                  <a:pt x="11568252" y="1052070"/>
                  <a:pt x="11570897" y="1047465"/>
                </a:cubicBezTo>
                <a:cubicBezTo>
                  <a:pt x="11573543" y="1042860"/>
                  <a:pt x="11577462" y="1038940"/>
                  <a:pt x="11582459" y="1036099"/>
                </a:cubicBezTo>
                <a:cubicBezTo>
                  <a:pt x="11587457" y="1033257"/>
                  <a:pt x="11592650" y="1031886"/>
                  <a:pt x="11597745" y="1031984"/>
                </a:cubicBezTo>
                <a:cubicBezTo>
                  <a:pt x="11602840" y="1032179"/>
                  <a:pt x="11607641" y="1033747"/>
                  <a:pt x="11612051" y="1036785"/>
                </a:cubicBezTo>
                <a:lnTo>
                  <a:pt x="11623025" y="1030514"/>
                </a:lnTo>
                <a:cubicBezTo>
                  <a:pt x="11616362" y="1025223"/>
                  <a:pt x="11609013" y="1022283"/>
                  <a:pt x="11600880" y="1021891"/>
                </a:cubicBezTo>
                <a:close/>
                <a:moveTo>
                  <a:pt x="11129478" y="866684"/>
                </a:moveTo>
                <a:cubicBezTo>
                  <a:pt x="11142510" y="866684"/>
                  <a:pt x="11154268" y="871975"/>
                  <a:pt x="11162695" y="880598"/>
                </a:cubicBezTo>
                <a:lnTo>
                  <a:pt x="11084700" y="925671"/>
                </a:lnTo>
                <a:cubicBezTo>
                  <a:pt x="11083622" y="921751"/>
                  <a:pt x="11082936" y="917636"/>
                  <a:pt x="11082936" y="913227"/>
                </a:cubicBezTo>
                <a:cubicBezTo>
                  <a:pt x="11082936" y="887555"/>
                  <a:pt x="11103807" y="866684"/>
                  <a:pt x="11129478" y="866684"/>
                </a:cubicBezTo>
                <a:close/>
                <a:moveTo>
                  <a:pt x="11196891" y="841894"/>
                </a:moveTo>
                <a:lnTo>
                  <a:pt x="11252154" y="984755"/>
                </a:lnTo>
                <a:lnTo>
                  <a:pt x="11281843" y="984755"/>
                </a:lnTo>
                <a:lnTo>
                  <a:pt x="11337008" y="841894"/>
                </a:lnTo>
                <a:lnTo>
                  <a:pt x="11308593" y="841894"/>
                </a:lnTo>
                <a:lnTo>
                  <a:pt x="11266950" y="949481"/>
                </a:lnTo>
                <a:lnTo>
                  <a:pt x="11225306" y="841894"/>
                </a:lnTo>
                <a:close/>
                <a:moveTo>
                  <a:pt x="10971724" y="841894"/>
                </a:moveTo>
                <a:cubicBezTo>
                  <a:pt x="10953401" y="841894"/>
                  <a:pt x="10938507" y="856788"/>
                  <a:pt x="10938507" y="875111"/>
                </a:cubicBezTo>
                <a:lnTo>
                  <a:pt x="10938507" y="984755"/>
                </a:lnTo>
                <a:lnTo>
                  <a:pt x="10965159" y="984755"/>
                </a:lnTo>
                <a:lnTo>
                  <a:pt x="10965159" y="931550"/>
                </a:lnTo>
                <a:lnTo>
                  <a:pt x="11028162" y="931550"/>
                </a:lnTo>
                <a:lnTo>
                  <a:pt x="11028162" y="908327"/>
                </a:lnTo>
                <a:lnTo>
                  <a:pt x="10965061" y="908327"/>
                </a:lnTo>
                <a:lnTo>
                  <a:pt x="10965061" y="875111"/>
                </a:lnTo>
                <a:cubicBezTo>
                  <a:pt x="10965061" y="871485"/>
                  <a:pt x="10968000" y="868546"/>
                  <a:pt x="10971625" y="868546"/>
                </a:cubicBezTo>
                <a:lnTo>
                  <a:pt x="11054716" y="868546"/>
                </a:lnTo>
                <a:lnTo>
                  <a:pt x="11054716" y="868350"/>
                </a:lnTo>
                <a:lnTo>
                  <a:pt x="11054814" y="868350"/>
                </a:lnTo>
                <a:lnTo>
                  <a:pt x="11054814" y="841894"/>
                </a:lnTo>
                <a:close/>
                <a:moveTo>
                  <a:pt x="11129478" y="840326"/>
                </a:moveTo>
                <a:cubicBezTo>
                  <a:pt x="11089109" y="840326"/>
                  <a:pt x="11056382" y="873053"/>
                  <a:pt x="11056382" y="913423"/>
                </a:cubicBezTo>
                <a:cubicBezTo>
                  <a:pt x="11056382" y="922535"/>
                  <a:pt x="11058048" y="931354"/>
                  <a:pt x="11061183" y="939486"/>
                </a:cubicBezTo>
                <a:cubicBezTo>
                  <a:pt x="11064025" y="946835"/>
                  <a:pt x="11067944" y="953596"/>
                  <a:pt x="11072843" y="959573"/>
                </a:cubicBezTo>
                <a:cubicBezTo>
                  <a:pt x="11086267" y="976035"/>
                  <a:pt x="11106648" y="986519"/>
                  <a:pt x="11129478" y="986519"/>
                </a:cubicBezTo>
                <a:cubicBezTo>
                  <a:pt x="11163577" y="986519"/>
                  <a:pt x="11192090" y="963297"/>
                  <a:pt x="11200321" y="931746"/>
                </a:cubicBezTo>
                <a:lnTo>
                  <a:pt x="11172200" y="931452"/>
                </a:lnTo>
                <a:cubicBezTo>
                  <a:pt x="11165145" y="948011"/>
                  <a:pt x="11148683" y="959671"/>
                  <a:pt x="11129380" y="959671"/>
                </a:cubicBezTo>
                <a:cubicBezTo>
                  <a:pt x="11116349" y="959671"/>
                  <a:pt x="11104590" y="954380"/>
                  <a:pt x="11096164" y="945757"/>
                </a:cubicBezTo>
                <a:lnTo>
                  <a:pt x="11174257" y="900783"/>
                </a:lnTo>
                <a:lnTo>
                  <a:pt x="11197774" y="887261"/>
                </a:lnTo>
                <a:cubicBezTo>
                  <a:pt x="11194932" y="879912"/>
                  <a:pt x="11191013" y="873151"/>
                  <a:pt x="11186113" y="867174"/>
                </a:cubicBezTo>
                <a:cubicBezTo>
                  <a:pt x="11172788" y="850712"/>
                  <a:pt x="11152407" y="840326"/>
                  <a:pt x="11129478" y="840326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pPr marL="0" marR="0" lvl="0" indent="0" algn="l" defTabSz="108374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825106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E831179-E5D5-4439-A945-93CF6349D0B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5301208"/>
            <a:ext cx="2038746" cy="369332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txBody>
          <a:bodyPr vert="horz" wrap="none" lIns="550800" tIns="0" rIns="108000" bIns="0" rtlCol="0" anchor="ctr">
            <a:spAutoFit/>
          </a:bodyPr>
          <a:lstStyle>
            <a:lvl1pPr>
              <a:defRPr lang="en-US" sz="2400" cap="all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ine two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8B49847-B6A6-4AB2-AAA4-37F33518841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0" y="4801637"/>
            <a:ext cx="3247672" cy="369332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txBody>
          <a:bodyPr vert="horz" wrap="none" lIns="550800" tIns="0" rIns="108000" bIns="0" rtlCol="0" anchor="ctr">
            <a:spAutoFit/>
          </a:bodyPr>
          <a:lstStyle>
            <a:lvl1pPr rtl="0">
              <a:defRPr lang="en-US" sz="2400" cap="all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Text over image</a:t>
            </a:r>
          </a:p>
        </p:txBody>
      </p:sp>
    </p:spTree>
    <p:extLst>
      <p:ext uri="{BB962C8B-B14F-4D97-AF65-F5344CB8AC3E}">
        <p14:creationId xmlns:p14="http://schemas.microsoft.com/office/powerpoint/2010/main" val="443868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710479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000B03F-B3E4-4B5B-BA01-EDC93AED888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 dirty="0">
              <a:latin typeface="Poppins" panose="00000500000000000000" pitchFamily="2" charset="0"/>
              <a:ea typeface="+mj-ea"/>
              <a:cs typeface="Poppins" panose="00000500000000000000" pitchFamily="2" charset="0"/>
              <a:sym typeface="Segoe UI Semibold" panose="020B0702040204020203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1026061-AFB3-471D-87D4-1061D8256E0B}"/>
              </a:ext>
            </a:extLst>
          </p:cNvPr>
          <p:cNvSpPr/>
          <p:nvPr/>
        </p:nvSpPr>
        <p:spPr>
          <a:xfrm>
            <a:off x="0" y="3830783"/>
            <a:ext cx="12192000" cy="30272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l" defTabSz="1083747">
              <a:spcBef>
                <a:spcPts val="1200"/>
              </a:spcBef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50866" y="432000"/>
            <a:ext cx="11088000" cy="738664"/>
          </a:xfrm>
        </p:spPr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Add action title</a:t>
            </a:r>
            <a:br>
              <a:rPr lang="en-US" dirty="0"/>
            </a:br>
            <a:r>
              <a:rPr lang="en-US" dirty="0"/>
              <a:t>max. two lines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9DB81B9-A911-4159-B20E-3AA737C7BC6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359884" y="1340769"/>
            <a:ext cx="8280731" cy="22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content</a:t>
            </a:r>
          </a:p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56A9FDC-CD48-41B2-9520-3F30836302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5" y="1340768"/>
            <a:ext cx="2664691" cy="360000"/>
          </a:xfrm>
          <a:prstGeom prst="rect">
            <a:avLst/>
          </a:prstGeom>
        </p:spPr>
        <p:txBody>
          <a:bodyPr vert="horz" lIns="0" tIns="0" rIns="144000" bIns="0" rtlCol="0">
            <a:noAutofit/>
          </a:bodyPr>
          <a:lstStyle>
            <a:lvl1pPr rtl="0">
              <a:defRPr lang="en-US" sz="2000" cap="none" baseline="0"/>
            </a:lvl1pPr>
          </a:lstStyle>
          <a:p>
            <a:pPr marL="0" marR="0" lvl="0" indent="0" algn="l" defTabSz="108374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Text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756FDBFC-8D30-48EC-AE8B-CACDE2ED1C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0864" y="4077320"/>
            <a:ext cx="2664691" cy="360000"/>
          </a:xfrm>
          <a:prstGeom prst="rect">
            <a:avLst/>
          </a:prstGeom>
        </p:spPr>
        <p:txBody>
          <a:bodyPr vert="horz" lIns="0" tIns="0" rIns="144000" bIns="0" rtlCol="0">
            <a:noAutofit/>
          </a:bodyPr>
          <a:lstStyle>
            <a:lvl1pPr rtl="0">
              <a:defRPr lang="en-US" sz="2000" cap="none" baseline="0"/>
            </a:lvl1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71" name="Textplatzhalter 7">
            <a:extLst>
              <a:ext uri="{FF2B5EF4-FFF2-40B4-BE49-F238E27FC236}">
                <a16:creationId xmlns:a16="http://schemas.microsoft.com/office/drawing/2014/main" id="{28116025-C195-45CD-9360-6EF003E88F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marL="0" marR="0" indent="0" algn="l" defTabSz="1083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800" dirty="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Source/Note: </a:t>
            </a:r>
          </a:p>
        </p:txBody>
      </p:sp>
      <p:sp>
        <p:nvSpPr>
          <p:cNvPr id="73" name="Text Placeholder 3">
            <a:extLst>
              <a:ext uri="{FF2B5EF4-FFF2-40B4-BE49-F238E27FC236}">
                <a16:creationId xmlns:a16="http://schemas.microsoft.com/office/drawing/2014/main" id="{3B29AF80-9307-4998-BEC8-A18053B97417}"/>
              </a:ext>
            </a:extLst>
          </p:cNvPr>
          <p:cNvSpPr txBox="1">
            <a:spLocks/>
          </p:cNvSpPr>
          <p:nvPr/>
        </p:nvSpPr>
        <p:spPr bwMode="gray">
          <a:xfrm>
            <a:off x="8273089" y="6706186"/>
            <a:ext cx="3382336" cy="1077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 dirty="0">
                <a:solidFill>
                  <a:schemeClr val="bg2"/>
                </a:solidFill>
                <a:latin typeface="+mn-lt"/>
                <a:cs typeface="Poppins" panose="00000500000000000000" pitchFamily="2" charset="0"/>
                <a:sym typeface="Segoe UI" panose="020B0502040204020203" pitchFamily="34" charset="0"/>
              </a:rPr>
              <a:t>© by FEV – all rights reserved. Confidential – no passing on to third parties   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95502B5-C845-414B-AD71-8DD19FE5F526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55794" y="4077320"/>
            <a:ext cx="8280000" cy="22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sz="12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content</a:t>
            </a:r>
          </a:p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E829F9DA-9E03-4632-87FA-2F93B5022760}"/>
              </a:ext>
            </a:extLst>
          </p:cNvPr>
          <p:cNvCxnSpPr>
            <a:cxnSpLocks/>
          </p:cNvCxnSpPr>
          <p:nvPr/>
        </p:nvCxnSpPr>
        <p:spPr>
          <a:xfrm>
            <a:off x="3215680" y="1340769"/>
            <a:ext cx="0" cy="223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BD053756-1970-4B8E-9374-EF7D40C5D366}"/>
              </a:ext>
            </a:extLst>
          </p:cNvPr>
          <p:cNvCxnSpPr>
            <a:cxnSpLocks/>
          </p:cNvCxnSpPr>
          <p:nvPr/>
        </p:nvCxnSpPr>
        <p:spPr>
          <a:xfrm>
            <a:off x="3215680" y="4075200"/>
            <a:ext cx="0" cy="223200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A493DF6E-2645-4660-BEB6-BCFD583A2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+mn-lt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506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_Grey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6551259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E9FD5A9-E864-43F1-BA49-74A02E253CB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 dirty="0">
              <a:latin typeface="Poppins" panose="00000500000000000000" pitchFamily="2" charset="0"/>
              <a:ea typeface="+mj-ea"/>
              <a:cs typeface="Poppins" panose="00000500000000000000" pitchFamily="2" charset="0"/>
              <a:sym typeface="Segoe UI Semibold" panose="020B0702040204020203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1026061-AFB3-471D-87D4-1061D8256E0B}"/>
              </a:ext>
            </a:extLst>
          </p:cNvPr>
          <p:cNvSpPr/>
          <p:nvPr/>
        </p:nvSpPr>
        <p:spPr>
          <a:xfrm>
            <a:off x="0" y="3830783"/>
            <a:ext cx="12192000" cy="30272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l" defTabSz="1083747">
              <a:spcBef>
                <a:spcPts val="1200"/>
              </a:spcBef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50866" y="432000"/>
            <a:ext cx="11088000" cy="738664"/>
          </a:xfrm>
        </p:spPr>
        <p:txBody>
          <a:bodyPr vert="horz" lIns="0" tIns="0" rIns="1260000" bIns="0" rtlCol="0" anchor="b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Add action title</a:t>
            </a:r>
            <a:br>
              <a:rPr lang="en-US"/>
            </a:br>
            <a:r>
              <a:rPr lang="en-US"/>
              <a:t>max. two lines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56A9FDC-CD48-41B2-9520-3F30836302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5" y="1340768"/>
            <a:ext cx="2664691" cy="360000"/>
          </a:xfrm>
          <a:prstGeom prst="rect">
            <a:avLst/>
          </a:prstGeom>
        </p:spPr>
        <p:txBody>
          <a:bodyPr rIns="144000"/>
          <a:lstStyle>
            <a:lvl1pPr rtl="0">
              <a:defRPr sz="2000" cap="none" baseline="0"/>
            </a:lvl1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756FDBFC-8D30-48EC-AE8B-CACDE2ED1C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0864" y="4077320"/>
            <a:ext cx="2664691" cy="360000"/>
          </a:xfrm>
          <a:prstGeom prst="rect">
            <a:avLst/>
          </a:prstGeom>
        </p:spPr>
        <p:txBody>
          <a:bodyPr vert="horz" lIns="0" tIns="0" rIns="144000" bIns="0" rtlCol="0">
            <a:noAutofit/>
          </a:bodyPr>
          <a:lstStyle>
            <a:lvl1pPr rtl="0">
              <a:defRPr lang="de-DE" sz="2000" cap="none" baseline="0" dirty="0"/>
            </a:lvl1pPr>
            <a:lvl2pPr>
              <a:defRPr lang="de-DE" dirty="0"/>
            </a:lvl2pPr>
            <a:lvl3pPr>
              <a:defRPr lang="de-DE" dirty="0"/>
            </a:lvl3pPr>
            <a:lvl4pPr>
              <a:defRPr lang="de-DE" dirty="0"/>
            </a:lvl4pPr>
            <a:lvl5pPr>
              <a:defRPr lang="en-US" dirty="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71" name="Textplatzhalter 7">
            <a:extLst>
              <a:ext uri="{FF2B5EF4-FFF2-40B4-BE49-F238E27FC236}">
                <a16:creationId xmlns:a16="http://schemas.microsoft.com/office/drawing/2014/main" id="{28116025-C195-45CD-9360-6EF003E88F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marL="0" marR="0" indent="0" algn="l" defTabSz="1083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80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Source/Note: </a:t>
            </a:r>
          </a:p>
        </p:txBody>
      </p:sp>
      <p:sp>
        <p:nvSpPr>
          <p:cNvPr id="73" name="Text Placeholder 3">
            <a:extLst>
              <a:ext uri="{FF2B5EF4-FFF2-40B4-BE49-F238E27FC236}">
                <a16:creationId xmlns:a16="http://schemas.microsoft.com/office/drawing/2014/main" id="{3B29AF80-9307-4998-BEC8-A18053B97417}"/>
              </a:ext>
            </a:extLst>
          </p:cNvPr>
          <p:cNvSpPr txBox="1">
            <a:spLocks/>
          </p:cNvSpPr>
          <p:nvPr/>
        </p:nvSpPr>
        <p:spPr bwMode="gray">
          <a:xfrm>
            <a:off x="8273089" y="6706186"/>
            <a:ext cx="3382336" cy="1077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 dirty="0">
                <a:solidFill>
                  <a:schemeClr val="bg2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© by FEV – all rights reserved. Confidential – no passing on to third parties   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DB9F4961-F932-4802-9939-411578FF3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829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Grey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1501242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8EE8AB6D-586B-4A67-A23C-7886E5D6FF34}"/>
              </a:ext>
            </a:extLst>
          </p:cNvPr>
          <p:cNvSpPr/>
          <p:nvPr/>
        </p:nvSpPr>
        <p:spPr>
          <a:xfrm>
            <a:off x="0" y="1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l" defTabSz="1083747">
              <a:spcBef>
                <a:spcPts val="1200"/>
              </a:spcBef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9DB81B9-A911-4159-B20E-3AA737C7BC6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1384" y="1700213"/>
            <a:ext cx="5184576" cy="46085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content</a:t>
            </a:r>
          </a:p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15BE0D09-F83C-4A0C-BFA4-DCE9B5B671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56041" y="1699199"/>
            <a:ext cx="5184576" cy="4609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content</a:t>
            </a:r>
          </a:p>
          <a:p>
            <a:pPr marL="216000" lvl="1" indent="-216000"/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56A9FDC-CD48-41B2-9520-3F30836302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00" y="1189106"/>
            <a:ext cx="2234356" cy="360000"/>
          </a:xfrm>
          <a:prstGeom prst="rect">
            <a:avLst/>
          </a:prstGeom>
        </p:spPr>
        <p:txBody>
          <a:bodyPr rIns="216000"/>
          <a:lstStyle>
            <a:lvl1pPr rtl="0">
              <a:defRPr sz="2000" cap="none" baseline="0">
                <a:latin typeface="+mj-lt"/>
              </a:defRPr>
            </a:lvl1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756FDBFC-8D30-48EC-AE8B-CACDE2ED1C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55456" y="1189106"/>
            <a:ext cx="2233613" cy="360000"/>
          </a:xfrm>
          <a:prstGeom prst="rect">
            <a:avLst/>
          </a:prstGeom>
        </p:spPr>
        <p:txBody>
          <a:bodyPr vert="horz" lIns="0" tIns="0" rIns="216000" bIns="0" rtlCol="0">
            <a:noAutofit/>
          </a:bodyPr>
          <a:lstStyle>
            <a:lvl1pPr rtl="0">
              <a:defRPr lang="de-DE" sz="2000" cap="none" baseline="0" dirty="0">
                <a:latin typeface="+mj-lt"/>
              </a:defRPr>
            </a:lvl1pPr>
            <a:lvl2pPr>
              <a:defRPr lang="de-DE" dirty="0"/>
            </a:lvl2pPr>
            <a:lvl3pPr>
              <a:defRPr lang="de-DE" dirty="0"/>
            </a:lvl3pPr>
            <a:lvl4pPr>
              <a:defRPr lang="de-DE" dirty="0"/>
            </a:lvl4pPr>
            <a:lvl5pPr>
              <a:defRPr lang="en-US" dirty="0"/>
            </a:lvl5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73" name="Textplatzhalter 7">
            <a:extLst>
              <a:ext uri="{FF2B5EF4-FFF2-40B4-BE49-F238E27FC236}">
                <a16:creationId xmlns:a16="http://schemas.microsoft.com/office/drawing/2014/main" id="{E285CA36-2CDD-4731-BC8D-03A3729A1A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0800" y="6529464"/>
            <a:ext cx="694101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en-US" sz="800" dirty="0">
                <a:solidFill>
                  <a:schemeClr val="accent2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US"/>
              <a:t>Source/Note: 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95E90FCC-07FC-4759-9522-0B2989958C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anchor="ctr"/>
          <a:lstStyle>
            <a:lvl1pPr algn="r">
              <a:defRPr>
                <a:solidFill>
                  <a:schemeClr val="accent2"/>
                </a:solidFill>
                <a:latin typeface="+mn-lt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367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42" Type="http://schemas.openxmlformats.org/officeDocument/2006/relationships/image" Target="../media/image4.w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3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5.xml"/><Relationship Id="rId40" Type="http://schemas.openxmlformats.org/officeDocument/2006/relationships/image" Target="../media/image2.w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6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43" Type="http://schemas.openxmlformats.org/officeDocument/2006/relationships/image" Target="../media/image5.w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978871015"/>
              </p:ext>
            </p:extLst>
          </p:nvPr>
        </p:nvGraphicFramePr>
        <p:xfrm>
          <a:off x="1883" y="1589"/>
          <a:ext cx="18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883" y="1589"/>
                        <a:ext cx="188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016C61D-DE96-45EC-8702-FA7EACA7DE9B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1083747">
              <a:spcBef>
                <a:spcPts val="1200"/>
              </a:spcBef>
            </a:pPr>
            <a:endParaRPr lang="en-US" sz="2200" b="1" i="0" baseline="0">
              <a:latin typeface="Poppins" panose="00000500000000000000" pitchFamily="2" charset="0"/>
              <a:ea typeface="+mj-ea"/>
              <a:cs typeface="Poppins" panose="00000500000000000000" pitchFamily="2" charset="0"/>
              <a:sym typeface="Segoe UI Semibold" panose="020B0702040204020203" pitchFamily="34" charset="0"/>
            </a:endParaRPr>
          </a:p>
        </p:txBody>
      </p:sp>
      <p:cxnSp>
        <p:nvCxnSpPr>
          <p:cNvPr id="23" name="Gerade Verbindung 22"/>
          <p:cNvCxnSpPr/>
          <p:nvPr/>
        </p:nvCxnSpPr>
        <p:spPr bwMode="gray">
          <a:xfrm>
            <a:off x="-304711" y="6307200"/>
            <a:ext cx="1706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 bwMode="gray">
          <a:xfrm rot="5400000">
            <a:off x="540391" y="6879233"/>
            <a:ext cx="1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 bwMode="gray">
          <a:xfrm rot="5400000">
            <a:off x="11630406" y="6879233"/>
            <a:ext cx="1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>
            <a:off x="-269667" y="1699200"/>
            <a:ext cx="1706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0863" y="1339200"/>
            <a:ext cx="11088542" cy="49672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content</a:t>
            </a:r>
          </a:p>
          <a:p>
            <a:pPr marL="216000" lvl="1" indent="-216000">
              <a:buClr>
                <a:schemeClr val="accent2"/>
              </a:buClr>
              <a:buFont typeface="FEV" panose="02000509000000000000" pitchFamily="49" charset="0"/>
            </a:pPr>
            <a:r>
              <a:rPr lang="en-US" dirty="0"/>
              <a:t>Second level</a:t>
            </a:r>
          </a:p>
          <a:p>
            <a:pPr marL="432000" lvl="2" indent="-216000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0863" y="432000"/>
            <a:ext cx="11088542" cy="738000"/>
          </a:xfrm>
          <a:prstGeom prst="rect">
            <a:avLst/>
          </a:prstGeom>
        </p:spPr>
        <p:txBody>
          <a:bodyPr vert="horz" lIns="0" tIns="0" rIns="1260000" bIns="0" rtlCol="0" anchor="b">
            <a:noAutofit/>
          </a:bodyPr>
          <a:lstStyle/>
          <a:p>
            <a:pPr lvl="0"/>
            <a:r>
              <a:rPr lang="en-US" dirty="0"/>
              <a:t>Add action title</a:t>
            </a:r>
            <a:br>
              <a:rPr lang="en-US" dirty="0"/>
            </a:br>
            <a:r>
              <a:rPr lang="en-US" dirty="0"/>
              <a:t>max. two lines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-970845" y="6016398"/>
            <a:ext cx="948267" cy="257402"/>
          </a:xfrm>
          <a:prstGeom prst="rect">
            <a:avLst/>
          </a:prstGeom>
          <a:ln w="6350">
            <a:noFill/>
          </a:ln>
        </p:spPr>
        <p:txBody>
          <a:bodyPr vert="horz" wrap="square" lIns="128000" tIns="128000" rIns="128000" bIns="128000" rtlCol="0" anchor="ctr">
            <a:noAutofit/>
          </a:bodyPr>
          <a:lstStyle/>
          <a:p>
            <a:pPr algn="r"/>
            <a:r>
              <a:rPr lang="en-US" sz="1067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rPr>
              <a:t>V 3.5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68A7829-9EF8-4C76-BEB7-DBAE50462732}"/>
              </a:ext>
            </a:extLst>
          </p:cNvPr>
          <p:cNvSpPr txBox="1">
            <a:spLocks/>
          </p:cNvSpPr>
          <p:nvPr/>
        </p:nvSpPr>
        <p:spPr bwMode="gray">
          <a:xfrm>
            <a:off x="8273089" y="6706186"/>
            <a:ext cx="3382336" cy="1077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r" defTabSz="914400" rtl="0" eaLnBrk="1" latinLnBrk="0" hangingPunct="1">
              <a:spcBef>
                <a:spcPts val="1500"/>
              </a:spcBef>
              <a:buFontTx/>
              <a:buNone/>
              <a:defRPr sz="7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Poppins Light" panose="00000400000000000000" pitchFamily="2" charset="0"/>
                <a:cs typeface="Poppins Light" panose="00000400000000000000" pitchFamily="2" charset="0"/>
                <a:sym typeface="Segoe UI" panose="020B0502040204020203" pitchFamily="34" charset="0"/>
              </a:rPr>
              <a:t>© by FEV – all rights reserved. Confidential – no passing on to third parties   </a:t>
            </a:r>
          </a:p>
        </p:txBody>
      </p:sp>
      <p:cxnSp>
        <p:nvCxnSpPr>
          <p:cNvPr id="34" name="Gerade Verbindung 20">
            <a:extLst>
              <a:ext uri="{FF2B5EF4-FFF2-40B4-BE49-F238E27FC236}">
                <a16:creationId xmlns:a16="http://schemas.microsoft.com/office/drawing/2014/main" id="{3400E403-4641-4B03-9489-08AFC0A53F67}"/>
              </a:ext>
            </a:extLst>
          </p:cNvPr>
          <p:cNvCxnSpPr/>
          <p:nvPr/>
        </p:nvCxnSpPr>
        <p:spPr bwMode="gray">
          <a:xfrm>
            <a:off x="-269667" y="1171575"/>
            <a:ext cx="1706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1">
            <a:extLst>
              <a:ext uri="{FF2B5EF4-FFF2-40B4-BE49-F238E27FC236}">
                <a16:creationId xmlns:a16="http://schemas.microsoft.com/office/drawing/2014/main" id="{9DCA3AED-102B-462E-969C-41B36EA18750}"/>
              </a:ext>
            </a:extLst>
          </p:cNvPr>
          <p:cNvCxnSpPr/>
          <p:nvPr/>
        </p:nvCxnSpPr>
        <p:spPr bwMode="gray">
          <a:xfrm>
            <a:off x="-269667" y="1339200"/>
            <a:ext cx="1706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4">
            <a:extLst>
              <a:ext uri="{FF2B5EF4-FFF2-40B4-BE49-F238E27FC236}">
                <a16:creationId xmlns:a16="http://schemas.microsoft.com/office/drawing/2014/main" id="{6A2D7C89-A328-44E3-9E64-7951608D3911}"/>
              </a:ext>
            </a:extLst>
          </p:cNvPr>
          <p:cNvCxnSpPr/>
          <p:nvPr/>
        </p:nvCxnSpPr>
        <p:spPr bwMode="gray">
          <a:xfrm>
            <a:off x="-269667" y="431800"/>
            <a:ext cx="1706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FEBA5FB4-EBBF-4461-9D52-40FDAB4656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341200" y="6529464"/>
            <a:ext cx="299416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1pPr>
          </a:lstStyle>
          <a:p>
            <a:fld id="{84DEA921-C7A1-469A-90E3-373BB5A02BF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empower - DO NOT DELETE!!!">
            <a:extLst>
              <a:ext uri="{FF2B5EF4-FFF2-40B4-BE49-F238E27FC236}">
                <a16:creationId xmlns:a16="http://schemas.microsoft.com/office/drawing/2014/main" id="{53D63241-498D-4B2D-A9F5-F65919C92F3B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lvl="0" algn="ctr" defTabSz="1083747">
              <a:spcBef>
                <a:spcPts val="1200"/>
              </a:spcBef>
            </a:pPr>
            <a:endParaRPr lang="en-US" sz="1600"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sp>
        <p:nvSpPr>
          <p:cNvPr id="9" name="empower - DO NOT DELETE!!!" hidden="1">
            <a:extLst>
              <a:ext uri="{FF2B5EF4-FFF2-40B4-BE49-F238E27FC236}">
                <a16:creationId xmlns:a16="http://schemas.microsoft.com/office/drawing/2014/main" id="{8D03F6D1-528E-0A5B-7BA7-D6D128CC788B}"/>
              </a:ext>
            </a:extLst>
          </p:cNvPr>
          <p:cNvSpPr/>
          <p:nvPr>
            <p:custDataLst>
              <p:tags r:id="rId3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6350">
            <a:solidFill>
              <a:schemeClr val="accent1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lvl="0" algn="ctr" defTabSz="1083747">
              <a:spcBef>
                <a:spcPts val="1200"/>
              </a:spcBef>
            </a:pPr>
            <a:endParaRPr lang="en-US" sz="1600">
              <a:cs typeface="Poppins" panose="00000500000000000000" pitchFamily="2" charset="0"/>
              <a:sym typeface="Segoe UI" panose="020B050204020402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BEFEE7D-35B7-3DC7-27C7-82606AA832B9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5803" y="3153918"/>
            <a:ext cx="413004" cy="55016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5CC46DF-E46D-F0EA-BAF2-7E3AB385605D}"/>
              </a:ext>
            </a:extLst>
          </p:cNvPr>
          <p:cNvPicPr>
            <a:picLocks noChangeAspect="1"/>
          </p:cNvPicPr>
          <p:nvPr userDrawn="1"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9492" y="3153918"/>
            <a:ext cx="413004" cy="55016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A7C8E26-37A5-1A32-794D-440B510BFC36}"/>
              </a:ext>
            </a:extLst>
          </p:cNvPr>
          <p:cNvPicPr>
            <a:picLocks noChangeAspect="1"/>
          </p:cNvPicPr>
          <p:nvPr userDrawn="1"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9014" y="3153918"/>
            <a:ext cx="397764" cy="55016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4FBDFEA-96A9-7344-BEA0-C194F5757E64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0085" y="3161538"/>
            <a:ext cx="413004" cy="53492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A911561-4B5E-28BC-1244-AAF33667DD69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0385" y="3103626"/>
            <a:ext cx="478536" cy="65074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A4290E9-644A-89FD-1734-97C00A42AD76}"/>
              </a:ext>
            </a:extLst>
          </p:cNvPr>
          <p:cNvSpPr/>
          <p:nvPr userDrawn="1"/>
        </p:nvSpPr>
        <p:spPr>
          <a:xfrm>
            <a:off x="5681477" y="2988564"/>
            <a:ext cx="2994660" cy="153162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F613D1-3275-3B04-B6FD-97F2A83CE6F6}"/>
              </a:ext>
            </a:extLst>
          </p:cNvPr>
          <p:cNvSpPr txBox="1"/>
          <p:nvPr userDrawn="1"/>
        </p:nvSpPr>
        <p:spPr>
          <a:xfrm>
            <a:off x="11454190" y="141922"/>
            <a:ext cx="201235" cy="2218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r>
              <a:rPr lang="en-US" sz="1400" dirty="0">
                <a:latin typeface="FEV" panose="02000509000000000000" pitchFamily="49" charset="0"/>
              </a:rPr>
              <a:t>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FD74340-8906-082E-D45E-F7AF3581FDED}"/>
              </a:ext>
            </a:extLst>
          </p:cNvPr>
          <p:cNvSpPr/>
          <p:nvPr userDrawn="1"/>
        </p:nvSpPr>
        <p:spPr>
          <a:xfrm>
            <a:off x="11252886" y="44092"/>
            <a:ext cx="502509" cy="33429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txBody>
          <a:bodyPr vert="horz" lIns="108109" tIns="108109" rIns="108109" bIns="108109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EACA7C2-112D-F4FB-B5E2-71CE25673A6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938508" y="840326"/>
            <a:ext cx="702000" cy="267011"/>
            <a:chOff x="5975501" y="3608175"/>
            <a:chExt cx="3050378" cy="1160231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614E54C-EF91-14CB-6521-FEF049B4514A}"/>
                </a:ext>
              </a:extLst>
            </p:cNvPr>
            <p:cNvSpPr/>
            <p:nvPr/>
          </p:nvSpPr>
          <p:spPr>
            <a:xfrm>
              <a:off x="7098250" y="3614987"/>
              <a:ext cx="608847" cy="620768"/>
            </a:xfrm>
            <a:custGeom>
              <a:avLst/>
              <a:gdLst>
                <a:gd name="connsiteX0" fmla="*/ 369141 w 608847"/>
                <a:gd name="connsiteY0" fmla="*/ 620769 h 620768"/>
                <a:gd name="connsiteX1" fmla="*/ 608848 w 608847"/>
                <a:gd name="connsiteY1" fmla="*/ 0 h 620768"/>
                <a:gd name="connsiteX2" fmla="*/ 485375 w 608847"/>
                <a:gd name="connsiteY2" fmla="*/ 0 h 620768"/>
                <a:gd name="connsiteX3" fmla="*/ 304424 w 608847"/>
                <a:gd name="connsiteY3" fmla="*/ 467493 h 620768"/>
                <a:gd name="connsiteX4" fmla="*/ 123473 w 608847"/>
                <a:gd name="connsiteY4" fmla="*/ 0 h 620768"/>
                <a:gd name="connsiteX5" fmla="*/ 0 w 608847"/>
                <a:gd name="connsiteY5" fmla="*/ 0 h 620768"/>
                <a:gd name="connsiteX6" fmla="*/ 240133 w 608847"/>
                <a:gd name="connsiteY6" fmla="*/ 620769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8847" h="620768">
                  <a:moveTo>
                    <a:pt x="369141" y="620769"/>
                  </a:moveTo>
                  <a:lnTo>
                    <a:pt x="608848" y="0"/>
                  </a:lnTo>
                  <a:lnTo>
                    <a:pt x="485375" y="0"/>
                  </a:lnTo>
                  <a:lnTo>
                    <a:pt x="304424" y="467493"/>
                  </a:lnTo>
                  <a:lnTo>
                    <a:pt x="123473" y="0"/>
                  </a:lnTo>
                  <a:lnTo>
                    <a:pt x="0" y="0"/>
                  </a:lnTo>
                  <a:lnTo>
                    <a:pt x="240133" y="620769"/>
                  </a:lnTo>
                  <a:close/>
                </a:path>
              </a:pathLst>
            </a:custGeom>
            <a:solidFill>
              <a:srgbClr val="B9052D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9149EA1-F7AF-748D-C155-FC77B83423DE}"/>
                </a:ext>
              </a:extLst>
            </p:cNvPr>
            <p:cNvSpPr/>
            <p:nvPr/>
          </p:nvSpPr>
          <p:spPr>
            <a:xfrm>
              <a:off x="5975501" y="3614987"/>
              <a:ext cx="505386" cy="620768"/>
            </a:xfrm>
            <a:custGeom>
              <a:avLst/>
              <a:gdLst>
                <a:gd name="connsiteX0" fmla="*/ 505386 w 505386"/>
                <a:gd name="connsiteY0" fmla="*/ 114957 h 620768"/>
                <a:gd name="connsiteX1" fmla="*/ 505386 w 505386"/>
                <a:gd name="connsiteY1" fmla="*/ 0 h 620768"/>
                <a:gd name="connsiteX2" fmla="*/ 144335 w 505386"/>
                <a:gd name="connsiteY2" fmla="*/ 0 h 620768"/>
                <a:gd name="connsiteX3" fmla="*/ 0 w 505386"/>
                <a:gd name="connsiteY3" fmla="*/ 144335 h 620768"/>
                <a:gd name="connsiteX4" fmla="*/ 0 w 505386"/>
                <a:gd name="connsiteY4" fmla="*/ 620769 h 620768"/>
                <a:gd name="connsiteX5" fmla="*/ 115809 w 505386"/>
                <a:gd name="connsiteY5" fmla="*/ 620769 h 620768"/>
                <a:gd name="connsiteX6" fmla="*/ 115809 w 505386"/>
                <a:gd name="connsiteY6" fmla="*/ 389577 h 620768"/>
                <a:gd name="connsiteX7" fmla="*/ 389577 w 505386"/>
                <a:gd name="connsiteY7" fmla="*/ 389577 h 620768"/>
                <a:gd name="connsiteX8" fmla="*/ 389577 w 505386"/>
                <a:gd name="connsiteY8" fmla="*/ 288670 h 620768"/>
                <a:gd name="connsiteX9" fmla="*/ 115383 w 505386"/>
                <a:gd name="connsiteY9" fmla="*/ 288670 h 620768"/>
                <a:gd name="connsiteX10" fmla="*/ 115383 w 505386"/>
                <a:gd name="connsiteY10" fmla="*/ 144335 h 620768"/>
                <a:gd name="connsiteX11" fmla="*/ 143909 w 505386"/>
                <a:gd name="connsiteY11" fmla="*/ 115809 h 620768"/>
                <a:gd name="connsiteX12" fmla="*/ 504960 w 505386"/>
                <a:gd name="connsiteY12" fmla="*/ 115809 h 620768"/>
                <a:gd name="connsiteX13" fmla="*/ 504960 w 505386"/>
                <a:gd name="connsiteY13" fmla="*/ 114957 h 620768"/>
                <a:gd name="connsiteX14" fmla="*/ 505386 w 505386"/>
                <a:gd name="connsiteY14" fmla="*/ 114957 h 62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05386" h="620768">
                  <a:moveTo>
                    <a:pt x="505386" y="114957"/>
                  </a:moveTo>
                  <a:lnTo>
                    <a:pt x="505386" y="0"/>
                  </a:lnTo>
                  <a:lnTo>
                    <a:pt x="144335" y="0"/>
                  </a:lnTo>
                  <a:cubicBezTo>
                    <a:pt x="64717" y="0"/>
                    <a:pt x="0" y="64717"/>
                    <a:pt x="0" y="144335"/>
                  </a:cubicBezTo>
                  <a:lnTo>
                    <a:pt x="0" y="620769"/>
                  </a:lnTo>
                  <a:lnTo>
                    <a:pt x="115809" y="620769"/>
                  </a:lnTo>
                  <a:lnTo>
                    <a:pt x="115809" y="389577"/>
                  </a:lnTo>
                  <a:lnTo>
                    <a:pt x="389577" y="389577"/>
                  </a:lnTo>
                  <a:lnTo>
                    <a:pt x="389577" y="288670"/>
                  </a:lnTo>
                  <a:lnTo>
                    <a:pt x="115383" y="288670"/>
                  </a:lnTo>
                  <a:lnTo>
                    <a:pt x="115383" y="144335"/>
                  </a:lnTo>
                  <a:cubicBezTo>
                    <a:pt x="115383" y="128582"/>
                    <a:pt x="128156" y="115809"/>
                    <a:pt x="143909" y="115809"/>
                  </a:cubicBezTo>
                  <a:lnTo>
                    <a:pt x="504960" y="115809"/>
                  </a:lnTo>
                  <a:lnTo>
                    <a:pt x="504960" y="114957"/>
                  </a:lnTo>
                  <a:lnTo>
                    <a:pt x="505386" y="114957"/>
                  </a:lnTo>
                  <a:close/>
                </a:path>
              </a:pathLst>
            </a:custGeom>
            <a:solidFill>
              <a:srgbClr val="B9052D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DF572242-9B50-5102-BC82-DABC5098F2D0}"/>
                </a:ext>
              </a:extLst>
            </p:cNvPr>
            <p:cNvSpPr/>
            <p:nvPr/>
          </p:nvSpPr>
          <p:spPr>
            <a:xfrm>
              <a:off x="6487699" y="3608175"/>
              <a:ext cx="625452" cy="635245"/>
            </a:xfrm>
            <a:custGeom>
              <a:avLst/>
              <a:gdLst>
                <a:gd name="connsiteX0" fmla="*/ 503257 w 625452"/>
                <a:gd name="connsiteY0" fmla="*/ 395964 h 635245"/>
                <a:gd name="connsiteX1" fmla="*/ 317197 w 625452"/>
                <a:gd name="connsiteY1" fmla="*/ 518585 h 635245"/>
                <a:gd name="connsiteX2" fmla="*/ 172862 w 625452"/>
                <a:gd name="connsiteY2" fmla="*/ 458126 h 635245"/>
                <a:gd name="connsiteX3" fmla="*/ 512198 w 625452"/>
                <a:gd name="connsiteY3" fmla="*/ 262699 h 635245"/>
                <a:gd name="connsiteX4" fmla="*/ 614383 w 625452"/>
                <a:gd name="connsiteY4" fmla="*/ 203943 h 635245"/>
                <a:gd name="connsiteX5" fmla="*/ 563716 w 625452"/>
                <a:gd name="connsiteY5" fmla="*/ 116660 h 635245"/>
                <a:gd name="connsiteX6" fmla="*/ 317623 w 625452"/>
                <a:gd name="connsiteY6" fmla="*/ 0 h 635245"/>
                <a:gd name="connsiteX7" fmla="*/ 0 w 625452"/>
                <a:gd name="connsiteY7" fmla="*/ 317623 h 635245"/>
                <a:gd name="connsiteX8" fmla="*/ 20863 w 625452"/>
                <a:gd name="connsiteY8" fmla="*/ 430877 h 635245"/>
                <a:gd name="connsiteX9" fmla="*/ 71529 w 625452"/>
                <a:gd name="connsiteY9" fmla="*/ 518159 h 635245"/>
                <a:gd name="connsiteX10" fmla="*/ 317623 w 625452"/>
                <a:gd name="connsiteY10" fmla="*/ 635245 h 635245"/>
                <a:gd name="connsiteX11" fmla="*/ 625453 w 625452"/>
                <a:gd name="connsiteY11" fmla="*/ 397241 h 635245"/>
                <a:gd name="connsiteX12" fmla="*/ 503257 w 625452"/>
                <a:gd name="connsiteY12" fmla="*/ 395964 h 635245"/>
                <a:gd name="connsiteX13" fmla="*/ 503257 w 625452"/>
                <a:gd name="connsiteY13" fmla="*/ 395964 h 635245"/>
                <a:gd name="connsiteX14" fmla="*/ 115383 w 625452"/>
                <a:gd name="connsiteY14" fmla="*/ 316771 h 635245"/>
                <a:gd name="connsiteX15" fmla="*/ 317623 w 625452"/>
                <a:gd name="connsiteY15" fmla="*/ 114531 h 635245"/>
                <a:gd name="connsiteX16" fmla="*/ 461958 w 625452"/>
                <a:gd name="connsiteY16" fmla="*/ 174990 h 635245"/>
                <a:gd name="connsiteX17" fmla="*/ 123047 w 625452"/>
                <a:gd name="connsiteY17" fmla="*/ 370844 h 635245"/>
                <a:gd name="connsiteX18" fmla="*/ 115383 w 625452"/>
                <a:gd name="connsiteY18" fmla="*/ 316771 h 63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5452" h="635245">
                  <a:moveTo>
                    <a:pt x="503257" y="395964"/>
                  </a:moveTo>
                  <a:cubicBezTo>
                    <a:pt x="472602" y="467918"/>
                    <a:pt x="401073" y="518585"/>
                    <a:pt x="317197" y="518585"/>
                  </a:cubicBezTo>
                  <a:cubicBezTo>
                    <a:pt x="260570" y="518585"/>
                    <a:pt x="209478" y="495593"/>
                    <a:pt x="172862" y="458126"/>
                  </a:cubicBezTo>
                  <a:lnTo>
                    <a:pt x="512198" y="262699"/>
                  </a:lnTo>
                  <a:lnTo>
                    <a:pt x="614383" y="203943"/>
                  </a:lnTo>
                  <a:cubicBezTo>
                    <a:pt x="602035" y="172010"/>
                    <a:pt x="585005" y="142632"/>
                    <a:pt x="563716" y="116660"/>
                  </a:cubicBezTo>
                  <a:cubicBezTo>
                    <a:pt x="505812" y="45131"/>
                    <a:pt x="417252" y="0"/>
                    <a:pt x="317623" y="0"/>
                  </a:cubicBezTo>
                  <a:cubicBezTo>
                    <a:pt x="142206" y="0"/>
                    <a:pt x="0" y="142206"/>
                    <a:pt x="0" y="317623"/>
                  </a:cubicBezTo>
                  <a:cubicBezTo>
                    <a:pt x="0" y="357219"/>
                    <a:pt x="7238" y="395538"/>
                    <a:pt x="20863" y="430877"/>
                  </a:cubicBezTo>
                  <a:cubicBezTo>
                    <a:pt x="33210" y="462809"/>
                    <a:pt x="50241" y="492187"/>
                    <a:pt x="71529" y="518159"/>
                  </a:cubicBezTo>
                  <a:cubicBezTo>
                    <a:pt x="129859" y="589688"/>
                    <a:pt x="218419" y="635245"/>
                    <a:pt x="317623" y="635245"/>
                  </a:cubicBezTo>
                  <a:cubicBezTo>
                    <a:pt x="465790" y="635245"/>
                    <a:pt x="589688" y="534338"/>
                    <a:pt x="625453" y="397241"/>
                  </a:cubicBezTo>
                  <a:lnTo>
                    <a:pt x="503257" y="395964"/>
                  </a:lnTo>
                  <a:lnTo>
                    <a:pt x="503257" y="395964"/>
                  </a:lnTo>
                  <a:close/>
                  <a:moveTo>
                    <a:pt x="115383" y="316771"/>
                  </a:moveTo>
                  <a:cubicBezTo>
                    <a:pt x="115383" y="205220"/>
                    <a:pt x="206072" y="114531"/>
                    <a:pt x="317623" y="114531"/>
                  </a:cubicBezTo>
                  <a:cubicBezTo>
                    <a:pt x="374250" y="114531"/>
                    <a:pt x="425342" y="137523"/>
                    <a:pt x="461958" y="174990"/>
                  </a:cubicBezTo>
                  <a:lnTo>
                    <a:pt x="123047" y="370844"/>
                  </a:lnTo>
                  <a:cubicBezTo>
                    <a:pt x="118363" y="353813"/>
                    <a:pt x="115383" y="335931"/>
                    <a:pt x="115383" y="316771"/>
                  </a:cubicBezTo>
                </a:path>
              </a:pathLst>
            </a:custGeom>
            <a:solidFill>
              <a:srgbClr val="B9052D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19010E1D-12CC-723C-07F6-925AFAD14DA8}"/>
                </a:ext>
              </a:extLst>
            </p:cNvPr>
            <p:cNvSpPr/>
            <p:nvPr/>
          </p:nvSpPr>
          <p:spPr>
            <a:xfrm>
              <a:off x="8659524" y="4396917"/>
              <a:ext cx="366355" cy="371489"/>
            </a:xfrm>
            <a:custGeom>
              <a:avLst/>
              <a:gdLst>
                <a:gd name="connsiteX0" fmla="*/ 242704 w 366355"/>
                <a:gd name="connsiteY0" fmla="*/ 64921 h 371489"/>
                <a:gd name="connsiteX1" fmla="*/ 180542 w 366355"/>
                <a:gd name="connsiteY1" fmla="*/ 44059 h 371489"/>
                <a:gd name="connsiteX2" fmla="*/ 114122 w 366355"/>
                <a:gd name="connsiteY2" fmla="*/ 61941 h 371489"/>
                <a:gd name="connsiteX3" fmla="*/ 63881 w 366355"/>
                <a:gd name="connsiteY3" fmla="*/ 111330 h 371489"/>
                <a:gd name="connsiteX4" fmla="*/ 47702 w 366355"/>
                <a:gd name="connsiteY4" fmla="*/ 178601 h 371489"/>
                <a:gd name="connsiteX5" fmla="*/ 70268 w 366355"/>
                <a:gd name="connsiteY5" fmla="*/ 252259 h 371489"/>
                <a:gd name="connsiteX6" fmla="*/ 122637 w 366355"/>
                <a:gd name="connsiteY6" fmla="*/ 308460 h 371489"/>
                <a:gd name="connsiteX7" fmla="*/ 188631 w 366355"/>
                <a:gd name="connsiteY7" fmla="*/ 327620 h 371489"/>
                <a:gd name="connsiteX8" fmla="*/ 256328 w 366355"/>
                <a:gd name="connsiteY8" fmla="*/ 308460 h 371489"/>
                <a:gd name="connsiteX9" fmla="*/ 315936 w 366355"/>
                <a:gd name="connsiteY9" fmla="*/ 237357 h 371489"/>
                <a:gd name="connsiteX10" fmla="*/ 307420 w 366355"/>
                <a:gd name="connsiteY10" fmla="*/ 143262 h 371489"/>
                <a:gd name="connsiteX11" fmla="*/ 182245 w 366355"/>
                <a:gd name="connsiteY11" fmla="*/ 215643 h 371489"/>
                <a:gd name="connsiteX12" fmla="*/ 163085 w 366355"/>
                <a:gd name="connsiteY12" fmla="*/ 182433 h 371489"/>
                <a:gd name="connsiteX13" fmla="*/ 331689 w 366355"/>
                <a:gd name="connsiteY13" fmla="*/ 84932 h 371489"/>
                <a:gd name="connsiteX14" fmla="*/ 349571 w 366355"/>
                <a:gd name="connsiteY14" fmla="*/ 116439 h 371489"/>
                <a:gd name="connsiteX15" fmla="*/ 366176 w 366355"/>
                <a:gd name="connsiteY15" fmla="*/ 201167 h 371489"/>
                <a:gd name="connsiteX16" fmla="*/ 341056 w 366355"/>
                <a:gd name="connsiteY16" fmla="*/ 283766 h 371489"/>
                <a:gd name="connsiteX17" fmla="*/ 276765 w 366355"/>
                <a:gd name="connsiteY17" fmla="*/ 345928 h 371489"/>
                <a:gd name="connsiteX18" fmla="*/ 185225 w 366355"/>
                <a:gd name="connsiteY18" fmla="*/ 371474 h 371489"/>
                <a:gd name="connsiteX19" fmla="*/ 95388 w 366355"/>
                <a:gd name="connsiteY19" fmla="*/ 347631 h 371489"/>
                <a:gd name="connsiteX20" fmla="*/ 26840 w 366355"/>
                <a:gd name="connsiteY20" fmla="*/ 277379 h 371489"/>
                <a:gd name="connsiteX21" fmla="*/ 16 w 366355"/>
                <a:gd name="connsiteY21" fmla="*/ 182859 h 371489"/>
                <a:gd name="connsiteX22" fmla="*/ 23859 w 366355"/>
                <a:gd name="connsiteY22" fmla="*/ 93022 h 371489"/>
                <a:gd name="connsiteX23" fmla="*/ 91556 w 366355"/>
                <a:gd name="connsiteY23" fmla="*/ 26602 h 371489"/>
                <a:gd name="connsiteX24" fmla="*/ 194166 w 366355"/>
                <a:gd name="connsiteY24" fmla="*/ 205 h 371489"/>
                <a:gd name="connsiteX25" fmla="*/ 290390 w 366355"/>
                <a:gd name="connsiteY25" fmla="*/ 37672 h 371489"/>
                <a:gd name="connsiteX26" fmla="*/ 242704 w 366355"/>
                <a:gd name="connsiteY26" fmla="*/ 64921 h 371489"/>
                <a:gd name="connsiteX27" fmla="*/ 242704 w 366355"/>
                <a:gd name="connsiteY27" fmla="*/ 64921 h 37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6355" h="371489">
                  <a:moveTo>
                    <a:pt x="242704" y="64921"/>
                  </a:moveTo>
                  <a:cubicBezTo>
                    <a:pt x="223544" y="51722"/>
                    <a:pt x="202682" y="44910"/>
                    <a:pt x="180542" y="44059"/>
                  </a:cubicBezTo>
                  <a:cubicBezTo>
                    <a:pt x="158402" y="43633"/>
                    <a:pt x="135836" y="49594"/>
                    <a:pt x="114122" y="61941"/>
                  </a:cubicBezTo>
                  <a:cubicBezTo>
                    <a:pt x="92408" y="74288"/>
                    <a:pt x="75377" y="91319"/>
                    <a:pt x="63881" y="111330"/>
                  </a:cubicBezTo>
                  <a:cubicBezTo>
                    <a:pt x="52386" y="131341"/>
                    <a:pt x="46425" y="153907"/>
                    <a:pt x="47702" y="178601"/>
                  </a:cubicBezTo>
                  <a:cubicBezTo>
                    <a:pt x="48554" y="203296"/>
                    <a:pt x="56217" y="227564"/>
                    <a:pt x="70268" y="252259"/>
                  </a:cubicBezTo>
                  <a:cubicBezTo>
                    <a:pt x="84318" y="276953"/>
                    <a:pt x="101775" y="295687"/>
                    <a:pt x="122637" y="308460"/>
                  </a:cubicBezTo>
                  <a:cubicBezTo>
                    <a:pt x="143500" y="321233"/>
                    <a:pt x="165214" y="327620"/>
                    <a:pt x="188631" y="327620"/>
                  </a:cubicBezTo>
                  <a:cubicBezTo>
                    <a:pt x="212048" y="327620"/>
                    <a:pt x="234614" y="321233"/>
                    <a:pt x="256328" y="308460"/>
                  </a:cubicBezTo>
                  <a:cubicBezTo>
                    <a:pt x="286983" y="290578"/>
                    <a:pt x="306569" y="267161"/>
                    <a:pt x="315936" y="237357"/>
                  </a:cubicBezTo>
                  <a:cubicBezTo>
                    <a:pt x="325303" y="207979"/>
                    <a:pt x="322322" y="176047"/>
                    <a:pt x="307420" y="143262"/>
                  </a:cubicBezTo>
                  <a:lnTo>
                    <a:pt x="182245" y="215643"/>
                  </a:lnTo>
                  <a:lnTo>
                    <a:pt x="163085" y="182433"/>
                  </a:lnTo>
                  <a:lnTo>
                    <a:pt x="331689" y="84932"/>
                  </a:lnTo>
                  <a:lnTo>
                    <a:pt x="349571" y="116439"/>
                  </a:lnTo>
                  <a:cubicBezTo>
                    <a:pt x="361918" y="143688"/>
                    <a:pt x="367454" y="172215"/>
                    <a:pt x="366176" y="201167"/>
                  </a:cubicBezTo>
                  <a:cubicBezTo>
                    <a:pt x="364899" y="230545"/>
                    <a:pt x="356384" y="258220"/>
                    <a:pt x="341056" y="283766"/>
                  </a:cubicBezTo>
                  <a:cubicBezTo>
                    <a:pt x="325728" y="309312"/>
                    <a:pt x="304014" y="330174"/>
                    <a:pt x="276765" y="345928"/>
                  </a:cubicBezTo>
                  <a:cubicBezTo>
                    <a:pt x="247387" y="362533"/>
                    <a:pt x="217157" y="371474"/>
                    <a:pt x="185225" y="371474"/>
                  </a:cubicBezTo>
                  <a:cubicBezTo>
                    <a:pt x="153292" y="371900"/>
                    <a:pt x="123489" y="363810"/>
                    <a:pt x="95388" y="347631"/>
                  </a:cubicBezTo>
                  <a:cubicBezTo>
                    <a:pt x="67287" y="331452"/>
                    <a:pt x="44722" y="308034"/>
                    <a:pt x="26840" y="277379"/>
                  </a:cubicBezTo>
                  <a:cubicBezTo>
                    <a:pt x="8957" y="246724"/>
                    <a:pt x="442" y="215217"/>
                    <a:pt x="16" y="182859"/>
                  </a:cubicBezTo>
                  <a:cubicBezTo>
                    <a:pt x="-410" y="150500"/>
                    <a:pt x="7680" y="120271"/>
                    <a:pt x="23859" y="93022"/>
                  </a:cubicBezTo>
                  <a:cubicBezTo>
                    <a:pt x="40038" y="65773"/>
                    <a:pt x="62604" y="43207"/>
                    <a:pt x="91556" y="26602"/>
                  </a:cubicBezTo>
                  <a:cubicBezTo>
                    <a:pt x="124766" y="7443"/>
                    <a:pt x="158828" y="-1499"/>
                    <a:pt x="194166" y="205"/>
                  </a:cubicBezTo>
                  <a:cubicBezTo>
                    <a:pt x="229505" y="1908"/>
                    <a:pt x="261437" y="14681"/>
                    <a:pt x="290390" y="37672"/>
                  </a:cubicBezTo>
                  <a:lnTo>
                    <a:pt x="242704" y="64921"/>
                  </a:lnTo>
                  <a:lnTo>
                    <a:pt x="242704" y="64921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990E197-FAF4-F61F-6428-7D58B4087CDD}"/>
                </a:ext>
              </a:extLst>
            </p:cNvPr>
            <p:cNvSpPr/>
            <p:nvPr/>
          </p:nvSpPr>
          <p:spPr>
            <a:xfrm>
              <a:off x="6794252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9 w 284838"/>
                <a:gd name="connsiteY8" fmla="*/ 362754 h 362753"/>
                <a:gd name="connsiteX9" fmla="*/ 284839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9" y="362754"/>
                  </a:lnTo>
                  <a:lnTo>
                    <a:pt x="284839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8FBB9670-47EB-6162-9211-5DE103FDD2C4}"/>
                </a:ext>
              </a:extLst>
            </p:cNvPr>
            <p:cNvSpPr/>
            <p:nvPr/>
          </p:nvSpPr>
          <p:spPr>
            <a:xfrm>
              <a:off x="7762873" y="4402657"/>
              <a:ext cx="173713" cy="362328"/>
            </a:xfrm>
            <a:custGeom>
              <a:avLst/>
              <a:gdLst>
                <a:gd name="connsiteX0" fmla="*/ 0 w 173713"/>
                <a:gd name="connsiteY0" fmla="*/ 0 h 362328"/>
                <a:gd name="connsiteX1" fmla="*/ 0 w 173713"/>
                <a:gd name="connsiteY1" fmla="*/ 362328 h 362328"/>
                <a:gd name="connsiteX2" fmla="*/ 173713 w 173713"/>
                <a:gd name="connsiteY2" fmla="*/ 362328 h 362328"/>
                <a:gd name="connsiteX3" fmla="*/ 173713 w 173713"/>
                <a:gd name="connsiteY3" fmla="*/ 323583 h 362328"/>
                <a:gd name="connsiteX4" fmla="*/ 47260 w 173713"/>
                <a:gd name="connsiteY4" fmla="*/ 323583 h 362328"/>
                <a:gd name="connsiteX5" fmla="*/ 47260 w 173713"/>
                <a:gd name="connsiteY5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13" h="362328">
                  <a:moveTo>
                    <a:pt x="0" y="0"/>
                  </a:moveTo>
                  <a:lnTo>
                    <a:pt x="0" y="362328"/>
                  </a:lnTo>
                  <a:lnTo>
                    <a:pt x="173713" y="362328"/>
                  </a:lnTo>
                  <a:lnTo>
                    <a:pt x="173713" y="323583"/>
                  </a:lnTo>
                  <a:lnTo>
                    <a:pt x="47260" y="323583"/>
                  </a:lnTo>
                  <a:lnTo>
                    <a:pt x="47260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A17F386-C6D4-88F4-A7F8-05BC29A36F43}"/>
                </a:ext>
              </a:extLst>
            </p:cNvPr>
            <p:cNvSpPr/>
            <p:nvPr/>
          </p:nvSpPr>
          <p:spPr>
            <a:xfrm>
              <a:off x="7909337" y="4402657"/>
              <a:ext cx="245667" cy="362328"/>
            </a:xfrm>
            <a:custGeom>
              <a:avLst/>
              <a:gdLst>
                <a:gd name="connsiteX0" fmla="*/ 0 w 245667"/>
                <a:gd name="connsiteY0" fmla="*/ 0 h 362328"/>
                <a:gd name="connsiteX1" fmla="*/ 0 w 245667"/>
                <a:gd name="connsiteY1" fmla="*/ 38745 h 362328"/>
                <a:gd name="connsiteX2" fmla="*/ 99630 w 245667"/>
                <a:gd name="connsiteY2" fmla="*/ 38745 h 362328"/>
                <a:gd name="connsiteX3" fmla="*/ 99630 w 245667"/>
                <a:gd name="connsiteY3" fmla="*/ 362328 h 362328"/>
                <a:gd name="connsiteX4" fmla="*/ 146890 w 245667"/>
                <a:gd name="connsiteY4" fmla="*/ 362328 h 362328"/>
                <a:gd name="connsiteX5" fmla="*/ 146890 w 245667"/>
                <a:gd name="connsiteY5" fmla="*/ 38745 h 362328"/>
                <a:gd name="connsiteX6" fmla="*/ 245668 w 245667"/>
                <a:gd name="connsiteY6" fmla="*/ 38745 h 362328"/>
                <a:gd name="connsiteX7" fmla="*/ 245668 w 245667"/>
                <a:gd name="connsiteY7" fmla="*/ 0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667" h="362328">
                  <a:moveTo>
                    <a:pt x="0" y="0"/>
                  </a:moveTo>
                  <a:lnTo>
                    <a:pt x="0" y="38745"/>
                  </a:lnTo>
                  <a:lnTo>
                    <a:pt x="99630" y="38745"/>
                  </a:lnTo>
                  <a:lnTo>
                    <a:pt x="99630" y="362328"/>
                  </a:lnTo>
                  <a:lnTo>
                    <a:pt x="146890" y="362328"/>
                  </a:lnTo>
                  <a:lnTo>
                    <a:pt x="146890" y="38745"/>
                  </a:lnTo>
                  <a:lnTo>
                    <a:pt x="245668" y="38745"/>
                  </a:lnTo>
                  <a:lnTo>
                    <a:pt x="245668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97D135CD-E063-92A8-7686-EE06D7CE4F1A}"/>
                </a:ext>
              </a:extLst>
            </p:cNvPr>
            <p:cNvSpPr/>
            <p:nvPr/>
          </p:nvSpPr>
          <p:spPr>
            <a:xfrm>
              <a:off x="8212910" y="4402657"/>
              <a:ext cx="47260" cy="362328"/>
            </a:xfrm>
            <a:custGeom>
              <a:avLst/>
              <a:gdLst>
                <a:gd name="connsiteX0" fmla="*/ 0 w 47260"/>
                <a:gd name="connsiteY0" fmla="*/ 0 h 362328"/>
                <a:gd name="connsiteX1" fmla="*/ 47260 w 47260"/>
                <a:gd name="connsiteY1" fmla="*/ 0 h 362328"/>
                <a:gd name="connsiteX2" fmla="*/ 47260 w 47260"/>
                <a:gd name="connsiteY2" fmla="*/ 362328 h 362328"/>
                <a:gd name="connsiteX3" fmla="*/ 0 w 47260"/>
                <a:gd name="connsiteY3" fmla="*/ 362328 h 36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260" h="362328">
                  <a:moveTo>
                    <a:pt x="0" y="0"/>
                  </a:moveTo>
                  <a:lnTo>
                    <a:pt x="47260" y="0"/>
                  </a:lnTo>
                  <a:lnTo>
                    <a:pt x="47260" y="362328"/>
                  </a:lnTo>
                  <a:lnTo>
                    <a:pt x="0" y="362328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294B739C-CF35-48AD-DCB1-BC8755211D63}"/>
                </a:ext>
              </a:extLst>
            </p:cNvPr>
            <p:cNvSpPr/>
            <p:nvPr/>
          </p:nvSpPr>
          <p:spPr>
            <a:xfrm>
              <a:off x="7432478" y="4402657"/>
              <a:ext cx="272065" cy="365734"/>
            </a:xfrm>
            <a:custGeom>
              <a:avLst/>
              <a:gdLst>
                <a:gd name="connsiteX0" fmla="*/ 46834 w 272065"/>
                <a:gd name="connsiteY0" fmla="*/ 0 h 365734"/>
                <a:gd name="connsiteX1" fmla="*/ 46834 w 272065"/>
                <a:gd name="connsiteY1" fmla="*/ 229063 h 365734"/>
                <a:gd name="connsiteX2" fmla="*/ 70252 w 272065"/>
                <a:gd name="connsiteY2" fmla="*/ 300592 h 365734"/>
                <a:gd name="connsiteX3" fmla="*/ 135820 w 272065"/>
                <a:gd name="connsiteY3" fmla="*/ 324009 h 365734"/>
                <a:gd name="connsiteX4" fmla="*/ 201388 w 272065"/>
                <a:gd name="connsiteY4" fmla="*/ 300592 h 365734"/>
                <a:gd name="connsiteX5" fmla="*/ 224805 w 272065"/>
                <a:gd name="connsiteY5" fmla="*/ 229063 h 365734"/>
                <a:gd name="connsiteX6" fmla="*/ 224805 w 272065"/>
                <a:gd name="connsiteY6" fmla="*/ 0 h 365734"/>
                <a:gd name="connsiteX7" fmla="*/ 272066 w 272065"/>
                <a:gd name="connsiteY7" fmla="*/ 0 h 365734"/>
                <a:gd name="connsiteX8" fmla="*/ 272066 w 272065"/>
                <a:gd name="connsiteY8" fmla="*/ 228637 h 365734"/>
                <a:gd name="connsiteX9" fmla="*/ 254183 w 272065"/>
                <a:gd name="connsiteY9" fmla="*/ 304850 h 365734"/>
                <a:gd name="connsiteX10" fmla="*/ 205220 w 272065"/>
                <a:gd name="connsiteY10" fmla="*/ 350832 h 365734"/>
                <a:gd name="connsiteX11" fmla="*/ 135820 w 272065"/>
                <a:gd name="connsiteY11" fmla="*/ 365734 h 365734"/>
                <a:gd name="connsiteX12" fmla="*/ 66420 w 272065"/>
                <a:gd name="connsiteY12" fmla="*/ 350832 h 365734"/>
                <a:gd name="connsiteX13" fmla="*/ 17882 w 272065"/>
                <a:gd name="connsiteY13" fmla="*/ 304850 h 365734"/>
                <a:gd name="connsiteX14" fmla="*/ 0 w 272065"/>
                <a:gd name="connsiteY14" fmla="*/ 228637 h 365734"/>
                <a:gd name="connsiteX15" fmla="*/ 0 w 272065"/>
                <a:gd name="connsiteY15" fmla="*/ 0 h 365734"/>
                <a:gd name="connsiteX16" fmla="*/ 46834 w 272065"/>
                <a:gd name="connsiteY16" fmla="*/ 0 h 365734"/>
                <a:gd name="connsiteX17" fmla="*/ 46834 w 272065"/>
                <a:gd name="connsiteY17" fmla="*/ 0 h 36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2065" h="365734">
                  <a:moveTo>
                    <a:pt x="46834" y="0"/>
                  </a:moveTo>
                  <a:lnTo>
                    <a:pt x="46834" y="229063"/>
                  </a:lnTo>
                  <a:cubicBezTo>
                    <a:pt x="46834" y="261421"/>
                    <a:pt x="54924" y="285264"/>
                    <a:pt x="70252" y="300592"/>
                  </a:cubicBezTo>
                  <a:cubicBezTo>
                    <a:pt x="86005" y="316345"/>
                    <a:pt x="107719" y="324009"/>
                    <a:pt x="135820" y="324009"/>
                  </a:cubicBezTo>
                  <a:cubicBezTo>
                    <a:pt x="163921" y="324009"/>
                    <a:pt x="185209" y="316345"/>
                    <a:pt x="201388" y="300592"/>
                  </a:cubicBezTo>
                  <a:cubicBezTo>
                    <a:pt x="217141" y="284838"/>
                    <a:pt x="224805" y="260995"/>
                    <a:pt x="224805" y="229063"/>
                  </a:cubicBezTo>
                  <a:lnTo>
                    <a:pt x="224805" y="0"/>
                  </a:lnTo>
                  <a:lnTo>
                    <a:pt x="272066" y="0"/>
                  </a:lnTo>
                  <a:lnTo>
                    <a:pt x="272066" y="228637"/>
                  </a:lnTo>
                  <a:cubicBezTo>
                    <a:pt x="272066" y="258867"/>
                    <a:pt x="266105" y="284413"/>
                    <a:pt x="254183" y="304850"/>
                  </a:cubicBezTo>
                  <a:cubicBezTo>
                    <a:pt x="241836" y="325286"/>
                    <a:pt x="225657" y="340614"/>
                    <a:pt x="205220" y="350832"/>
                  </a:cubicBezTo>
                  <a:cubicBezTo>
                    <a:pt x="184783" y="361051"/>
                    <a:pt x="161366" y="365734"/>
                    <a:pt x="135820" y="365734"/>
                  </a:cubicBezTo>
                  <a:cubicBezTo>
                    <a:pt x="110274" y="365734"/>
                    <a:pt x="87282" y="361051"/>
                    <a:pt x="66420" y="350832"/>
                  </a:cubicBezTo>
                  <a:cubicBezTo>
                    <a:pt x="45983" y="340614"/>
                    <a:pt x="29804" y="325286"/>
                    <a:pt x="17882" y="304850"/>
                  </a:cubicBezTo>
                  <a:cubicBezTo>
                    <a:pt x="5961" y="284413"/>
                    <a:pt x="0" y="258867"/>
                    <a:pt x="0" y="228637"/>
                  </a:cubicBezTo>
                  <a:lnTo>
                    <a:pt x="0" y="0"/>
                  </a:lnTo>
                  <a:lnTo>
                    <a:pt x="46834" y="0"/>
                  </a:lnTo>
                  <a:lnTo>
                    <a:pt x="46834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C84567E-5BA1-593B-708B-108A3C3631F3}"/>
                </a:ext>
              </a:extLst>
            </p:cNvPr>
            <p:cNvSpPr/>
            <p:nvPr/>
          </p:nvSpPr>
          <p:spPr>
            <a:xfrm>
              <a:off x="7136995" y="4398399"/>
              <a:ext cx="245667" cy="369595"/>
            </a:xfrm>
            <a:custGeom>
              <a:avLst/>
              <a:gdLst>
                <a:gd name="connsiteX0" fmla="*/ 61311 w 245667"/>
                <a:gd name="connsiteY0" fmla="*/ 357645 h 369595"/>
                <a:gd name="connsiteX1" fmla="*/ 16605 w 245667"/>
                <a:gd name="connsiteY1" fmla="*/ 322306 h 369595"/>
                <a:gd name="connsiteX2" fmla="*/ 0 w 245667"/>
                <a:gd name="connsiteY2" fmla="*/ 269937 h 369595"/>
                <a:gd name="connsiteX3" fmla="*/ 50241 w 245667"/>
                <a:gd name="connsiteY3" fmla="*/ 269937 h 369595"/>
                <a:gd name="connsiteX4" fmla="*/ 71103 w 245667"/>
                <a:gd name="connsiteY4" fmla="*/ 312513 h 369595"/>
                <a:gd name="connsiteX5" fmla="*/ 124750 w 245667"/>
                <a:gd name="connsiteY5" fmla="*/ 329970 h 369595"/>
                <a:gd name="connsiteX6" fmla="*/ 177971 w 245667"/>
                <a:gd name="connsiteY6" fmla="*/ 312939 h 369595"/>
                <a:gd name="connsiteX7" fmla="*/ 197556 w 245667"/>
                <a:gd name="connsiteY7" fmla="*/ 269511 h 369595"/>
                <a:gd name="connsiteX8" fmla="*/ 186061 w 245667"/>
                <a:gd name="connsiteY8" fmla="*/ 235875 h 369595"/>
                <a:gd name="connsiteX9" fmla="*/ 157534 w 245667"/>
                <a:gd name="connsiteY9" fmla="*/ 216290 h 369595"/>
                <a:gd name="connsiteX10" fmla="*/ 111125 w 245667"/>
                <a:gd name="connsiteY10" fmla="*/ 201814 h 369595"/>
                <a:gd name="connsiteX11" fmla="*/ 53647 w 245667"/>
                <a:gd name="connsiteY11" fmla="*/ 183080 h 369595"/>
                <a:gd name="connsiteX12" fmla="*/ 17031 w 245667"/>
                <a:gd name="connsiteY12" fmla="*/ 153702 h 369595"/>
                <a:gd name="connsiteX13" fmla="*/ 1703 w 245667"/>
                <a:gd name="connsiteY13" fmla="*/ 100055 h 369595"/>
                <a:gd name="connsiteX14" fmla="*/ 16605 w 245667"/>
                <a:gd name="connsiteY14" fmla="*/ 47686 h 369595"/>
                <a:gd name="connsiteX15" fmla="*/ 59182 w 245667"/>
                <a:gd name="connsiteY15" fmla="*/ 12347 h 369595"/>
                <a:gd name="connsiteX16" fmla="*/ 121770 w 245667"/>
                <a:gd name="connsiteY16" fmla="*/ 0 h 369595"/>
                <a:gd name="connsiteX17" fmla="*/ 205220 w 245667"/>
                <a:gd name="connsiteY17" fmla="*/ 25546 h 369595"/>
                <a:gd name="connsiteX18" fmla="*/ 241836 w 245667"/>
                <a:gd name="connsiteY18" fmla="*/ 92817 h 369595"/>
                <a:gd name="connsiteX19" fmla="*/ 189892 w 245667"/>
                <a:gd name="connsiteY19" fmla="*/ 92817 h 369595"/>
                <a:gd name="connsiteX20" fmla="*/ 168178 w 245667"/>
                <a:gd name="connsiteY20" fmla="*/ 56201 h 369595"/>
                <a:gd name="connsiteX21" fmla="*/ 117512 w 245667"/>
                <a:gd name="connsiteY21" fmla="*/ 40022 h 369595"/>
                <a:gd name="connsiteX22" fmla="*/ 68974 w 245667"/>
                <a:gd name="connsiteY22" fmla="*/ 55350 h 369595"/>
                <a:gd name="connsiteX23" fmla="*/ 50241 w 245667"/>
                <a:gd name="connsiteY23" fmla="*/ 97927 h 369595"/>
                <a:gd name="connsiteX24" fmla="*/ 61311 w 245667"/>
                <a:gd name="connsiteY24" fmla="*/ 130285 h 369595"/>
                <a:gd name="connsiteX25" fmla="*/ 88985 w 245667"/>
                <a:gd name="connsiteY25" fmla="*/ 149444 h 369595"/>
                <a:gd name="connsiteX26" fmla="*/ 134968 w 245667"/>
                <a:gd name="connsiteY26" fmla="*/ 164346 h 369595"/>
                <a:gd name="connsiteX27" fmla="*/ 192447 w 245667"/>
                <a:gd name="connsiteY27" fmla="*/ 183932 h 369595"/>
                <a:gd name="connsiteX28" fmla="*/ 229915 w 245667"/>
                <a:gd name="connsiteY28" fmla="*/ 213310 h 369595"/>
                <a:gd name="connsiteX29" fmla="*/ 245668 w 245667"/>
                <a:gd name="connsiteY29" fmla="*/ 267382 h 369595"/>
                <a:gd name="connsiteX30" fmla="*/ 231618 w 245667"/>
                <a:gd name="connsiteY30" fmla="*/ 317197 h 369595"/>
                <a:gd name="connsiteX31" fmla="*/ 189892 w 245667"/>
                <a:gd name="connsiteY31" fmla="*/ 355090 h 369595"/>
                <a:gd name="connsiteX32" fmla="*/ 124750 w 245667"/>
                <a:gd name="connsiteY32" fmla="*/ 369566 h 369595"/>
                <a:gd name="connsiteX33" fmla="*/ 61311 w 245667"/>
                <a:gd name="connsiteY33" fmla="*/ 357645 h 369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45667" h="369595">
                  <a:moveTo>
                    <a:pt x="61311" y="357645"/>
                  </a:moveTo>
                  <a:cubicBezTo>
                    <a:pt x="42577" y="349129"/>
                    <a:pt x="27675" y="337634"/>
                    <a:pt x="16605" y="322306"/>
                  </a:cubicBezTo>
                  <a:cubicBezTo>
                    <a:pt x="5961" y="307404"/>
                    <a:pt x="426" y="289948"/>
                    <a:pt x="0" y="269937"/>
                  </a:cubicBezTo>
                  <a:lnTo>
                    <a:pt x="50241" y="269937"/>
                  </a:lnTo>
                  <a:cubicBezTo>
                    <a:pt x="51944" y="286967"/>
                    <a:pt x="58756" y="301443"/>
                    <a:pt x="71103" y="312513"/>
                  </a:cubicBezTo>
                  <a:cubicBezTo>
                    <a:pt x="83450" y="323583"/>
                    <a:pt x="101333" y="329970"/>
                    <a:pt x="124750" y="329970"/>
                  </a:cubicBezTo>
                  <a:cubicBezTo>
                    <a:pt x="148167" y="329970"/>
                    <a:pt x="165198" y="324435"/>
                    <a:pt x="177971" y="312939"/>
                  </a:cubicBezTo>
                  <a:cubicBezTo>
                    <a:pt x="190744" y="301869"/>
                    <a:pt x="197556" y="287393"/>
                    <a:pt x="197556" y="269511"/>
                  </a:cubicBezTo>
                  <a:cubicBezTo>
                    <a:pt x="197556" y="255461"/>
                    <a:pt x="193724" y="244391"/>
                    <a:pt x="186061" y="235875"/>
                  </a:cubicBezTo>
                  <a:cubicBezTo>
                    <a:pt x="178397" y="227360"/>
                    <a:pt x="169030" y="220548"/>
                    <a:pt x="157534" y="216290"/>
                  </a:cubicBezTo>
                  <a:cubicBezTo>
                    <a:pt x="146038" y="211607"/>
                    <a:pt x="130711" y="206923"/>
                    <a:pt x="111125" y="201814"/>
                  </a:cubicBezTo>
                  <a:cubicBezTo>
                    <a:pt x="87282" y="195427"/>
                    <a:pt x="68123" y="189467"/>
                    <a:pt x="53647" y="183080"/>
                  </a:cubicBezTo>
                  <a:cubicBezTo>
                    <a:pt x="39171" y="176694"/>
                    <a:pt x="26823" y="166901"/>
                    <a:pt x="17031" y="153702"/>
                  </a:cubicBezTo>
                  <a:cubicBezTo>
                    <a:pt x="6812" y="140503"/>
                    <a:pt x="1703" y="122195"/>
                    <a:pt x="1703" y="100055"/>
                  </a:cubicBezTo>
                  <a:cubicBezTo>
                    <a:pt x="1703" y="80470"/>
                    <a:pt x="6387" y="63014"/>
                    <a:pt x="16605" y="47686"/>
                  </a:cubicBezTo>
                  <a:cubicBezTo>
                    <a:pt x="26823" y="32358"/>
                    <a:pt x="40874" y="20437"/>
                    <a:pt x="59182" y="12347"/>
                  </a:cubicBezTo>
                  <a:cubicBezTo>
                    <a:pt x="77064" y="3832"/>
                    <a:pt x="97927" y="0"/>
                    <a:pt x="121770" y="0"/>
                  </a:cubicBezTo>
                  <a:cubicBezTo>
                    <a:pt x="155831" y="0"/>
                    <a:pt x="183506" y="8515"/>
                    <a:pt x="205220" y="25546"/>
                  </a:cubicBezTo>
                  <a:cubicBezTo>
                    <a:pt x="226934" y="42577"/>
                    <a:pt x="238856" y="65142"/>
                    <a:pt x="241836" y="92817"/>
                  </a:cubicBezTo>
                  <a:lnTo>
                    <a:pt x="189892" y="92817"/>
                  </a:lnTo>
                  <a:cubicBezTo>
                    <a:pt x="188189" y="78767"/>
                    <a:pt x="180951" y="66846"/>
                    <a:pt x="168178" y="56201"/>
                  </a:cubicBezTo>
                  <a:cubicBezTo>
                    <a:pt x="155405" y="45983"/>
                    <a:pt x="138374" y="40022"/>
                    <a:pt x="117512" y="40022"/>
                  </a:cubicBezTo>
                  <a:cubicBezTo>
                    <a:pt x="96649" y="40022"/>
                    <a:pt x="81747" y="45131"/>
                    <a:pt x="68974" y="55350"/>
                  </a:cubicBezTo>
                  <a:cubicBezTo>
                    <a:pt x="56201" y="65568"/>
                    <a:pt x="50241" y="79619"/>
                    <a:pt x="50241" y="97927"/>
                  </a:cubicBezTo>
                  <a:cubicBezTo>
                    <a:pt x="50241" y="111125"/>
                    <a:pt x="54073" y="121770"/>
                    <a:pt x="61311" y="130285"/>
                  </a:cubicBezTo>
                  <a:cubicBezTo>
                    <a:pt x="68549" y="138800"/>
                    <a:pt x="77915" y="144761"/>
                    <a:pt x="88985" y="149444"/>
                  </a:cubicBezTo>
                  <a:cubicBezTo>
                    <a:pt x="99630" y="153702"/>
                    <a:pt x="115383" y="158811"/>
                    <a:pt x="134968" y="164346"/>
                  </a:cubicBezTo>
                  <a:cubicBezTo>
                    <a:pt x="158811" y="171159"/>
                    <a:pt x="177971" y="177545"/>
                    <a:pt x="192447" y="183932"/>
                  </a:cubicBezTo>
                  <a:cubicBezTo>
                    <a:pt x="206923" y="190318"/>
                    <a:pt x="219696" y="200111"/>
                    <a:pt x="229915" y="213310"/>
                  </a:cubicBezTo>
                  <a:cubicBezTo>
                    <a:pt x="240133" y="226508"/>
                    <a:pt x="245668" y="244816"/>
                    <a:pt x="245668" y="267382"/>
                  </a:cubicBezTo>
                  <a:cubicBezTo>
                    <a:pt x="245668" y="285264"/>
                    <a:pt x="240985" y="301869"/>
                    <a:pt x="231618" y="317197"/>
                  </a:cubicBezTo>
                  <a:cubicBezTo>
                    <a:pt x="222251" y="332950"/>
                    <a:pt x="208200" y="345297"/>
                    <a:pt x="189892" y="355090"/>
                  </a:cubicBezTo>
                  <a:cubicBezTo>
                    <a:pt x="171584" y="364883"/>
                    <a:pt x="149870" y="369566"/>
                    <a:pt x="124750" y="369566"/>
                  </a:cubicBezTo>
                  <a:cubicBezTo>
                    <a:pt x="100055" y="369992"/>
                    <a:pt x="79619" y="365734"/>
                    <a:pt x="61311" y="357645"/>
                  </a:cubicBezTo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D5A01D9C-79FD-9AD8-62D5-12E625B47EBD}"/>
                </a:ext>
              </a:extLst>
            </p:cNvPr>
            <p:cNvSpPr/>
            <p:nvPr/>
          </p:nvSpPr>
          <p:spPr>
            <a:xfrm>
              <a:off x="8318074" y="4402231"/>
              <a:ext cx="284838" cy="362753"/>
            </a:xfrm>
            <a:custGeom>
              <a:avLst/>
              <a:gdLst>
                <a:gd name="connsiteX0" fmla="*/ 237578 w 284838"/>
                <a:gd name="connsiteY0" fmla="*/ 0 h 362753"/>
                <a:gd name="connsiteX1" fmla="*/ 237578 w 284838"/>
                <a:gd name="connsiteY1" fmla="*/ 287819 h 362753"/>
                <a:gd name="connsiteX2" fmla="*/ 47260 w 284838"/>
                <a:gd name="connsiteY2" fmla="*/ 0 h 362753"/>
                <a:gd name="connsiteX3" fmla="*/ 0 w 284838"/>
                <a:gd name="connsiteY3" fmla="*/ 0 h 362753"/>
                <a:gd name="connsiteX4" fmla="*/ 0 w 284838"/>
                <a:gd name="connsiteY4" fmla="*/ 362754 h 362753"/>
                <a:gd name="connsiteX5" fmla="*/ 47260 w 284838"/>
                <a:gd name="connsiteY5" fmla="*/ 362754 h 362753"/>
                <a:gd name="connsiteX6" fmla="*/ 47260 w 284838"/>
                <a:gd name="connsiteY6" fmla="*/ 74084 h 362753"/>
                <a:gd name="connsiteX7" fmla="*/ 237578 w 284838"/>
                <a:gd name="connsiteY7" fmla="*/ 362754 h 362753"/>
                <a:gd name="connsiteX8" fmla="*/ 284838 w 284838"/>
                <a:gd name="connsiteY8" fmla="*/ 362754 h 362753"/>
                <a:gd name="connsiteX9" fmla="*/ 284838 w 284838"/>
                <a:gd name="connsiteY9" fmla="*/ 0 h 362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4838" h="362753">
                  <a:moveTo>
                    <a:pt x="237578" y="0"/>
                  </a:moveTo>
                  <a:lnTo>
                    <a:pt x="237578" y="287819"/>
                  </a:lnTo>
                  <a:lnTo>
                    <a:pt x="47260" y="0"/>
                  </a:lnTo>
                  <a:lnTo>
                    <a:pt x="0" y="0"/>
                  </a:lnTo>
                  <a:lnTo>
                    <a:pt x="0" y="362754"/>
                  </a:lnTo>
                  <a:lnTo>
                    <a:pt x="47260" y="362754"/>
                  </a:lnTo>
                  <a:lnTo>
                    <a:pt x="47260" y="74084"/>
                  </a:lnTo>
                  <a:lnTo>
                    <a:pt x="237578" y="362754"/>
                  </a:lnTo>
                  <a:lnTo>
                    <a:pt x="284838" y="362754"/>
                  </a:lnTo>
                  <a:lnTo>
                    <a:pt x="284838" y="0"/>
                  </a:lnTo>
                  <a:close/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73A26470-CBE5-ABD0-7CB6-C3791780E773}"/>
                </a:ext>
              </a:extLst>
            </p:cNvPr>
            <p:cNvSpPr/>
            <p:nvPr/>
          </p:nvSpPr>
          <p:spPr>
            <a:xfrm>
              <a:off x="6372742" y="4398399"/>
              <a:ext cx="363605" cy="369140"/>
            </a:xfrm>
            <a:custGeom>
              <a:avLst/>
              <a:gdLst>
                <a:gd name="connsiteX0" fmla="*/ 89837 w 363605"/>
                <a:gd name="connsiteY0" fmla="*/ 346575 h 369140"/>
                <a:gd name="connsiteX1" fmla="*/ 24269 w 363605"/>
                <a:gd name="connsiteY1" fmla="*/ 280581 h 369140"/>
                <a:gd name="connsiteX2" fmla="*/ 0 w 363605"/>
                <a:gd name="connsiteY2" fmla="*/ 185209 h 369140"/>
                <a:gd name="connsiteX3" fmla="*/ 24269 w 363605"/>
                <a:gd name="connsiteY3" fmla="*/ 89837 h 369140"/>
                <a:gd name="connsiteX4" fmla="*/ 89837 w 363605"/>
                <a:gd name="connsiteY4" fmla="*/ 23843 h 369140"/>
                <a:gd name="connsiteX5" fmla="*/ 181803 w 363605"/>
                <a:gd name="connsiteY5" fmla="*/ 0 h 369140"/>
                <a:gd name="connsiteX6" fmla="*/ 274194 w 363605"/>
                <a:gd name="connsiteY6" fmla="*/ 23843 h 369140"/>
                <a:gd name="connsiteX7" fmla="*/ 339763 w 363605"/>
                <a:gd name="connsiteY7" fmla="*/ 89411 h 369140"/>
                <a:gd name="connsiteX8" fmla="*/ 363606 w 363605"/>
                <a:gd name="connsiteY8" fmla="*/ 184783 h 369140"/>
                <a:gd name="connsiteX9" fmla="*/ 339763 w 363605"/>
                <a:gd name="connsiteY9" fmla="*/ 280155 h 369140"/>
                <a:gd name="connsiteX10" fmla="*/ 274194 w 363605"/>
                <a:gd name="connsiteY10" fmla="*/ 345723 h 369140"/>
                <a:gd name="connsiteX11" fmla="*/ 181803 w 363605"/>
                <a:gd name="connsiteY11" fmla="*/ 369140 h 369140"/>
                <a:gd name="connsiteX12" fmla="*/ 89837 w 363605"/>
                <a:gd name="connsiteY12" fmla="*/ 346575 h 369140"/>
                <a:gd name="connsiteX13" fmla="*/ 249926 w 363605"/>
                <a:gd name="connsiteY13" fmla="*/ 311236 h 369140"/>
                <a:gd name="connsiteX14" fmla="*/ 297612 w 363605"/>
                <a:gd name="connsiteY14" fmla="*/ 260995 h 369140"/>
                <a:gd name="connsiteX15" fmla="*/ 315068 w 363605"/>
                <a:gd name="connsiteY15" fmla="*/ 185209 h 369140"/>
                <a:gd name="connsiteX16" fmla="*/ 297612 w 363605"/>
                <a:gd name="connsiteY16" fmla="*/ 108997 h 369140"/>
                <a:gd name="connsiteX17" fmla="*/ 249926 w 363605"/>
                <a:gd name="connsiteY17" fmla="*/ 58756 h 369140"/>
                <a:gd name="connsiteX18" fmla="*/ 181377 w 363605"/>
                <a:gd name="connsiteY18" fmla="*/ 40874 h 369140"/>
                <a:gd name="connsiteX19" fmla="*/ 112828 w 363605"/>
                <a:gd name="connsiteY19" fmla="*/ 58756 h 369140"/>
                <a:gd name="connsiteX20" fmla="*/ 65142 w 363605"/>
                <a:gd name="connsiteY20" fmla="*/ 108997 h 369140"/>
                <a:gd name="connsiteX21" fmla="*/ 47686 w 363605"/>
                <a:gd name="connsiteY21" fmla="*/ 185209 h 369140"/>
                <a:gd name="connsiteX22" fmla="*/ 65142 w 363605"/>
                <a:gd name="connsiteY22" fmla="*/ 260995 h 369140"/>
                <a:gd name="connsiteX23" fmla="*/ 112828 w 363605"/>
                <a:gd name="connsiteY23" fmla="*/ 311236 h 369140"/>
                <a:gd name="connsiteX24" fmla="*/ 180951 w 363605"/>
                <a:gd name="connsiteY24" fmla="*/ 329118 h 369140"/>
                <a:gd name="connsiteX25" fmla="*/ 249926 w 363605"/>
                <a:gd name="connsiteY25" fmla="*/ 311236 h 369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3605" h="369140">
                  <a:moveTo>
                    <a:pt x="89837" y="346575"/>
                  </a:moveTo>
                  <a:cubicBezTo>
                    <a:pt x="62162" y="330821"/>
                    <a:pt x="40022" y="308681"/>
                    <a:pt x="24269" y="280581"/>
                  </a:cubicBezTo>
                  <a:cubicBezTo>
                    <a:pt x="8090" y="252480"/>
                    <a:pt x="0" y="220548"/>
                    <a:pt x="0" y="185209"/>
                  </a:cubicBezTo>
                  <a:cubicBezTo>
                    <a:pt x="0" y="149870"/>
                    <a:pt x="8090" y="117938"/>
                    <a:pt x="24269" y="89837"/>
                  </a:cubicBezTo>
                  <a:cubicBezTo>
                    <a:pt x="40448" y="61736"/>
                    <a:pt x="62162" y="39596"/>
                    <a:pt x="89837" y="23843"/>
                  </a:cubicBezTo>
                  <a:cubicBezTo>
                    <a:pt x="117512" y="8090"/>
                    <a:pt x="148167" y="0"/>
                    <a:pt x="181803" y="0"/>
                  </a:cubicBezTo>
                  <a:cubicBezTo>
                    <a:pt x="215438" y="0"/>
                    <a:pt x="246519" y="8090"/>
                    <a:pt x="274194" y="23843"/>
                  </a:cubicBezTo>
                  <a:cubicBezTo>
                    <a:pt x="301869" y="39596"/>
                    <a:pt x="323583" y="61311"/>
                    <a:pt x="339763" y="89411"/>
                  </a:cubicBezTo>
                  <a:cubicBezTo>
                    <a:pt x="355942" y="117512"/>
                    <a:pt x="363606" y="149444"/>
                    <a:pt x="363606" y="184783"/>
                  </a:cubicBezTo>
                  <a:cubicBezTo>
                    <a:pt x="363606" y="220122"/>
                    <a:pt x="355516" y="252054"/>
                    <a:pt x="339763" y="280155"/>
                  </a:cubicBezTo>
                  <a:cubicBezTo>
                    <a:pt x="324009" y="308256"/>
                    <a:pt x="301869" y="330396"/>
                    <a:pt x="274194" y="345723"/>
                  </a:cubicBezTo>
                  <a:cubicBezTo>
                    <a:pt x="246519" y="361477"/>
                    <a:pt x="215864" y="369140"/>
                    <a:pt x="181803" y="369140"/>
                  </a:cubicBezTo>
                  <a:cubicBezTo>
                    <a:pt x="147741" y="369140"/>
                    <a:pt x="117086" y="362328"/>
                    <a:pt x="89837" y="346575"/>
                  </a:cubicBezTo>
                  <a:moveTo>
                    <a:pt x="249926" y="311236"/>
                  </a:moveTo>
                  <a:cubicBezTo>
                    <a:pt x="269937" y="299315"/>
                    <a:pt x="286116" y="282710"/>
                    <a:pt x="297612" y="260995"/>
                  </a:cubicBezTo>
                  <a:cubicBezTo>
                    <a:pt x="309107" y="239281"/>
                    <a:pt x="315068" y="213735"/>
                    <a:pt x="315068" y="185209"/>
                  </a:cubicBezTo>
                  <a:cubicBezTo>
                    <a:pt x="315068" y="156682"/>
                    <a:pt x="309107" y="130711"/>
                    <a:pt x="297612" y="108997"/>
                  </a:cubicBezTo>
                  <a:cubicBezTo>
                    <a:pt x="286116" y="87282"/>
                    <a:pt x="270362" y="70677"/>
                    <a:pt x="249926" y="58756"/>
                  </a:cubicBezTo>
                  <a:cubicBezTo>
                    <a:pt x="229489" y="46834"/>
                    <a:pt x="206923" y="40874"/>
                    <a:pt x="181377" y="40874"/>
                  </a:cubicBezTo>
                  <a:cubicBezTo>
                    <a:pt x="155831" y="40874"/>
                    <a:pt x="132839" y="46834"/>
                    <a:pt x="112828" y="58756"/>
                  </a:cubicBezTo>
                  <a:cubicBezTo>
                    <a:pt x="92817" y="70677"/>
                    <a:pt x="77064" y="87282"/>
                    <a:pt x="65142" y="108997"/>
                  </a:cubicBezTo>
                  <a:cubicBezTo>
                    <a:pt x="53647" y="130711"/>
                    <a:pt x="47686" y="155831"/>
                    <a:pt x="47686" y="185209"/>
                  </a:cubicBezTo>
                  <a:cubicBezTo>
                    <a:pt x="47686" y="214587"/>
                    <a:pt x="53647" y="238856"/>
                    <a:pt x="65142" y="260995"/>
                  </a:cubicBezTo>
                  <a:cubicBezTo>
                    <a:pt x="76638" y="282710"/>
                    <a:pt x="92392" y="299740"/>
                    <a:pt x="112828" y="311236"/>
                  </a:cubicBezTo>
                  <a:cubicBezTo>
                    <a:pt x="132839" y="323158"/>
                    <a:pt x="155831" y="329118"/>
                    <a:pt x="180951" y="329118"/>
                  </a:cubicBezTo>
                  <a:cubicBezTo>
                    <a:pt x="206072" y="329118"/>
                    <a:pt x="229489" y="323158"/>
                    <a:pt x="249926" y="311236"/>
                  </a:cubicBezTo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7279DA57-7C6D-A25C-8A49-CEC9D4AAC612}"/>
                </a:ext>
              </a:extLst>
            </p:cNvPr>
            <p:cNvSpPr/>
            <p:nvPr/>
          </p:nvSpPr>
          <p:spPr>
            <a:xfrm>
              <a:off x="5978481" y="4397973"/>
              <a:ext cx="348703" cy="369991"/>
            </a:xfrm>
            <a:custGeom>
              <a:avLst/>
              <a:gdLst>
                <a:gd name="connsiteX0" fmla="*/ 24269 w 348703"/>
                <a:gd name="connsiteY0" fmla="*/ 90263 h 369991"/>
                <a:gd name="connsiteX1" fmla="*/ 89411 w 348703"/>
                <a:gd name="connsiteY1" fmla="*/ 23843 h 369991"/>
                <a:gd name="connsiteX2" fmla="*/ 181377 w 348703"/>
                <a:gd name="connsiteY2" fmla="*/ 0 h 369991"/>
                <a:gd name="connsiteX3" fmla="*/ 284413 w 348703"/>
                <a:gd name="connsiteY3" fmla="*/ 28526 h 369991"/>
                <a:gd name="connsiteX4" fmla="*/ 348704 w 348703"/>
                <a:gd name="connsiteY4" fmla="*/ 109422 h 369991"/>
                <a:gd name="connsiteX5" fmla="*/ 292077 w 348703"/>
                <a:gd name="connsiteY5" fmla="*/ 109422 h 369991"/>
                <a:gd name="connsiteX6" fmla="*/ 248648 w 348703"/>
                <a:gd name="connsiteY6" fmla="*/ 59182 h 369991"/>
                <a:gd name="connsiteX7" fmla="*/ 180951 w 348703"/>
                <a:gd name="connsiteY7" fmla="*/ 41299 h 369991"/>
                <a:gd name="connsiteX8" fmla="*/ 112828 w 348703"/>
                <a:gd name="connsiteY8" fmla="*/ 59182 h 369991"/>
                <a:gd name="connsiteX9" fmla="*/ 65568 w 348703"/>
                <a:gd name="connsiteY9" fmla="*/ 109422 h 369991"/>
                <a:gd name="connsiteX10" fmla="*/ 48538 w 348703"/>
                <a:gd name="connsiteY10" fmla="*/ 185635 h 369991"/>
                <a:gd name="connsiteX11" fmla="*/ 65568 w 348703"/>
                <a:gd name="connsiteY11" fmla="*/ 260995 h 369991"/>
                <a:gd name="connsiteX12" fmla="*/ 112828 w 348703"/>
                <a:gd name="connsiteY12" fmla="*/ 311236 h 369991"/>
                <a:gd name="connsiteX13" fmla="*/ 180951 w 348703"/>
                <a:gd name="connsiteY13" fmla="*/ 329118 h 369991"/>
                <a:gd name="connsiteX14" fmla="*/ 248648 w 348703"/>
                <a:gd name="connsiteY14" fmla="*/ 311662 h 369991"/>
                <a:gd name="connsiteX15" fmla="*/ 292077 w 348703"/>
                <a:gd name="connsiteY15" fmla="*/ 261421 h 369991"/>
                <a:gd name="connsiteX16" fmla="*/ 348704 w 348703"/>
                <a:gd name="connsiteY16" fmla="*/ 261421 h 369991"/>
                <a:gd name="connsiteX17" fmla="*/ 284413 w 348703"/>
                <a:gd name="connsiteY17" fmla="*/ 341891 h 369991"/>
                <a:gd name="connsiteX18" fmla="*/ 181377 w 348703"/>
                <a:gd name="connsiteY18" fmla="*/ 369992 h 369991"/>
                <a:gd name="connsiteX19" fmla="*/ 89411 w 348703"/>
                <a:gd name="connsiteY19" fmla="*/ 346575 h 369991"/>
                <a:gd name="connsiteX20" fmla="*/ 23843 w 348703"/>
                <a:gd name="connsiteY20" fmla="*/ 281007 h 369991"/>
                <a:gd name="connsiteX21" fmla="*/ 0 w 348703"/>
                <a:gd name="connsiteY21" fmla="*/ 186060 h 369991"/>
                <a:gd name="connsiteX22" fmla="*/ 24269 w 348703"/>
                <a:gd name="connsiteY22" fmla="*/ 90263 h 369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48703" h="369991">
                  <a:moveTo>
                    <a:pt x="24269" y="90263"/>
                  </a:moveTo>
                  <a:cubicBezTo>
                    <a:pt x="40448" y="62162"/>
                    <a:pt x="61736" y="40022"/>
                    <a:pt x="89411" y="23843"/>
                  </a:cubicBezTo>
                  <a:cubicBezTo>
                    <a:pt x="117086" y="7664"/>
                    <a:pt x="147316" y="0"/>
                    <a:pt x="181377" y="0"/>
                  </a:cubicBezTo>
                  <a:cubicBezTo>
                    <a:pt x="220973" y="0"/>
                    <a:pt x="255461" y="9367"/>
                    <a:pt x="284413" y="28526"/>
                  </a:cubicBezTo>
                  <a:cubicBezTo>
                    <a:pt x="313791" y="47686"/>
                    <a:pt x="335079" y="74935"/>
                    <a:pt x="348704" y="109422"/>
                  </a:cubicBezTo>
                  <a:lnTo>
                    <a:pt x="292077" y="109422"/>
                  </a:lnTo>
                  <a:cubicBezTo>
                    <a:pt x="281858" y="87708"/>
                    <a:pt x="267808" y="70677"/>
                    <a:pt x="248648" y="59182"/>
                  </a:cubicBezTo>
                  <a:cubicBezTo>
                    <a:pt x="229915" y="47260"/>
                    <a:pt x="207349" y="41299"/>
                    <a:pt x="180951" y="41299"/>
                  </a:cubicBezTo>
                  <a:cubicBezTo>
                    <a:pt x="154554" y="41299"/>
                    <a:pt x="132839" y="47260"/>
                    <a:pt x="112828" y="59182"/>
                  </a:cubicBezTo>
                  <a:cubicBezTo>
                    <a:pt x="92817" y="71103"/>
                    <a:pt x="77064" y="87708"/>
                    <a:pt x="65568" y="109422"/>
                  </a:cubicBezTo>
                  <a:cubicBezTo>
                    <a:pt x="54072" y="131136"/>
                    <a:pt x="48538" y="156257"/>
                    <a:pt x="48538" y="185635"/>
                  </a:cubicBezTo>
                  <a:cubicBezTo>
                    <a:pt x="48538" y="215013"/>
                    <a:pt x="54072" y="239281"/>
                    <a:pt x="65568" y="260995"/>
                  </a:cubicBezTo>
                  <a:cubicBezTo>
                    <a:pt x="77064" y="282710"/>
                    <a:pt x="92817" y="299315"/>
                    <a:pt x="112828" y="311236"/>
                  </a:cubicBezTo>
                  <a:cubicBezTo>
                    <a:pt x="132839" y="323158"/>
                    <a:pt x="155405" y="329118"/>
                    <a:pt x="180951" y="329118"/>
                  </a:cubicBezTo>
                  <a:cubicBezTo>
                    <a:pt x="206497" y="329118"/>
                    <a:pt x="229915" y="323158"/>
                    <a:pt x="248648" y="311662"/>
                  </a:cubicBezTo>
                  <a:cubicBezTo>
                    <a:pt x="267382" y="300166"/>
                    <a:pt x="281858" y="283561"/>
                    <a:pt x="292077" y="261421"/>
                  </a:cubicBezTo>
                  <a:lnTo>
                    <a:pt x="348704" y="261421"/>
                  </a:lnTo>
                  <a:cubicBezTo>
                    <a:pt x="335079" y="296334"/>
                    <a:pt x="313791" y="323158"/>
                    <a:pt x="284413" y="341891"/>
                  </a:cubicBezTo>
                  <a:cubicBezTo>
                    <a:pt x="255035" y="360625"/>
                    <a:pt x="220548" y="369992"/>
                    <a:pt x="181377" y="369992"/>
                  </a:cubicBezTo>
                  <a:cubicBezTo>
                    <a:pt x="147741" y="369992"/>
                    <a:pt x="117086" y="361902"/>
                    <a:pt x="89411" y="346575"/>
                  </a:cubicBezTo>
                  <a:cubicBezTo>
                    <a:pt x="62162" y="330821"/>
                    <a:pt x="40022" y="309107"/>
                    <a:pt x="23843" y="281007"/>
                  </a:cubicBezTo>
                  <a:cubicBezTo>
                    <a:pt x="7664" y="252906"/>
                    <a:pt x="0" y="221399"/>
                    <a:pt x="0" y="186060"/>
                  </a:cubicBezTo>
                  <a:cubicBezTo>
                    <a:pt x="0" y="150722"/>
                    <a:pt x="8090" y="118363"/>
                    <a:pt x="24269" y="90263"/>
                  </a:cubicBezTo>
                </a:path>
              </a:pathLst>
            </a:custGeom>
            <a:solidFill>
              <a:srgbClr val="000000"/>
            </a:solidFill>
            <a:ln w="42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41388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689" r:id="rId2"/>
    <p:sldLayoutId id="2147483691" r:id="rId3"/>
    <p:sldLayoutId id="2147483707" r:id="rId4"/>
    <p:sldLayoutId id="2147483690" r:id="rId5"/>
    <p:sldLayoutId id="2147483708" r:id="rId6"/>
    <p:sldLayoutId id="2147483692" r:id="rId7"/>
    <p:sldLayoutId id="2147483693" r:id="rId8"/>
    <p:sldLayoutId id="2147483694" r:id="rId9"/>
    <p:sldLayoutId id="2147483697" r:id="rId10"/>
    <p:sldLayoutId id="2147483698" r:id="rId11"/>
    <p:sldLayoutId id="2147483709" r:id="rId12"/>
    <p:sldLayoutId id="2147483699" r:id="rId13"/>
    <p:sldLayoutId id="2147483711" r:id="rId14"/>
    <p:sldLayoutId id="2147483712" r:id="rId15"/>
    <p:sldLayoutId id="2147483713" r:id="rId16"/>
    <p:sldLayoutId id="2147483700" r:id="rId17"/>
    <p:sldLayoutId id="2147483714" r:id="rId18"/>
    <p:sldLayoutId id="2147483715" r:id="rId19"/>
    <p:sldLayoutId id="2147483716" r:id="rId20"/>
    <p:sldLayoutId id="2147483717" r:id="rId21"/>
    <p:sldLayoutId id="2147483718" r:id="rId22"/>
    <p:sldLayoutId id="2147483719" r:id="rId23"/>
    <p:sldLayoutId id="2147483720" r:id="rId24"/>
    <p:sldLayoutId id="2147483701" r:id="rId25"/>
    <p:sldLayoutId id="2147483702" r:id="rId26"/>
    <p:sldLayoutId id="2147483688" r:id="rId27"/>
    <p:sldLayoutId id="2147483703" r:id="rId28"/>
    <p:sldLayoutId id="2147483722" r:id="rId29"/>
    <p:sldLayoutId id="2147483723" r:id="rId30"/>
    <p:sldLayoutId id="2147483704" r:id="rId31"/>
    <p:sldLayoutId id="2147483721" r:id="rId3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:v="urn:schemas-microsoft-com:vml" xmlns:a16="http://schemas.microsoft.com/office/drawing/2014/main" xmlns:asvg="http://schemas.microsoft.com/office/drawing/2016/SVG/main" xmlns:p15="http://schemas.microsoft.com/office/powerpoint/2012/main" xmlns:a14="http://schemas.microsoft.com/office/drawing/2010/main" xmlns="">
      <p:transition/>
    </mc:Fallback>
  </mc:AlternateContent>
  <p:hf hdr="0" ftr="0" dt="0"/>
  <p:txStyles>
    <p:titleStyle>
      <a:lvl1pPr algn="l" defTabSz="1083747" rtl="0" eaLnBrk="1" latinLnBrk="0" hangingPunct="1">
        <a:spcBef>
          <a:spcPct val="0"/>
        </a:spcBef>
        <a:buNone/>
        <a:defRPr lang="en-US" sz="2000" b="1" kern="1200" dirty="0">
          <a:solidFill>
            <a:schemeClr val="tx1"/>
          </a:solidFill>
          <a:latin typeface="Poppins SemiBold" panose="00000700000000000000" pitchFamily="2" charset="0"/>
          <a:ea typeface="+mj-ea"/>
          <a:cs typeface="Poppins SemiBold" panose="00000700000000000000" pitchFamily="2" charset="0"/>
          <a:sym typeface="Segoe UI" panose="020B0502040204020203" pitchFamily="34" charset="0"/>
        </a:defRPr>
      </a:lvl1pPr>
    </p:titleStyle>
    <p:bodyStyle>
      <a:lvl1pPr marL="0" indent="0" algn="l" defTabSz="1083747" rtl="0" eaLnBrk="1" latinLnBrk="0" hangingPunct="1">
        <a:spcBef>
          <a:spcPts val="1200"/>
        </a:spcBef>
        <a:buFont typeface="Arial" panose="020B0604020202020204" pitchFamily="34" charset="0"/>
        <a:buNone/>
        <a:defRPr lang="en-US" sz="1400" kern="1200" dirty="0">
          <a:solidFill>
            <a:schemeClr val="tx1"/>
          </a:solidFill>
          <a:latin typeface="+mn-lt"/>
          <a:ea typeface="+mn-ea"/>
          <a:cs typeface="Poppins" panose="00000500000000000000" pitchFamily="2" charset="0"/>
          <a:sym typeface="Segoe UI" panose="020B0502040204020203" pitchFamily="34" charset="0"/>
        </a:defRPr>
      </a:lvl1pPr>
      <a:lvl2pPr marL="216000" indent="-216000" algn="l" defTabSz="1083747" rtl="0" eaLnBrk="1" latinLnBrk="0" hangingPunct="1">
        <a:spcBef>
          <a:spcPts val="1200"/>
        </a:spcBef>
        <a:buClr>
          <a:srgbClr val="3F3F3F"/>
        </a:buClr>
        <a:buSzPct val="100000"/>
        <a:buFont typeface="FEV" panose="020B060402020202020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Poppins" panose="00000500000000000000" pitchFamily="2" charset="0"/>
          <a:sym typeface="Segoe UI" panose="020B0502040204020203" pitchFamily="34" charset="0"/>
        </a:defRPr>
      </a:lvl2pPr>
      <a:lvl3pPr marL="432000" indent="-216000" algn="l" defTabSz="1083747" rtl="0" eaLnBrk="1" latinLnBrk="0" hangingPunct="1">
        <a:spcBef>
          <a:spcPts val="600"/>
        </a:spcBef>
        <a:buClrTx/>
        <a:buFont typeface="Symbol" panose="05050102010706020507" pitchFamily="18" charset="2"/>
        <a:buChar char="-"/>
        <a:defRPr lang="en-US" sz="1200" kern="1200" dirty="0">
          <a:solidFill>
            <a:schemeClr val="tx1"/>
          </a:solidFill>
          <a:latin typeface="+mn-lt"/>
          <a:ea typeface="+mn-ea"/>
          <a:cs typeface="Poppins" panose="00000500000000000000" pitchFamily="2" charset="0"/>
          <a:sym typeface="Segoe UI" panose="020B0502040204020203" pitchFamily="34" charset="0"/>
        </a:defRPr>
      </a:lvl3pPr>
      <a:lvl4pPr marL="648000" indent="-216000" algn="l" defTabSz="1083747" rtl="0" eaLnBrk="1" latinLnBrk="0" hangingPunct="1">
        <a:spcBef>
          <a:spcPts val="600"/>
        </a:spcBef>
        <a:buClrTx/>
        <a:buFont typeface="Symbol" panose="05050102010706020507" pitchFamily="18" charset="2"/>
        <a:buChar char="-"/>
        <a:defRPr lang="en-US" sz="1200" kern="1200" dirty="0">
          <a:solidFill>
            <a:schemeClr val="tx1"/>
          </a:solidFill>
          <a:latin typeface="+mn-lt"/>
          <a:ea typeface="+mn-ea"/>
          <a:cs typeface="Poppins" panose="00000500000000000000" pitchFamily="2" charset="0"/>
          <a:sym typeface="Segoe UI" panose="020B0502040204020203" pitchFamily="34" charset="0"/>
        </a:defRPr>
      </a:lvl4pPr>
      <a:lvl5pPr marL="864000" indent="-216000" algn="l" defTabSz="1083747" rtl="0" eaLnBrk="1" latinLnBrk="0" hangingPunct="1">
        <a:spcBef>
          <a:spcPts val="600"/>
        </a:spcBef>
        <a:buClrTx/>
        <a:buFont typeface="Symbol" panose="05050102010706020507" pitchFamily="18" charset="2"/>
        <a:buChar char="-"/>
        <a:defRPr lang="en-US" sz="1200" kern="1200" dirty="0">
          <a:solidFill>
            <a:schemeClr val="tx1"/>
          </a:solidFill>
          <a:latin typeface="+mn-lt"/>
          <a:ea typeface="+mn-ea"/>
          <a:cs typeface="Poppins" panose="00000500000000000000" pitchFamily="2" charset="0"/>
          <a:sym typeface="Segoe UI" panose="020B0502040204020203" pitchFamily="34" charset="0"/>
        </a:defRPr>
      </a:lvl5pPr>
      <a:lvl6pPr marL="2683196" indent="0" algn="l" defTabSz="1083747" rtl="0" eaLnBrk="1" latinLnBrk="0" hangingPunct="1">
        <a:spcBef>
          <a:spcPts val="711"/>
        </a:spcBef>
        <a:buClrTx/>
        <a:buFont typeface="Wingdings" panose="05000000000000000000" pitchFamily="2" charset="2"/>
        <a:buNone/>
        <a:defRPr lang="en-US" sz="1600" kern="1200" dirty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  <a:sym typeface="Segoe UI" panose="020B0502040204020203" pitchFamily="34" charset="0"/>
        </a:defRPr>
      </a:lvl6pPr>
      <a:lvl7pPr marL="3522177" indent="-270937" algn="l" defTabSz="10837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7pPr>
      <a:lvl8pPr marL="4064051" indent="-270937" algn="l" defTabSz="10837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8pPr>
      <a:lvl9pPr marL="4605924" indent="-270937" algn="l" defTabSz="10837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1873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3747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25620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67494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09367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51241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793114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34988" algn="l" defTabSz="108374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6" orient="horz" pos="738">
          <p15:clr>
            <a:srgbClr val="F26B43"/>
          </p15:clr>
        </p15:guide>
        <p15:guide id="7" orient="horz" pos="3974">
          <p15:clr>
            <a:srgbClr val="F26B43"/>
          </p15:clr>
        </p15:guide>
        <p15:guide id="14" orient="horz" pos="1071">
          <p15:clr>
            <a:srgbClr val="F26B43"/>
          </p15:clr>
        </p15:guide>
        <p15:guide id="15" orient="horz" pos="272">
          <p15:clr>
            <a:srgbClr val="F26B43"/>
          </p15:clr>
        </p15:guide>
        <p15:guide id="16" orient="horz" pos="1026">
          <p15:clr>
            <a:srgbClr val="F26B43"/>
          </p15:clr>
        </p15:guide>
        <p15:guide id="18" orient="horz" pos="843" userDrawn="1">
          <p15:clr>
            <a:srgbClr val="F26B43"/>
          </p15:clr>
        </p15:guide>
        <p15:guide id="19" pos="3840" userDrawn="1">
          <p15:clr>
            <a:srgbClr val="A4A3A4"/>
          </p15:clr>
        </p15:guide>
        <p15:guide id="20" orient="horz" pos="2522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9.xml"/><Relationship Id="rId6" Type="http://schemas.openxmlformats.org/officeDocument/2006/relationships/image" Target="../media/image26.bin"/><Relationship Id="rId5" Type="http://schemas.openxmlformats.org/officeDocument/2006/relationships/image" Target="../media/image25.emf"/><Relationship Id="rId4" Type="http://schemas.openxmlformats.org/officeDocument/2006/relationships/oleObject" Target="../embeddings/oleObject3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svg"/><Relationship Id="rId3" Type="http://schemas.openxmlformats.org/officeDocument/2006/relationships/tags" Target="../tags/tag134.xml"/><Relationship Id="rId7" Type="http://schemas.openxmlformats.org/officeDocument/2006/relationships/image" Target="../media/image67.png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39.bin"/><Relationship Id="rId10" Type="http://schemas.openxmlformats.org/officeDocument/2006/relationships/image" Target="../media/image70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tags" Target="../tags/tag147.xml"/><Relationship Id="rId18" Type="http://schemas.openxmlformats.org/officeDocument/2006/relationships/tags" Target="../tags/tag152.xml"/><Relationship Id="rId26" Type="http://schemas.openxmlformats.org/officeDocument/2006/relationships/image" Target="../media/image74.jpeg"/><Relationship Id="rId3" Type="http://schemas.openxmlformats.org/officeDocument/2006/relationships/tags" Target="../tags/tag137.xml"/><Relationship Id="rId21" Type="http://schemas.openxmlformats.org/officeDocument/2006/relationships/oleObject" Target="../embeddings/oleObject40.bin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17" Type="http://schemas.openxmlformats.org/officeDocument/2006/relationships/tags" Target="../tags/tag151.xml"/><Relationship Id="rId25" Type="http://schemas.openxmlformats.org/officeDocument/2006/relationships/image" Target="../media/image73.jpeg"/><Relationship Id="rId2" Type="http://schemas.openxmlformats.org/officeDocument/2006/relationships/tags" Target="../tags/tag136.xml"/><Relationship Id="rId16" Type="http://schemas.openxmlformats.org/officeDocument/2006/relationships/tags" Target="../tags/tag150.xml"/><Relationship Id="rId20" Type="http://schemas.openxmlformats.org/officeDocument/2006/relationships/slideLayout" Target="../slideLayouts/slideLayout2.xml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24" Type="http://schemas.openxmlformats.org/officeDocument/2006/relationships/image" Target="../media/image72.jpeg"/><Relationship Id="rId5" Type="http://schemas.openxmlformats.org/officeDocument/2006/relationships/tags" Target="../tags/tag139.xml"/><Relationship Id="rId15" Type="http://schemas.openxmlformats.org/officeDocument/2006/relationships/tags" Target="../tags/tag149.xml"/><Relationship Id="rId23" Type="http://schemas.openxmlformats.org/officeDocument/2006/relationships/image" Target="../media/image71.jpeg"/><Relationship Id="rId28" Type="http://schemas.openxmlformats.org/officeDocument/2006/relationships/image" Target="../media/image76.jpeg"/><Relationship Id="rId10" Type="http://schemas.openxmlformats.org/officeDocument/2006/relationships/tags" Target="../tags/tag144.xml"/><Relationship Id="rId19" Type="http://schemas.openxmlformats.org/officeDocument/2006/relationships/tags" Target="../tags/tag153.xml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tags" Target="../tags/tag148.xml"/><Relationship Id="rId22" Type="http://schemas.openxmlformats.org/officeDocument/2006/relationships/image" Target="../media/image28.emf"/><Relationship Id="rId27" Type="http://schemas.openxmlformats.org/officeDocument/2006/relationships/image" Target="../media/image75.jpe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66.xml"/><Relationship Id="rId18" Type="http://schemas.openxmlformats.org/officeDocument/2006/relationships/tags" Target="../tags/tag171.xml"/><Relationship Id="rId26" Type="http://schemas.openxmlformats.org/officeDocument/2006/relationships/image" Target="../media/image80.svg"/><Relationship Id="rId39" Type="http://schemas.openxmlformats.org/officeDocument/2006/relationships/image" Target="../media/image93.bin"/><Relationship Id="rId21" Type="http://schemas.openxmlformats.org/officeDocument/2006/relationships/oleObject" Target="../embeddings/oleObject41.bin"/><Relationship Id="rId34" Type="http://schemas.openxmlformats.org/officeDocument/2006/relationships/image" Target="../media/image88.svg"/><Relationship Id="rId42" Type="http://schemas.openxmlformats.org/officeDocument/2006/relationships/image" Target="../media/image96.png"/><Relationship Id="rId7" Type="http://schemas.openxmlformats.org/officeDocument/2006/relationships/tags" Target="../tags/tag160.xml"/><Relationship Id="rId2" Type="http://schemas.openxmlformats.org/officeDocument/2006/relationships/tags" Target="../tags/tag155.xml"/><Relationship Id="rId16" Type="http://schemas.openxmlformats.org/officeDocument/2006/relationships/tags" Target="../tags/tag169.xml"/><Relationship Id="rId20" Type="http://schemas.openxmlformats.org/officeDocument/2006/relationships/notesSlide" Target="../notesSlides/notesSlide5.xml"/><Relationship Id="rId29" Type="http://schemas.openxmlformats.org/officeDocument/2006/relationships/image" Target="../media/image83.png"/><Relationship Id="rId41" Type="http://schemas.openxmlformats.org/officeDocument/2006/relationships/image" Target="../media/image95.svg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24" Type="http://schemas.openxmlformats.org/officeDocument/2006/relationships/image" Target="../media/image78.svg"/><Relationship Id="rId32" Type="http://schemas.openxmlformats.org/officeDocument/2006/relationships/image" Target="../media/image86.svg"/><Relationship Id="rId37" Type="http://schemas.openxmlformats.org/officeDocument/2006/relationships/image" Target="../media/image91.jpeg"/><Relationship Id="rId40" Type="http://schemas.openxmlformats.org/officeDocument/2006/relationships/image" Target="../media/image94.png"/><Relationship Id="rId5" Type="http://schemas.openxmlformats.org/officeDocument/2006/relationships/tags" Target="../tags/tag158.xml"/><Relationship Id="rId15" Type="http://schemas.openxmlformats.org/officeDocument/2006/relationships/tags" Target="../tags/tag168.xml"/><Relationship Id="rId23" Type="http://schemas.openxmlformats.org/officeDocument/2006/relationships/image" Target="../media/image77.png"/><Relationship Id="rId28" Type="http://schemas.openxmlformats.org/officeDocument/2006/relationships/image" Target="../media/image82.svg"/><Relationship Id="rId36" Type="http://schemas.openxmlformats.org/officeDocument/2006/relationships/image" Target="../media/image90.svg"/><Relationship Id="rId10" Type="http://schemas.openxmlformats.org/officeDocument/2006/relationships/tags" Target="../tags/tag163.xml"/><Relationship Id="rId19" Type="http://schemas.openxmlformats.org/officeDocument/2006/relationships/slideLayout" Target="../slideLayouts/slideLayout2.xml"/><Relationship Id="rId31" Type="http://schemas.openxmlformats.org/officeDocument/2006/relationships/image" Target="../media/image85.png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tags" Target="../tags/tag167.xml"/><Relationship Id="rId22" Type="http://schemas.openxmlformats.org/officeDocument/2006/relationships/image" Target="../media/image28.emf"/><Relationship Id="rId27" Type="http://schemas.openxmlformats.org/officeDocument/2006/relationships/image" Target="../media/image81.png"/><Relationship Id="rId30" Type="http://schemas.openxmlformats.org/officeDocument/2006/relationships/image" Target="../media/image84.svg"/><Relationship Id="rId35" Type="http://schemas.openxmlformats.org/officeDocument/2006/relationships/image" Target="../media/image89.png"/><Relationship Id="rId43" Type="http://schemas.openxmlformats.org/officeDocument/2006/relationships/image" Target="../media/image97.svg"/><Relationship Id="rId8" Type="http://schemas.openxmlformats.org/officeDocument/2006/relationships/tags" Target="../tags/tag161.xml"/><Relationship Id="rId3" Type="http://schemas.openxmlformats.org/officeDocument/2006/relationships/tags" Target="../tags/tag156.xml"/><Relationship Id="rId12" Type="http://schemas.openxmlformats.org/officeDocument/2006/relationships/tags" Target="../tags/tag165.xml"/><Relationship Id="rId17" Type="http://schemas.openxmlformats.org/officeDocument/2006/relationships/tags" Target="../tags/tag170.xml"/><Relationship Id="rId25" Type="http://schemas.openxmlformats.org/officeDocument/2006/relationships/image" Target="../media/image79.png"/><Relationship Id="rId33" Type="http://schemas.openxmlformats.org/officeDocument/2006/relationships/image" Target="../media/image87.png"/><Relationship Id="rId38" Type="http://schemas.openxmlformats.org/officeDocument/2006/relationships/image" Target="../media/image92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13" Type="http://schemas.openxmlformats.org/officeDocument/2006/relationships/image" Target="../media/image102.svg"/><Relationship Id="rId3" Type="http://schemas.openxmlformats.org/officeDocument/2006/relationships/tags" Target="../tags/tag174.xml"/><Relationship Id="rId7" Type="http://schemas.openxmlformats.org/officeDocument/2006/relationships/oleObject" Target="../embeddings/oleObject42.bin"/><Relationship Id="rId12" Type="http://schemas.openxmlformats.org/officeDocument/2006/relationships/image" Target="../media/image101.png"/><Relationship Id="rId2" Type="http://schemas.openxmlformats.org/officeDocument/2006/relationships/tags" Target="../tags/tag173.xml"/><Relationship Id="rId16" Type="http://schemas.openxmlformats.org/officeDocument/2006/relationships/image" Target="../media/image105.png"/><Relationship Id="rId1" Type="http://schemas.openxmlformats.org/officeDocument/2006/relationships/tags" Target="../tags/tag172.xml"/><Relationship Id="rId6" Type="http://schemas.openxmlformats.org/officeDocument/2006/relationships/notesSlide" Target="../notesSlides/notesSlide6.xml"/><Relationship Id="rId11" Type="http://schemas.openxmlformats.org/officeDocument/2006/relationships/image" Target="../media/image100.jpe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104.svg"/><Relationship Id="rId10" Type="http://schemas.openxmlformats.org/officeDocument/2006/relationships/image" Target="../media/image99.jpeg"/><Relationship Id="rId4" Type="http://schemas.openxmlformats.org/officeDocument/2006/relationships/tags" Target="../tags/tag175.xml"/><Relationship Id="rId9" Type="http://schemas.openxmlformats.org/officeDocument/2006/relationships/image" Target="../media/image98.jpeg"/><Relationship Id="rId14" Type="http://schemas.openxmlformats.org/officeDocument/2006/relationships/image" Target="../media/image10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13" Type="http://schemas.openxmlformats.org/officeDocument/2006/relationships/image" Target="../media/image49.png"/><Relationship Id="rId18" Type="http://schemas.openxmlformats.org/officeDocument/2006/relationships/image" Target="../media/image110.svg"/><Relationship Id="rId3" Type="http://schemas.openxmlformats.org/officeDocument/2006/relationships/tags" Target="../tags/tag178.xml"/><Relationship Id="rId21" Type="http://schemas.openxmlformats.org/officeDocument/2006/relationships/image" Target="../media/image113.png"/><Relationship Id="rId7" Type="http://schemas.openxmlformats.org/officeDocument/2006/relationships/tags" Target="../tags/tag182.xml"/><Relationship Id="rId12" Type="http://schemas.openxmlformats.org/officeDocument/2006/relationships/image" Target="../media/image10.emf"/><Relationship Id="rId17" Type="http://schemas.openxmlformats.org/officeDocument/2006/relationships/image" Target="../media/image109.svg"/><Relationship Id="rId2" Type="http://schemas.openxmlformats.org/officeDocument/2006/relationships/tags" Target="../tags/tag177.xml"/><Relationship Id="rId16" Type="http://schemas.openxmlformats.org/officeDocument/2006/relationships/image" Target="../media/image108.png"/><Relationship Id="rId20" Type="http://schemas.openxmlformats.org/officeDocument/2006/relationships/image" Target="../media/image112.svg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1" Type="http://schemas.openxmlformats.org/officeDocument/2006/relationships/oleObject" Target="../embeddings/oleObject43.bin"/><Relationship Id="rId24" Type="http://schemas.openxmlformats.org/officeDocument/2006/relationships/image" Target="../media/image116.svg"/><Relationship Id="rId5" Type="http://schemas.openxmlformats.org/officeDocument/2006/relationships/tags" Target="../tags/tag180.xml"/><Relationship Id="rId15" Type="http://schemas.openxmlformats.org/officeDocument/2006/relationships/image" Target="../media/image107.svg"/><Relationship Id="rId23" Type="http://schemas.openxmlformats.org/officeDocument/2006/relationships/image" Target="../media/image115.png"/><Relationship Id="rId10" Type="http://schemas.openxmlformats.org/officeDocument/2006/relationships/slideLayout" Target="../slideLayouts/slideLayout2.xml"/><Relationship Id="rId19" Type="http://schemas.openxmlformats.org/officeDocument/2006/relationships/image" Target="../media/image111.png"/><Relationship Id="rId4" Type="http://schemas.openxmlformats.org/officeDocument/2006/relationships/tags" Target="../tags/tag179.xml"/><Relationship Id="rId9" Type="http://schemas.openxmlformats.org/officeDocument/2006/relationships/tags" Target="../tags/tag184.xml"/><Relationship Id="rId14" Type="http://schemas.openxmlformats.org/officeDocument/2006/relationships/image" Target="../media/image106.png"/><Relationship Id="rId22" Type="http://schemas.openxmlformats.org/officeDocument/2006/relationships/image" Target="../media/image11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5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4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4.svg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image" Target="../media/image6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5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svg"/><Relationship Id="rId3" Type="http://schemas.openxmlformats.org/officeDocument/2006/relationships/tags" Target="../tags/tag190.xml"/><Relationship Id="rId7" Type="http://schemas.openxmlformats.org/officeDocument/2006/relationships/image" Target="../media/image117.png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6.bin"/><Relationship Id="rId10" Type="http://schemas.openxmlformats.org/officeDocument/2006/relationships/image" Target="../media/image64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13" Type="http://schemas.openxmlformats.org/officeDocument/2006/relationships/image" Target="../media/image120.svg"/><Relationship Id="rId3" Type="http://schemas.openxmlformats.org/officeDocument/2006/relationships/tags" Target="../tags/tag193.xml"/><Relationship Id="rId7" Type="http://schemas.openxmlformats.org/officeDocument/2006/relationships/image" Target="../media/image10.emf"/><Relationship Id="rId12" Type="http://schemas.openxmlformats.org/officeDocument/2006/relationships/image" Target="../media/image119.png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oleObject" Target="../embeddings/oleObject46.bin"/><Relationship Id="rId11" Type="http://schemas.openxmlformats.org/officeDocument/2006/relationships/image" Target="../media/image64.sv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63.png"/><Relationship Id="rId4" Type="http://schemas.openxmlformats.org/officeDocument/2006/relationships/tags" Target="../tags/tag194.xml"/><Relationship Id="rId9" Type="http://schemas.openxmlformats.org/officeDocument/2006/relationships/image" Target="../media/image118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tags" Target="../tags/tag197.xml"/><Relationship Id="rId7" Type="http://schemas.openxmlformats.org/officeDocument/2006/relationships/oleObject" Target="../embeddings/oleObject47.bin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notesSlide" Target="../notesSlides/notesSlide8.xml"/><Relationship Id="rId11" Type="http://schemas.openxmlformats.org/officeDocument/2006/relationships/image" Target="../media/image123.jp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22.svg"/><Relationship Id="rId4" Type="http://schemas.openxmlformats.org/officeDocument/2006/relationships/tags" Target="../tags/tag198.xml"/><Relationship Id="rId9" Type="http://schemas.openxmlformats.org/officeDocument/2006/relationships/image" Target="../media/image12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tags" Target="../tags/tag62.xml"/><Relationship Id="rId7" Type="http://schemas.openxmlformats.org/officeDocument/2006/relationships/image" Target="../media/image28.emf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oleObject" Target="../embeddings/oleObject32.bin"/><Relationship Id="rId11" Type="http://schemas.openxmlformats.org/officeDocument/2006/relationships/image" Target="../media/image32.sv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3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tags" Target="../tags/tag65.xml"/><Relationship Id="rId7" Type="http://schemas.openxmlformats.org/officeDocument/2006/relationships/image" Target="../media/image28.emf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oleObject" Target="../embeddings/oleObject33.bin"/><Relationship Id="rId11" Type="http://schemas.openxmlformats.org/officeDocument/2006/relationships/image" Target="../media/image30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32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18" Type="http://schemas.openxmlformats.org/officeDocument/2006/relationships/image" Target="../media/image34.svg"/><Relationship Id="rId26" Type="http://schemas.openxmlformats.org/officeDocument/2006/relationships/image" Target="../media/image42.svg"/><Relationship Id="rId3" Type="http://schemas.openxmlformats.org/officeDocument/2006/relationships/tags" Target="../tags/tag68.xml"/><Relationship Id="rId21" Type="http://schemas.openxmlformats.org/officeDocument/2006/relationships/image" Target="../media/image37.png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image" Target="../media/image33.png"/><Relationship Id="rId25" Type="http://schemas.openxmlformats.org/officeDocument/2006/relationships/image" Target="../media/image41.png"/><Relationship Id="rId2" Type="http://schemas.openxmlformats.org/officeDocument/2006/relationships/tags" Target="../tags/tag67.xml"/><Relationship Id="rId16" Type="http://schemas.openxmlformats.org/officeDocument/2006/relationships/image" Target="../media/image28.emf"/><Relationship Id="rId20" Type="http://schemas.openxmlformats.org/officeDocument/2006/relationships/image" Target="../media/image36.svg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image" Target="../media/image40.svg"/><Relationship Id="rId5" Type="http://schemas.openxmlformats.org/officeDocument/2006/relationships/tags" Target="../tags/tag70.xml"/><Relationship Id="rId15" Type="http://schemas.openxmlformats.org/officeDocument/2006/relationships/oleObject" Target="../embeddings/oleObject34.bin"/><Relationship Id="rId23" Type="http://schemas.openxmlformats.org/officeDocument/2006/relationships/image" Target="../media/image39.png"/><Relationship Id="rId28" Type="http://schemas.openxmlformats.org/officeDocument/2006/relationships/image" Target="../media/image44.svg"/><Relationship Id="rId10" Type="http://schemas.openxmlformats.org/officeDocument/2006/relationships/tags" Target="../tags/tag75.xml"/><Relationship Id="rId19" Type="http://schemas.openxmlformats.org/officeDocument/2006/relationships/image" Target="../media/image35.png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38.svg"/><Relationship Id="rId27" Type="http://schemas.openxmlformats.org/officeDocument/2006/relationships/image" Target="../media/image4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18" Type="http://schemas.openxmlformats.org/officeDocument/2006/relationships/image" Target="../media/image34.svg"/><Relationship Id="rId26" Type="http://schemas.openxmlformats.org/officeDocument/2006/relationships/image" Target="../media/image42.svg"/><Relationship Id="rId3" Type="http://schemas.openxmlformats.org/officeDocument/2006/relationships/tags" Target="../tags/tag81.xml"/><Relationship Id="rId21" Type="http://schemas.openxmlformats.org/officeDocument/2006/relationships/image" Target="../media/image37.png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image" Target="../media/image33.png"/><Relationship Id="rId25" Type="http://schemas.openxmlformats.org/officeDocument/2006/relationships/image" Target="../media/image41.png"/><Relationship Id="rId2" Type="http://schemas.openxmlformats.org/officeDocument/2006/relationships/tags" Target="../tags/tag80.xml"/><Relationship Id="rId16" Type="http://schemas.openxmlformats.org/officeDocument/2006/relationships/image" Target="../media/image28.emf"/><Relationship Id="rId20" Type="http://schemas.openxmlformats.org/officeDocument/2006/relationships/image" Target="../media/image36.svg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image" Target="../media/image40.svg"/><Relationship Id="rId5" Type="http://schemas.openxmlformats.org/officeDocument/2006/relationships/tags" Target="../tags/tag83.xml"/><Relationship Id="rId15" Type="http://schemas.openxmlformats.org/officeDocument/2006/relationships/oleObject" Target="../embeddings/oleObject35.bin"/><Relationship Id="rId23" Type="http://schemas.openxmlformats.org/officeDocument/2006/relationships/image" Target="../media/image39.png"/><Relationship Id="rId28" Type="http://schemas.openxmlformats.org/officeDocument/2006/relationships/image" Target="../media/image44.svg"/><Relationship Id="rId10" Type="http://schemas.openxmlformats.org/officeDocument/2006/relationships/tags" Target="../tags/tag88.xml"/><Relationship Id="rId19" Type="http://schemas.openxmlformats.org/officeDocument/2006/relationships/image" Target="../media/image35.png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38.svg"/><Relationship Id="rId27" Type="http://schemas.openxmlformats.org/officeDocument/2006/relationships/image" Target="../media/image43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04.xml"/><Relationship Id="rId18" Type="http://schemas.openxmlformats.org/officeDocument/2006/relationships/slideLayout" Target="../slideLayouts/slideLayout2.xml"/><Relationship Id="rId26" Type="http://schemas.openxmlformats.org/officeDocument/2006/relationships/image" Target="../media/image46.svg"/><Relationship Id="rId3" Type="http://schemas.openxmlformats.org/officeDocument/2006/relationships/tags" Target="../tags/tag94.xml"/><Relationship Id="rId21" Type="http://schemas.openxmlformats.org/officeDocument/2006/relationships/image" Target="../media/image33.png"/><Relationship Id="rId34" Type="http://schemas.openxmlformats.org/officeDocument/2006/relationships/image" Target="../media/image48.svg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17" Type="http://schemas.openxmlformats.org/officeDocument/2006/relationships/tags" Target="../tags/tag108.xml"/><Relationship Id="rId25" Type="http://schemas.openxmlformats.org/officeDocument/2006/relationships/image" Target="../media/image37.png"/><Relationship Id="rId33" Type="http://schemas.openxmlformats.org/officeDocument/2006/relationships/image" Target="../media/image47.png"/><Relationship Id="rId2" Type="http://schemas.openxmlformats.org/officeDocument/2006/relationships/tags" Target="../tags/tag93.xml"/><Relationship Id="rId16" Type="http://schemas.openxmlformats.org/officeDocument/2006/relationships/tags" Target="../tags/tag107.xml"/><Relationship Id="rId20" Type="http://schemas.openxmlformats.org/officeDocument/2006/relationships/image" Target="../media/image28.emf"/><Relationship Id="rId29" Type="http://schemas.openxmlformats.org/officeDocument/2006/relationships/image" Target="../media/image41.png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24" Type="http://schemas.openxmlformats.org/officeDocument/2006/relationships/image" Target="../media/image45.svg"/><Relationship Id="rId32" Type="http://schemas.openxmlformats.org/officeDocument/2006/relationships/image" Target="../media/image44.svg"/><Relationship Id="rId5" Type="http://schemas.openxmlformats.org/officeDocument/2006/relationships/tags" Target="../tags/tag96.xml"/><Relationship Id="rId15" Type="http://schemas.openxmlformats.org/officeDocument/2006/relationships/tags" Target="../tags/tag106.xml"/><Relationship Id="rId23" Type="http://schemas.openxmlformats.org/officeDocument/2006/relationships/image" Target="../media/image35.png"/><Relationship Id="rId28" Type="http://schemas.openxmlformats.org/officeDocument/2006/relationships/image" Target="../media/image40.svg"/><Relationship Id="rId10" Type="http://schemas.openxmlformats.org/officeDocument/2006/relationships/tags" Target="../tags/tag101.xml"/><Relationship Id="rId19" Type="http://schemas.openxmlformats.org/officeDocument/2006/relationships/oleObject" Target="../embeddings/oleObject36.bin"/><Relationship Id="rId31" Type="http://schemas.openxmlformats.org/officeDocument/2006/relationships/image" Target="../media/image43.png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tags" Target="../tags/tag105.xml"/><Relationship Id="rId22" Type="http://schemas.openxmlformats.org/officeDocument/2006/relationships/image" Target="../media/image34.svg"/><Relationship Id="rId27" Type="http://schemas.openxmlformats.org/officeDocument/2006/relationships/image" Target="../media/image39.png"/><Relationship Id="rId30" Type="http://schemas.openxmlformats.org/officeDocument/2006/relationships/image" Target="../media/image42.svg"/><Relationship Id="rId8" Type="http://schemas.openxmlformats.org/officeDocument/2006/relationships/tags" Target="../tags/tag9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111.xml"/><Relationship Id="rId7" Type="http://schemas.openxmlformats.org/officeDocument/2006/relationships/oleObject" Target="../embeddings/oleObject37.bin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51.svg"/><Relationship Id="rId5" Type="http://schemas.openxmlformats.org/officeDocument/2006/relationships/tags" Target="../tags/tag113.xml"/><Relationship Id="rId10" Type="http://schemas.openxmlformats.org/officeDocument/2006/relationships/image" Target="../media/image50.png"/><Relationship Id="rId4" Type="http://schemas.openxmlformats.org/officeDocument/2006/relationships/tags" Target="../tags/tag112.xml"/><Relationship Id="rId9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tags" Target="../tags/tag116.xml"/><Relationship Id="rId7" Type="http://schemas.openxmlformats.org/officeDocument/2006/relationships/image" Target="../media/image28.emf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oleObject" Target="../embeddings/oleObject33.bin"/><Relationship Id="rId11" Type="http://schemas.openxmlformats.org/officeDocument/2006/relationships/image" Target="../media/image30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2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13" Type="http://schemas.openxmlformats.org/officeDocument/2006/relationships/tags" Target="../tags/tag129.xml"/><Relationship Id="rId18" Type="http://schemas.openxmlformats.org/officeDocument/2006/relationships/image" Target="../media/image52.emf"/><Relationship Id="rId26" Type="http://schemas.openxmlformats.org/officeDocument/2006/relationships/image" Target="../media/image60.svg"/><Relationship Id="rId3" Type="http://schemas.openxmlformats.org/officeDocument/2006/relationships/tags" Target="../tags/tag119.xml"/><Relationship Id="rId21" Type="http://schemas.openxmlformats.org/officeDocument/2006/relationships/image" Target="../media/image55.png"/><Relationship Id="rId7" Type="http://schemas.openxmlformats.org/officeDocument/2006/relationships/tags" Target="../tags/tag123.xml"/><Relationship Id="rId12" Type="http://schemas.openxmlformats.org/officeDocument/2006/relationships/tags" Target="../tags/tag128.xml"/><Relationship Id="rId17" Type="http://schemas.openxmlformats.org/officeDocument/2006/relationships/oleObject" Target="../embeddings/oleObject38.bin"/><Relationship Id="rId25" Type="http://schemas.openxmlformats.org/officeDocument/2006/relationships/image" Target="../media/image59.png"/><Relationship Id="rId2" Type="http://schemas.openxmlformats.org/officeDocument/2006/relationships/tags" Target="../tags/tag118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54.svg"/><Relationship Id="rId29" Type="http://schemas.openxmlformats.org/officeDocument/2006/relationships/image" Target="../media/image63.png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1" Type="http://schemas.openxmlformats.org/officeDocument/2006/relationships/tags" Target="../tags/tag127.xml"/><Relationship Id="rId24" Type="http://schemas.openxmlformats.org/officeDocument/2006/relationships/image" Target="../media/image58.svg"/><Relationship Id="rId32" Type="http://schemas.openxmlformats.org/officeDocument/2006/relationships/image" Target="../media/image66.svg"/><Relationship Id="rId5" Type="http://schemas.openxmlformats.org/officeDocument/2006/relationships/tags" Target="../tags/tag121.xml"/><Relationship Id="rId15" Type="http://schemas.openxmlformats.org/officeDocument/2006/relationships/tags" Target="../tags/tag131.xml"/><Relationship Id="rId23" Type="http://schemas.openxmlformats.org/officeDocument/2006/relationships/image" Target="../media/image57.png"/><Relationship Id="rId28" Type="http://schemas.openxmlformats.org/officeDocument/2006/relationships/image" Target="../media/image62.svg"/><Relationship Id="rId10" Type="http://schemas.openxmlformats.org/officeDocument/2006/relationships/tags" Target="../tags/tag126.xml"/><Relationship Id="rId19" Type="http://schemas.openxmlformats.org/officeDocument/2006/relationships/image" Target="../media/image53.png"/><Relationship Id="rId31" Type="http://schemas.openxmlformats.org/officeDocument/2006/relationships/image" Target="../media/image65.png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4" Type="http://schemas.openxmlformats.org/officeDocument/2006/relationships/tags" Target="../tags/tag130.xml"/><Relationship Id="rId22" Type="http://schemas.openxmlformats.org/officeDocument/2006/relationships/image" Target="../media/image56.svg"/><Relationship Id="rId27" Type="http://schemas.openxmlformats.org/officeDocument/2006/relationships/image" Target="../media/image61.png"/><Relationship Id="rId30" Type="http://schemas.openxmlformats.org/officeDocument/2006/relationships/image" Target="../media/image6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AF061DA6-75A5-C23D-8F8D-057E48A0E9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704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9" imgH="642" progId="TCLayout.ActiveDocument.1">
                  <p:embed/>
                </p:oleObj>
              </mc:Choice>
              <mc:Fallback>
                <p:oleObj name="think-cell Slide" r:id="rId4" imgW="639" imgH="642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AF061DA6-75A5-C23D-8F8D-057E48A0E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Placeholder 14" descr="A picture containing indoor&#10;&#10;Description automatically generated">
            <a:extLst>
              <a:ext uri="{FF2B5EF4-FFF2-40B4-BE49-F238E27FC236}">
                <a16:creationId xmlns:a16="http://schemas.microsoft.com/office/drawing/2014/main" id="{8BF57719-9ECE-68C3-62CA-655E3CAACD48}"/>
              </a:ext>
            </a:extLst>
          </p:cNvPr>
          <p:cNvPicPr>
            <a:picLocks noGrp="1" noChangeAspect="1"/>
          </p:cNvPicPr>
          <p:nvPr>
            <p:ph type="pic" sz="quarter" idx="35"/>
          </p:nvPr>
        </p:nvPicPr>
        <p:blipFill>
          <a:blip r:embed="rId6"/>
          <a:srcRect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11C4DA-F0CB-6909-C793-992D2F9759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epared f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BFA7D6-5177-9AFA-F0EB-8C8BACE698D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253834" y="2688131"/>
            <a:ext cx="2919303" cy="923330"/>
          </a:xfrm>
        </p:spPr>
        <p:txBody>
          <a:bodyPr/>
          <a:lstStyle/>
          <a:p>
            <a:r>
              <a:rPr lang="en-US" dirty="0"/>
              <a:t>2025 Thermal Management Symposium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D47E6C-E37A-6D13-A339-62FAC467F35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Tanguy Cabare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4B76EB-B7E2-AA2A-E295-2E31832940F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Ypsilanti, October 14-15, 2025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99B5BDC-E8CE-FC9C-8C15-31FEFA09D2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59096" y="2050841"/>
            <a:ext cx="4332904" cy="430887"/>
          </a:xfrm>
        </p:spPr>
        <p:txBody>
          <a:bodyPr/>
          <a:lstStyle/>
          <a:p>
            <a:r>
              <a:rPr lang="en-US" dirty="0"/>
              <a:t>Development of TM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7183FB2-A0A2-3F67-8EB7-ACD13CC0037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330105" y="2565021"/>
            <a:ext cx="4861895" cy="430887"/>
          </a:xfrm>
        </p:spPr>
        <p:txBody>
          <a:bodyPr/>
          <a:lstStyle/>
          <a:p>
            <a:r>
              <a:rPr lang="en-US" dirty="0"/>
              <a:t>for BEV and FCEV truck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8AAF740-E9C1-E619-0A3C-BBD4610BDA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53834" y="4466985"/>
            <a:ext cx="2571423" cy="994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09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:a16="http://schemas.microsoft.com/office/drawing/2014/main" xmlns:a14="http://schemas.microsoft.com/office/drawing/2010/main" xmlns:v="urn:schemas-microsoft-com:vml"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B3FE592-5732-41DD-77AD-5356658810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098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3FE592-5732-41DD-77AD-5356658810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1643651909">
            <a:extLst>
              <a:ext uri="{FF2B5EF4-FFF2-40B4-BE49-F238E27FC236}">
                <a16:creationId xmlns:a16="http://schemas.microsoft.com/office/drawing/2014/main" id="{40696A44-8420-825A-4648-7DDC3BF9C4DA}"/>
              </a:ext>
            </a:extLst>
          </p:cNvPr>
          <p:cNvSpPr txBox="1"/>
          <p:nvPr/>
        </p:nvSpPr>
        <p:spPr>
          <a:xfrm>
            <a:off x="550863" y="3028472"/>
            <a:ext cx="5545137" cy="1333079"/>
          </a:xfrm>
          <a:prstGeom prst="roundRect">
            <a:avLst>
              <a:gd name="adj" fmla="val 3811"/>
            </a:avLst>
          </a:prstGeom>
          <a:gradFill flip="none" rotWithShape="1">
            <a:gsLst>
              <a:gs pos="0">
                <a:schemeClr val="accent1">
                  <a:lumMod val="75000"/>
                </a:schemeClr>
              </a:gs>
              <a:gs pos="100000">
                <a:schemeClr val="bg1">
                  <a:lumMod val="85000"/>
                </a:schemeClr>
              </a:gs>
              <a:gs pos="50000">
                <a:schemeClr val="accent1">
                  <a:lumMod val="90000"/>
                </a:schemeClr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>
            <a:defPPr>
              <a:defRPr lang="de-DE"/>
            </a:defPPr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bg1"/>
              </a:buClr>
              <a:buSzPct val="100000"/>
              <a:buFont typeface="FEV" panose="020B0604020202020204" charset="0"/>
              <a:buChar char="•"/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rgbClr val="FFFFFF"/>
                </a:solidFill>
                <a:cs typeface="Poppins" panose="00000500000000000000" pitchFamily="2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chemeClr val="bg1"/>
                </a:solidFill>
                <a:cs typeface="Poppins" panose="00000500000000000000" pitchFamily="2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6" name="TextBox1643651909">
            <a:extLst>
              <a:ext uri="{FF2B5EF4-FFF2-40B4-BE49-F238E27FC236}">
                <a16:creationId xmlns:a16="http://schemas.microsoft.com/office/drawing/2014/main" id="{7BBC8747-5663-0599-F1F4-AFF04751AE31}"/>
              </a:ext>
            </a:extLst>
          </p:cNvPr>
          <p:cNvSpPr txBox="1"/>
          <p:nvPr/>
        </p:nvSpPr>
        <p:spPr>
          <a:xfrm>
            <a:off x="6096001" y="3028472"/>
            <a:ext cx="5545137" cy="1333079"/>
          </a:xfrm>
          <a:prstGeom prst="roundRect">
            <a:avLst>
              <a:gd name="adj" fmla="val 3811"/>
            </a:avLst>
          </a:prstGeom>
          <a:gradFill flip="none" rotWithShape="1">
            <a:gsLst>
              <a:gs pos="0">
                <a:srgbClr val="004754"/>
              </a:gs>
              <a:gs pos="100000">
                <a:srgbClr val="29BBCE"/>
              </a:gs>
              <a:gs pos="50000">
                <a:srgbClr val="0087A0"/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>
            <a:defPPr>
              <a:defRPr lang="de-DE"/>
            </a:defPPr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bg1"/>
              </a:buClr>
              <a:buSzPct val="100000"/>
              <a:buFont typeface="FEV" panose="020B0604020202020204" charset="0"/>
              <a:buChar char="•"/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rgbClr val="FFFFFF"/>
                </a:solidFill>
                <a:cs typeface="Poppins" panose="00000500000000000000" pitchFamily="2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chemeClr val="bg1"/>
                </a:solidFill>
                <a:cs typeface="Poppins" panose="00000500000000000000" pitchFamily="2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51" name="TextBox1643651909">
            <a:extLst>
              <a:ext uri="{FF2B5EF4-FFF2-40B4-BE49-F238E27FC236}">
                <a16:creationId xmlns:a16="http://schemas.microsoft.com/office/drawing/2014/main" id="{0780DFD0-B3DA-7FA1-7DBB-CF2FE31ABD52}"/>
              </a:ext>
            </a:extLst>
          </p:cNvPr>
          <p:cNvSpPr txBox="1"/>
          <p:nvPr/>
        </p:nvSpPr>
        <p:spPr>
          <a:xfrm>
            <a:off x="3444283" y="4573160"/>
            <a:ext cx="5303434" cy="1556139"/>
          </a:xfrm>
          <a:prstGeom prst="roundRect">
            <a:avLst>
              <a:gd name="adj" fmla="val 3265"/>
            </a:avLst>
          </a:prstGeom>
          <a:gradFill flip="none" rotWithShape="1">
            <a:gsLst>
              <a:gs pos="0">
                <a:srgbClr val="004754"/>
              </a:gs>
              <a:gs pos="100000">
                <a:srgbClr val="007287"/>
              </a:gs>
              <a:gs pos="50000">
                <a:srgbClr val="005D6E"/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>
            <a:defPPr>
              <a:defRPr lang="de-DE"/>
            </a:defPPr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bg1"/>
              </a:buClr>
              <a:buSzPct val="100000"/>
              <a:buFont typeface="FEV" panose="020B0604020202020204" charset="0"/>
              <a:buChar char="•"/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rgbClr val="FFFFFF"/>
                </a:solidFill>
                <a:cs typeface="Poppins" panose="00000500000000000000" pitchFamily="2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chemeClr val="bg1"/>
                </a:solidFill>
                <a:cs typeface="Poppins" panose="00000500000000000000" pitchFamily="2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EBBCEBE-4E5F-9990-F4DD-1B92286C29B3}"/>
              </a:ext>
            </a:extLst>
          </p:cNvPr>
          <p:cNvSpPr/>
          <p:nvPr/>
        </p:nvSpPr>
        <p:spPr>
          <a:xfrm>
            <a:off x="465447" y="2990338"/>
            <a:ext cx="5629341" cy="1409347"/>
          </a:xfrm>
          <a:prstGeom prst="rect">
            <a:avLst/>
          </a:prstGeom>
          <a:solidFill>
            <a:schemeClr val="bg1">
              <a:alpha val="55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1643651909">
            <a:extLst>
              <a:ext uri="{FF2B5EF4-FFF2-40B4-BE49-F238E27FC236}">
                <a16:creationId xmlns:a16="http://schemas.microsoft.com/office/drawing/2014/main" id="{553EAE8C-4DEE-2D63-01B4-0A45FEDDB5FA}"/>
              </a:ext>
            </a:extLst>
          </p:cNvPr>
          <p:cNvSpPr txBox="1"/>
          <p:nvPr/>
        </p:nvSpPr>
        <p:spPr>
          <a:xfrm>
            <a:off x="6096001" y="1700215"/>
            <a:ext cx="5545137" cy="1333079"/>
          </a:xfrm>
          <a:prstGeom prst="roundRect">
            <a:avLst>
              <a:gd name="adj" fmla="val 3811"/>
            </a:avLst>
          </a:prstGeom>
          <a:gradFill>
            <a:gsLst>
              <a:gs pos="0">
                <a:schemeClr val="accent2"/>
              </a:gs>
              <a:gs pos="100000">
                <a:schemeClr val="accent2">
                  <a:alpha val="74000"/>
                </a:schemeClr>
              </a:gs>
              <a:gs pos="50000">
                <a:schemeClr val="accent2">
                  <a:alpha val="97000"/>
                </a:schemeClr>
              </a:gs>
            </a:gsLst>
            <a:lin ang="19800000" scaled="1"/>
          </a:gra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AF4CD6-326B-E993-E599-8759949BB4E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1384" y="6406354"/>
            <a:ext cx="4727256" cy="246221"/>
          </a:xfrm>
        </p:spPr>
        <p:txBody>
          <a:bodyPr/>
          <a:lstStyle/>
          <a:p>
            <a:r>
              <a:rPr lang="en-US"/>
              <a:t>CV: commercial vehicle; PV: passenger vehicle; EDU: electric drive unit; PE: power electronics </a:t>
            </a:r>
            <a:br>
              <a:rPr lang="en-US"/>
            </a:br>
            <a:r>
              <a:rPr lang="en-US"/>
              <a:t>Source: FEV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1E71BE2-5560-BD5A-00B2-59FEDDAC7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Lower level of integration between the different thermal management systems is currently observed in the CV segment compared to PV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C5C133-7AB7-A191-1F9D-1D930918A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0" name="TextBox1643651909">
            <a:extLst>
              <a:ext uri="{FF2B5EF4-FFF2-40B4-BE49-F238E27FC236}">
                <a16:creationId xmlns:a16="http://schemas.microsoft.com/office/drawing/2014/main" id="{3ADFD294-7BCE-0DEF-3577-61BF5917CA6E}"/>
              </a:ext>
            </a:extLst>
          </p:cNvPr>
          <p:cNvSpPr txBox="1"/>
          <p:nvPr/>
        </p:nvSpPr>
        <p:spPr>
          <a:xfrm>
            <a:off x="550863" y="1700215"/>
            <a:ext cx="5545137" cy="1333079"/>
          </a:xfrm>
          <a:prstGeom prst="roundRect">
            <a:avLst>
              <a:gd name="adj" fmla="val 3811"/>
            </a:avLst>
          </a:prstGeom>
          <a:gradFill>
            <a:gsLst>
              <a:gs pos="0">
                <a:srgbClr val="6E031B"/>
              </a:gs>
              <a:gs pos="100000">
                <a:srgbClr val="CE506C"/>
              </a:gs>
              <a:gs pos="50000">
                <a:srgbClr val="B9052D"/>
              </a:gs>
            </a:gsLst>
            <a:lin ang="19800000" scaled="1"/>
          </a:gra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B73C87F-F13D-29E0-724C-2DD8CD58215C}"/>
              </a:ext>
            </a:extLst>
          </p:cNvPr>
          <p:cNvCxnSpPr>
            <a:cxnSpLocks/>
          </p:cNvCxnSpPr>
          <p:nvPr/>
        </p:nvCxnSpPr>
        <p:spPr>
          <a:xfrm flipH="1">
            <a:off x="465448" y="3033294"/>
            <a:ext cx="11312422" cy="0"/>
          </a:xfrm>
          <a:prstGeom prst="line">
            <a:avLst/>
          </a:prstGeom>
          <a:ln w="127000">
            <a:solidFill>
              <a:schemeClr val="bg1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502CEA3-4641-C31F-218E-6AE8B028D092}"/>
              </a:ext>
            </a:extLst>
          </p:cNvPr>
          <p:cNvCxnSpPr>
            <a:cxnSpLocks/>
          </p:cNvCxnSpPr>
          <p:nvPr/>
        </p:nvCxnSpPr>
        <p:spPr>
          <a:xfrm>
            <a:off x="6095395" y="1628768"/>
            <a:ext cx="0" cy="2813871"/>
          </a:xfrm>
          <a:prstGeom prst="line">
            <a:avLst/>
          </a:prstGeom>
          <a:ln w="127000">
            <a:solidFill>
              <a:schemeClr val="bg1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49E77A23-2EC1-77CC-707C-6612224C4CFA}"/>
              </a:ext>
            </a:extLst>
          </p:cNvPr>
          <p:cNvSpPr txBox="1"/>
          <p:nvPr/>
        </p:nvSpPr>
        <p:spPr>
          <a:xfrm>
            <a:off x="644214" y="3308810"/>
            <a:ext cx="2994659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n-lt"/>
              </a:rPr>
              <a:t>CABIN </a:t>
            </a:r>
            <a:br>
              <a:rPr lang="en-US" b="1" dirty="0">
                <a:solidFill>
                  <a:schemeClr val="bg1"/>
                </a:solidFill>
                <a:latin typeface="+mn-lt"/>
              </a:rPr>
            </a:br>
            <a:r>
              <a:rPr lang="en-US" b="1" dirty="0">
                <a:solidFill>
                  <a:schemeClr val="bg1"/>
                </a:solidFill>
                <a:latin typeface="+mn-lt"/>
              </a:rPr>
              <a:t>THERMAL MANAGEMENT SYSTEM</a:t>
            </a: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79A51E6A-8C5F-4F81-47A6-F5C032C330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1340768"/>
            <a:ext cx="11088021" cy="288000"/>
          </a:xfrm>
        </p:spPr>
        <p:txBody>
          <a:bodyPr/>
          <a:lstStyle/>
          <a:p>
            <a:r>
              <a:rPr lang="en-US"/>
              <a:t>CV TMS – SUB-system overview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0D7EE2F-00BD-D1DD-B763-200014344AB8}"/>
              </a:ext>
            </a:extLst>
          </p:cNvPr>
          <p:cNvSpPr/>
          <p:nvPr/>
        </p:nvSpPr>
        <p:spPr>
          <a:xfrm>
            <a:off x="465447" y="1662081"/>
            <a:ext cx="5629341" cy="1409347"/>
          </a:xfrm>
          <a:prstGeom prst="rect">
            <a:avLst/>
          </a:prstGeom>
          <a:solidFill>
            <a:schemeClr val="bg1">
              <a:alpha val="55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E82F025-120A-FF88-DF15-4E413536DBE1}"/>
              </a:ext>
            </a:extLst>
          </p:cNvPr>
          <p:cNvSpPr txBox="1"/>
          <p:nvPr/>
        </p:nvSpPr>
        <p:spPr>
          <a:xfrm>
            <a:off x="889078" y="1947004"/>
            <a:ext cx="2504932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n-lt"/>
              </a:rPr>
              <a:t>BATTERY THERMAL MANAGEMENT SYSTEM (BTMS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5D91EB2-02C1-02B4-F6D2-2C9B1D1C85E5}"/>
              </a:ext>
            </a:extLst>
          </p:cNvPr>
          <p:cNvSpPr/>
          <p:nvPr/>
        </p:nvSpPr>
        <p:spPr>
          <a:xfrm>
            <a:off x="6094788" y="1613888"/>
            <a:ext cx="5629341" cy="1409347"/>
          </a:xfrm>
          <a:prstGeom prst="rect">
            <a:avLst/>
          </a:prstGeom>
          <a:solidFill>
            <a:schemeClr val="bg1">
              <a:alpha val="55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478BE77-5B6D-FA38-AE58-C0A3D392B930}"/>
              </a:ext>
            </a:extLst>
          </p:cNvPr>
          <p:cNvSpPr txBox="1"/>
          <p:nvPr/>
        </p:nvSpPr>
        <p:spPr>
          <a:xfrm>
            <a:off x="8577131" y="2085504"/>
            <a:ext cx="2977277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latin typeface="+mn-lt"/>
              </a:rPr>
              <a:t>EDU AND PE THERMAL MANAGEMENT SYSTEM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DEF6246-005F-60EC-C84A-B7F1A62507DE}"/>
              </a:ext>
            </a:extLst>
          </p:cNvPr>
          <p:cNvSpPr/>
          <p:nvPr/>
        </p:nvSpPr>
        <p:spPr>
          <a:xfrm>
            <a:off x="6094788" y="2990338"/>
            <a:ext cx="5629341" cy="1409347"/>
          </a:xfrm>
          <a:prstGeom prst="rect">
            <a:avLst/>
          </a:prstGeom>
          <a:solidFill>
            <a:schemeClr val="bg1">
              <a:alpha val="55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FC8936B-F878-664B-17F5-E7B88989CD2E}"/>
              </a:ext>
            </a:extLst>
          </p:cNvPr>
          <p:cNvSpPr txBox="1"/>
          <p:nvPr/>
        </p:nvSpPr>
        <p:spPr>
          <a:xfrm>
            <a:off x="8717768" y="3308810"/>
            <a:ext cx="2696003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n-lt"/>
              </a:rPr>
              <a:t>BRAKE RESISTORS </a:t>
            </a:r>
            <a:br>
              <a:rPr lang="en-US" b="1" dirty="0">
                <a:solidFill>
                  <a:schemeClr val="bg1"/>
                </a:solidFill>
                <a:latin typeface="+mn-lt"/>
              </a:rPr>
            </a:br>
            <a:r>
              <a:rPr lang="en-US" b="1" dirty="0">
                <a:solidFill>
                  <a:schemeClr val="bg1"/>
                </a:solidFill>
                <a:latin typeface="+mn-lt"/>
              </a:rPr>
              <a:t>THERMAL MANAGEMENT SYSTEM</a:t>
            </a:r>
          </a:p>
        </p:txBody>
      </p:sp>
      <p:sp>
        <p:nvSpPr>
          <p:cNvPr id="18" name="TextBox607018367">
            <a:extLst>
              <a:ext uri="{FF2B5EF4-FFF2-40B4-BE49-F238E27FC236}">
                <a16:creationId xmlns:a16="http://schemas.microsoft.com/office/drawing/2014/main" id="{21B6B1CE-999C-4149-DC28-4301F088C906}"/>
              </a:ext>
            </a:extLst>
          </p:cNvPr>
          <p:cNvSpPr txBox="1"/>
          <p:nvPr/>
        </p:nvSpPr>
        <p:spPr>
          <a:xfrm>
            <a:off x="3804727" y="2126569"/>
            <a:ext cx="4581333" cy="1813449"/>
          </a:xfrm>
          <a:prstGeom prst="roundRect">
            <a:avLst>
              <a:gd name="adj" fmla="val 2802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/>
          </a:p>
          <a:p>
            <a:endParaRPr lang="en-US" err="1"/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E6A870AD-CC45-24D1-9F29-541ED6043B1B}"/>
              </a:ext>
            </a:extLst>
          </p:cNvPr>
          <p:cNvSpPr/>
          <p:nvPr/>
        </p:nvSpPr>
        <p:spPr>
          <a:xfrm rot="8100000">
            <a:off x="7640918" y="2384801"/>
            <a:ext cx="575861" cy="300891"/>
          </a:xfrm>
          <a:prstGeom prst="rightArrow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alpha val="74000"/>
                </a:schemeClr>
              </a:gs>
              <a:gs pos="50000">
                <a:schemeClr val="accent2">
                  <a:alpha val="97000"/>
                </a:schemeClr>
              </a:gs>
            </a:gsLst>
            <a:lin ang="19800000" scaled="1"/>
          </a:gra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400">
              <a:cs typeface="Poppins" panose="00000500000000000000" pitchFamily="2" charset="0"/>
            </a:endParaRPr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3F60F2FA-7D20-A3DE-E271-ADEE0C0EFE04}"/>
              </a:ext>
            </a:extLst>
          </p:cNvPr>
          <p:cNvSpPr/>
          <p:nvPr/>
        </p:nvSpPr>
        <p:spPr>
          <a:xfrm rot="2700000">
            <a:off x="3991659" y="2384800"/>
            <a:ext cx="575861" cy="300891"/>
          </a:xfrm>
          <a:prstGeom prst="rightArrow">
            <a:avLst/>
          </a:prstGeom>
          <a:gradFill>
            <a:gsLst>
              <a:gs pos="0">
                <a:srgbClr val="6E031B"/>
              </a:gs>
              <a:gs pos="100000">
                <a:srgbClr val="CE506C"/>
              </a:gs>
              <a:gs pos="50000">
                <a:srgbClr val="B9052D"/>
              </a:gs>
            </a:gsLst>
            <a:lin ang="19800000" scaled="1"/>
          </a:gra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400">
              <a:cs typeface="Poppins" panose="00000500000000000000" pitchFamily="2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BF1B065-7457-E09E-D53F-8AF9515E461E}"/>
              </a:ext>
            </a:extLst>
          </p:cNvPr>
          <p:cNvSpPr txBox="1"/>
          <p:nvPr/>
        </p:nvSpPr>
        <p:spPr>
          <a:xfrm>
            <a:off x="4701024" y="2513031"/>
            <a:ext cx="2788739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600" dirty="0">
                <a:latin typeface="+mn-lt"/>
              </a:rPr>
              <a:t>Possible </a:t>
            </a:r>
            <a:r>
              <a:rPr lang="en-US" sz="1600" b="1" dirty="0">
                <a:latin typeface="+mn-lt"/>
              </a:rPr>
              <a:t>leveraging of thermal architecture </a:t>
            </a:r>
            <a:r>
              <a:rPr lang="en-US" sz="1600" dirty="0">
                <a:latin typeface="+mn-lt"/>
              </a:rPr>
              <a:t>from BEV or ICE, with adaptation to FCEV powertrain</a:t>
            </a:r>
            <a:endParaRPr lang="en-US" sz="1600" dirty="0">
              <a:solidFill>
                <a:schemeClr val="accent2"/>
              </a:solidFill>
              <a:latin typeface="+mn-lt"/>
            </a:endParaRPr>
          </a:p>
        </p:txBody>
      </p:sp>
      <p:pic>
        <p:nvPicPr>
          <p:cNvPr id="50" name="Bullet_Teal">
            <a:extLst>
              <a:ext uri="{FF2B5EF4-FFF2-40B4-BE49-F238E27FC236}">
                <a16:creationId xmlns:a16="http://schemas.microsoft.com/office/drawing/2014/main" id="{6830DF5C-CAB4-443C-2ACF-FD59812F61B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04720" y="4433052"/>
            <a:ext cx="1362829" cy="1836355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E3338F9E-BD4D-D3FD-1E60-E4459AC4A02C}"/>
              </a:ext>
            </a:extLst>
          </p:cNvPr>
          <p:cNvSpPr txBox="1"/>
          <p:nvPr/>
        </p:nvSpPr>
        <p:spPr>
          <a:xfrm>
            <a:off x="4299699" y="4797232"/>
            <a:ext cx="2114201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latin typeface="+mn-lt"/>
              </a:rPr>
              <a:t>FUEL CELL THERMAL MANAGEMENT SYSTEM</a:t>
            </a:r>
          </a:p>
        </p:txBody>
      </p:sp>
      <p:pic>
        <p:nvPicPr>
          <p:cNvPr id="55" name="631 fuel cell">
            <a:extLst>
              <a:ext uri="{FF2B5EF4-FFF2-40B4-BE49-F238E27FC236}">
                <a16:creationId xmlns:a16="http://schemas.microsoft.com/office/drawing/2014/main" id="{DAB1F986-6AD6-B199-804F-925E319A74B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48576" y="4510042"/>
            <a:ext cx="1682373" cy="1682373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E6EE2C1C-E15C-5C5C-B196-F17D908D500E}"/>
              </a:ext>
            </a:extLst>
          </p:cNvPr>
          <p:cNvSpPr txBox="1"/>
          <p:nvPr/>
        </p:nvSpPr>
        <p:spPr>
          <a:xfrm>
            <a:off x="6832800" y="5224710"/>
            <a:ext cx="208080" cy="182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1400" b="1" dirty="0">
                <a:solidFill>
                  <a:srgbClr val="004754"/>
                </a:solidFill>
                <a:latin typeface="+mn-lt"/>
              </a:rPr>
              <a:t>H</a:t>
            </a:r>
            <a:r>
              <a:rPr lang="en-US" sz="1400" b="1" baseline="-25000" dirty="0">
                <a:solidFill>
                  <a:srgbClr val="004754"/>
                </a:solidFill>
                <a:latin typeface="+mn-lt"/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A975F9B-C88E-6379-85AC-3589300F73FD}"/>
              </a:ext>
            </a:extLst>
          </p:cNvPr>
          <p:cNvSpPr txBox="1"/>
          <p:nvPr/>
        </p:nvSpPr>
        <p:spPr>
          <a:xfrm>
            <a:off x="7944050" y="5224710"/>
            <a:ext cx="208080" cy="1828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1400" b="1" dirty="0">
                <a:solidFill>
                  <a:srgbClr val="004754"/>
                </a:solidFill>
                <a:latin typeface="+mn-lt"/>
              </a:rPr>
              <a:t>O</a:t>
            </a:r>
            <a:r>
              <a:rPr lang="en-US" sz="1400" b="1" baseline="-25000" dirty="0">
                <a:solidFill>
                  <a:srgbClr val="004754"/>
                </a:solidFill>
                <a:latin typeface="+mn-lt"/>
              </a:rPr>
              <a:t>2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15E782D5-52F1-4F5E-E106-C40F6AA4C7C6}"/>
              </a:ext>
            </a:extLst>
          </p:cNvPr>
          <p:cNvSpPr/>
          <p:nvPr/>
        </p:nvSpPr>
        <p:spPr>
          <a:xfrm rot="18900000">
            <a:off x="3991659" y="3379079"/>
            <a:ext cx="575861" cy="300891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75000"/>
                </a:schemeClr>
              </a:gs>
              <a:gs pos="100000">
                <a:schemeClr val="bg1">
                  <a:lumMod val="85000"/>
                </a:schemeClr>
              </a:gs>
              <a:gs pos="50000">
                <a:schemeClr val="accent1">
                  <a:lumMod val="90000"/>
                </a:schemeClr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400">
              <a:solidFill>
                <a:srgbClr val="FFFFFF"/>
              </a:solidFill>
              <a:cs typeface="Poppins" panose="00000500000000000000" pitchFamily="2" charset="0"/>
            </a:endParaRP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0E480D8B-9465-FEF8-AF6E-35C169C34469}"/>
              </a:ext>
            </a:extLst>
          </p:cNvPr>
          <p:cNvSpPr/>
          <p:nvPr/>
        </p:nvSpPr>
        <p:spPr>
          <a:xfrm rot="13500000">
            <a:off x="7640918" y="3379080"/>
            <a:ext cx="575861" cy="300891"/>
          </a:xfrm>
          <a:prstGeom prst="rightArrow">
            <a:avLst/>
          </a:prstGeom>
          <a:gradFill flip="none" rotWithShape="1">
            <a:gsLst>
              <a:gs pos="0">
                <a:srgbClr val="004754"/>
              </a:gs>
              <a:gs pos="100000">
                <a:srgbClr val="29BBCE"/>
              </a:gs>
              <a:gs pos="50000">
                <a:srgbClr val="0087A0"/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400">
              <a:solidFill>
                <a:srgbClr val="FFFFFF"/>
              </a:solidFill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3252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hink-cell data - do not delete" hidden="1">
            <a:extLst>
              <a:ext uri="{FF2B5EF4-FFF2-40B4-BE49-F238E27FC236}">
                <a16:creationId xmlns:a16="http://schemas.microsoft.com/office/drawing/2014/main" id="{A2AB8655-46AD-D6AC-9BB5-006078D171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5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AB8655-46AD-D6AC-9BB5-006078D17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Box1989669532">
            <a:extLst>
              <a:ext uri="{FF2B5EF4-FFF2-40B4-BE49-F238E27FC236}">
                <a16:creationId xmlns:a16="http://schemas.microsoft.com/office/drawing/2014/main" id="{8AD8839C-087C-FCB3-27B8-1A4CA7BCEDE2}"/>
              </a:ext>
            </a:extLst>
          </p:cNvPr>
          <p:cNvSpPr txBox="1"/>
          <p:nvPr/>
        </p:nvSpPr>
        <p:spPr>
          <a:xfrm>
            <a:off x="8223431" y="1702800"/>
            <a:ext cx="3421771" cy="4604400"/>
          </a:xfrm>
          <a:prstGeom prst="roundRect">
            <a:avLst>
              <a:gd name="adj" fmla="val 1626"/>
            </a:avLst>
          </a:prstGeom>
          <a:gradFill flip="none" rotWithShape="1">
            <a:gsLst>
              <a:gs pos="0">
                <a:srgbClr val="6F031B"/>
              </a:gs>
              <a:gs pos="100000">
                <a:srgbClr val="DD0036"/>
              </a:gs>
              <a:gs pos="50000">
                <a:srgbClr val="B9052D"/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bg1"/>
              </a:buClr>
              <a:buSzPct val="100000"/>
              <a:buFont typeface="FEV" panose="020B0604020202020204" charset="0"/>
              <a:buChar char="•"/>
              <a:defRPr lang="en-US" sz="1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4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>
              <a:solidFill>
                <a:srgbClr val="FFFFFF"/>
              </a:solidFill>
            </a:endParaRPr>
          </a:p>
        </p:txBody>
      </p:sp>
      <p:sp>
        <p:nvSpPr>
          <p:cNvPr id="28" name="TextBox1989669532">
            <a:extLst>
              <a:ext uri="{FF2B5EF4-FFF2-40B4-BE49-F238E27FC236}">
                <a16:creationId xmlns:a16="http://schemas.microsoft.com/office/drawing/2014/main" id="{544FE760-1159-050E-9DD3-0EDBAA14FA17}"/>
              </a:ext>
            </a:extLst>
          </p:cNvPr>
          <p:cNvSpPr txBox="1"/>
          <p:nvPr/>
        </p:nvSpPr>
        <p:spPr>
          <a:xfrm>
            <a:off x="4382995" y="1702800"/>
            <a:ext cx="3421771" cy="4604400"/>
          </a:xfrm>
          <a:prstGeom prst="roundRect">
            <a:avLst>
              <a:gd name="adj" fmla="val 1626"/>
            </a:avLst>
          </a:prstGeom>
          <a:gradFill flip="none" rotWithShape="1">
            <a:gsLst>
              <a:gs pos="0">
                <a:schemeClr val="accent2"/>
              </a:gs>
              <a:gs pos="100000">
                <a:srgbClr val="A6A6A6"/>
              </a:gs>
              <a:gs pos="50000">
                <a:srgbClr val="666666"/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bg1"/>
              </a:buClr>
              <a:buSzPct val="100000"/>
              <a:buFont typeface="FEV" panose="020B0604020202020204" charset="0"/>
              <a:buChar char="•"/>
              <a:defRPr lang="en-US" sz="1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4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>
              <a:solidFill>
                <a:srgbClr val="FFFFFF"/>
              </a:solidFill>
            </a:endParaRPr>
          </a:p>
        </p:txBody>
      </p:sp>
      <p:sp>
        <p:nvSpPr>
          <p:cNvPr id="15" name="TextBox1517263004">
            <a:extLst>
              <a:ext uri="{FF2B5EF4-FFF2-40B4-BE49-F238E27FC236}">
                <a16:creationId xmlns:a16="http://schemas.microsoft.com/office/drawing/2014/main" id="{640425C0-F0AC-9E96-96AE-2D1FC9BEFC00}"/>
              </a:ext>
            </a:extLst>
          </p:cNvPr>
          <p:cNvSpPr txBox="1"/>
          <p:nvPr/>
        </p:nvSpPr>
        <p:spPr>
          <a:xfrm>
            <a:off x="543110" y="1702800"/>
            <a:ext cx="3421771" cy="4604400"/>
          </a:xfrm>
          <a:prstGeom prst="roundRect">
            <a:avLst>
              <a:gd name="adj" fmla="val 1626"/>
            </a:avLst>
          </a:prstGeom>
          <a:gradFill flip="none" rotWithShape="1">
            <a:gsLst>
              <a:gs pos="0">
                <a:srgbClr val="004754"/>
              </a:gs>
              <a:gs pos="100000">
                <a:srgbClr val="29BBCE"/>
              </a:gs>
              <a:gs pos="50000">
                <a:srgbClr val="0087A0"/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bg1"/>
              </a:buClr>
              <a:buSzPct val="100000"/>
              <a:buFont typeface="FEV" panose="020B0604020202020204" charset="0"/>
              <a:buChar char="•"/>
              <a:defRPr lang="en-US" sz="1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4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>
              <a:solidFill>
                <a:srgbClr val="FFFFFF"/>
              </a:solidFill>
            </a:endParaRPr>
          </a:p>
        </p:txBody>
      </p:sp>
      <p:sp>
        <p:nvSpPr>
          <p:cNvPr id="54" name="TextBox187701601">
            <a:extLst>
              <a:ext uri="{FF2B5EF4-FFF2-40B4-BE49-F238E27FC236}">
                <a16:creationId xmlns:a16="http://schemas.microsoft.com/office/drawing/2014/main" id="{EEA6E0D6-FD6C-12E4-D134-91AF5BD8C3A3}"/>
              </a:ext>
            </a:extLst>
          </p:cNvPr>
          <p:cNvSpPr txBox="1"/>
          <p:nvPr/>
        </p:nvSpPr>
        <p:spPr>
          <a:xfrm>
            <a:off x="543109" y="4589758"/>
            <a:ext cx="3421771" cy="1717442"/>
          </a:xfrm>
          <a:prstGeom prst="roundRect">
            <a:avLst>
              <a:gd name="adj" fmla="val 1626"/>
            </a:avLst>
          </a:prstGeom>
          <a:solidFill>
            <a:srgbClr val="FFFFFF"/>
          </a:solidFill>
          <a:ln w="317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A9FF628-F6DF-00DD-585C-BF3E1D40CC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FCEV TMS – BOP integr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BE0D34-A0DA-6E82-6C78-B646F5A499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1384" y="6529464"/>
            <a:ext cx="580287" cy="123111"/>
          </a:xfrm>
        </p:spPr>
        <p:txBody>
          <a:bodyPr/>
          <a:lstStyle/>
          <a:p>
            <a:r>
              <a:rPr lang="en-US"/>
              <a:t>Source: FEV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550FF2-B007-2169-348F-C08E9DE7B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ntegration of several </a:t>
            </a:r>
            <a:r>
              <a:rPr lang="en-US" err="1"/>
              <a:t>BoP</a:t>
            </a:r>
            <a:r>
              <a:rPr lang="en-US"/>
              <a:t> components with TMS system enables to ensure optimal temperature and water management in the fuel cell syste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8096D9-A2AB-7250-8483-6D8FF07D1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7" name="TextBox187701601">
            <a:extLst>
              <a:ext uri="{FF2B5EF4-FFF2-40B4-BE49-F238E27FC236}">
                <a16:creationId xmlns:a16="http://schemas.microsoft.com/office/drawing/2014/main" id="{0A9ADD50-FCDF-3ADE-64F1-D5C0FD2B89F3}"/>
              </a:ext>
            </a:extLst>
          </p:cNvPr>
          <p:cNvSpPr txBox="1"/>
          <p:nvPr/>
        </p:nvSpPr>
        <p:spPr>
          <a:xfrm>
            <a:off x="543110" y="2717340"/>
            <a:ext cx="3421771" cy="1717442"/>
          </a:xfrm>
          <a:prstGeom prst="roundRect">
            <a:avLst>
              <a:gd name="adj" fmla="val 1626"/>
            </a:avLst>
          </a:prstGeom>
          <a:solidFill>
            <a:srgbClr val="FFFFFF"/>
          </a:solidFill>
          <a:ln w="317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8" name="TextBox187701601">
            <a:extLst>
              <a:ext uri="{FF2B5EF4-FFF2-40B4-BE49-F238E27FC236}">
                <a16:creationId xmlns:a16="http://schemas.microsoft.com/office/drawing/2014/main" id="{12BF0AC5-C563-ED9C-C37C-1AE1563D6C96}"/>
              </a:ext>
            </a:extLst>
          </p:cNvPr>
          <p:cNvSpPr txBox="1"/>
          <p:nvPr/>
        </p:nvSpPr>
        <p:spPr>
          <a:xfrm>
            <a:off x="4382995" y="2717340"/>
            <a:ext cx="3421771" cy="431732"/>
          </a:xfrm>
          <a:prstGeom prst="roundRect">
            <a:avLst>
              <a:gd name="adj" fmla="val 1626"/>
            </a:avLst>
          </a:prstGeom>
          <a:solidFill>
            <a:srgbClr val="FFFFFF"/>
          </a:solidFill>
          <a:ln w="31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6324D8-90B9-ABDB-69C1-CF0B5A0CD735}"/>
              </a:ext>
            </a:extLst>
          </p:cNvPr>
          <p:cNvSpPr txBox="1"/>
          <p:nvPr/>
        </p:nvSpPr>
        <p:spPr>
          <a:xfrm>
            <a:off x="706507" y="1858617"/>
            <a:ext cx="1649895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4400" b="1">
                <a:solidFill>
                  <a:schemeClr val="bg1"/>
                </a:solidFill>
                <a:latin typeface="+mn-lt"/>
              </a:rPr>
              <a:t>Why</a:t>
            </a:r>
            <a:r>
              <a:rPr lang="en-US" sz="140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4FF3AB-39CD-022A-C9DE-6A70A23BAD93}"/>
              </a:ext>
            </a:extLst>
          </p:cNvPr>
          <p:cNvSpPr txBox="1"/>
          <p:nvPr/>
        </p:nvSpPr>
        <p:spPr>
          <a:xfrm>
            <a:off x="4505259" y="1858617"/>
            <a:ext cx="1649895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4400" b="1">
                <a:solidFill>
                  <a:schemeClr val="bg1"/>
                </a:solidFill>
                <a:latin typeface="+mn-lt"/>
              </a:rPr>
              <a:t>What</a:t>
            </a:r>
            <a:r>
              <a:rPr lang="en-US" sz="140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7C01FC5-2C8E-D5DB-8F08-2A528386B943}"/>
              </a:ext>
            </a:extLst>
          </p:cNvPr>
          <p:cNvSpPr txBox="1"/>
          <p:nvPr/>
        </p:nvSpPr>
        <p:spPr>
          <a:xfrm>
            <a:off x="8414302" y="1858617"/>
            <a:ext cx="1649895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4400" b="1">
                <a:solidFill>
                  <a:schemeClr val="bg1"/>
                </a:solidFill>
                <a:latin typeface="+mn-lt"/>
              </a:rPr>
              <a:t>How</a:t>
            </a:r>
            <a:r>
              <a:rPr lang="en-US" sz="1400">
                <a:latin typeface="+mn-lt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B086673-DE41-46A0-63D9-2B37A066F068}"/>
              </a:ext>
            </a:extLst>
          </p:cNvPr>
          <p:cNvSpPr txBox="1"/>
          <p:nvPr/>
        </p:nvSpPr>
        <p:spPr>
          <a:xfrm>
            <a:off x="2177199" y="1889394"/>
            <a:ext cx="1787681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400">
                <a:solidFill>
                  <a:schemeClr val="bg1"/>
                </a:solidFill>
              </a:rPr>
              <a:t>Are </a:t>
            </a:r>
            <a:r>
              <a:rPr lang="en-US" sz="1400" err="1">
                <a:solidFill>
                  <a:schemeClr val="bg1"/>
                </a:solidFill>
              </a:rPr>
              <a:t>BoP</a:t>
            </a:r>
            <a:r>
              <a:rPr lang="en-US" sz="1400">
                <a:solidFill>
                  <a:schemeClr val="bg1"/>
                </a:solidFill>
              </a:rPr>
              <a:t> components</a:t>
            </a:r>
            <a:br>
              <a:rPr lang="en-US" sz="1400">
                <a:solidFill>
                  <a:schemeClr val="bg1"/>
                </a:solidFill>
              </a:rPr>
            </a:br>
            <a:r>
              <a:rPr lang="en-US" sz="1400" err="1">
                <a:solidFill>
                  <a:schemeClr val="bg1"/>
                </a:solidFill>
              </a:rPr>
              <a:t>integ</a:t>
            </a:r>
            <a:r>
              <a:rPr lang="en-US" sz="1400">
                <a:solidFill>
                  <a:schemeClr val="bg1"/>
                </a:solidFill>
              </a:rPr>
              <a:t>. within TMS ?</a:t>
            </a:r>
            <a:endParaRPr lang="en-US" sz="140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02A0E00-5B75-7B79-25CC-FF8655F97F0A}"/>
              </a:ext>
            </a:extLst>
          </p:cNvPr>
          <p:cNvGrpSpPr/>
          <p:nvPr/>
        </p:nvGrpSpPr>
        <p:grpSpPr>
          <a:xfrm>
            <a:off x="723117" y="3310180"/>
            <a:ext cx="189169" cy="531762"/>
            <a:chOff x="-845343" y="2385669"/>
            <a:chExt cx="342900" cy="963906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53E239B-5006-E0FF-0BE6-17A66CD122A5}"/>
                </a:ext>
              </a:extLst>
            </p:cNvPr>
            <p:cNvSpPr/>
            <p:nvPr/>
          </p:nvSpPr>
          <p:spPr>
            <a:xfrm>
              <a:off x="-830103" y="2803697"/>
              <a:ext cx="304800" cy="531495"/>
            </a:xfrm>
            <a:custGeom>
              <a:avLst/>
              <a:gdLst>
                <a:gd name="connsiteX0" fmla="*/ 244793 w 304800"/>
                <a:gd name="connsiteY0" fmla="*/ 258128 h 531495"/>
                <a:gd name="connsiteX1" fmla="*/ 244793 w 304800"/>
                <a:gd name="connsiteY1" fmla="*/ 0 h 531495"/>
                <a:gd name="connsiteX2" fmla="*/ 69533 w 304800"/>
                <a:gd name="connsiteY2" fmla="*/ 0 h 531495"/>
                <a:gd name="connsiteX3" fmla="*/ 69533 w 304800"/>
                <a:gd name="connsiteY3" fmla="*/ 251270 h 531495"/>
                <a:gd name="connsiteX4" fmla="*/ 0 w 304800"/>
                <a:gd name="connsiteY4" fmla="*/ 379095 h 531495"/>
                <a:gd name="connsiteX5" fmla="*/ 152400 w 304800"/>
                <a:gd name="connsiteY5" fmla="*/ 531495 h 531495"/>
                <a:gd name="connsiteX6" fmla="*/ 304800 w 304800"/>
                <a:gd name="connsiteY6" fmla="*/ 379095 h 531495"/>
                <a:gd name="connsiteX7" fmla="*/ 244793 w 304800"/>
                <a:gd name="connsiteY7" fmla="*/ 258128 h 531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4800" h="531495">
                  <a:moveTo>
                    <a:pt x="244793" y="258128"/>
                  </a:moveTo>
                  <a:lnTo>
                    <a:pt x="244793" y="0"/>
                  </a:lnTo>
                  <a:lnTo>
                    <a:pt x="69533" y="0"/>
                  </a:lnTo>
                  <a:lnTo>
                    <a:pt x="69533" y="251270"/>
                  </a:lnTo>
                  <a:cubicBezTo>
                    <a:pt x="27718" y="278416"/>
                    <a:pt x="0" y="325469"/>
                    <a:pt x="0" y="379095"/>
                  </a:cubicBezTo>
                  <a:cubicBezTo>
                    <a:pt x="0" y="463296"/>
                    <a:pt x="68199" y="531495"/>
                    <a:pt x="152400" y="531495"/>
                  </a:cubicBezTo>
                  <a:cubicBezTo>
                    <a:pt x="236601" y="531495"/>
                    <a:pt x="304800" y="463296"/>
                    <a:pt x="304800" y="379095"/>
                  </a:cubicBezTo>
                  <a:cubicBezTo>
                    <a:pt x="304800" y="329756"/>
                    <a:pt x="281178" y="285941"/>
                    <a:pt x="244793" y="258128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7" name="718 thermometer">
              <a:extLst>
                <a:ext uri="{FF2B5EF4-FFF2-40B4-BE49-F238E27FC236}">
                  <a16:creationId xmlns:a16="http://schemas.microsoft.com/office/drawing/2014/main" id="{C3966AC4-87A5-DF95-C17F-6997C413687D}"/>
                </a:ext>
              </a:extLst>
            </p:cNvPr>
            <p:cNvGrpSpPr/>
            <p:nvPr/>
          </p:nvGrpSpPr>
          <p:grpSpPr>
            <a:xfrm>
              <a:off x="-845343" y="2385669"/>
              <a:ext cx="342900" cy="963906"/>
              <a:chOff x="-845343" y="2385669"/>
              <a:chExt cx="342900" cy="963906"/>
            </a:xfrm>
            <a:solidFill>
              <a:srgbClr val="020202"/>
            </a:solidFill>
          </p:grpSpPr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0E68D3C0-1F00-08E1-3780-147DD5842059}"/>
                  </a:ext>
                </a:extLst>
              </p:cNvPr>
              <p:cNvSpPr/>
              <p:nvPr/>
            </p:nvSpPr>
            <p:spPr>
              <a:xfrm>
                <a:off x="-775811" y="2468417"/>
                <a:ext cx="28575" cy="583882"/>
              </a:xfrm>
              <a:custGeom>
                <a:avLst/>
                <a:gdLst>
                  <a:gd name="connsiteX0" fmla="*/ 14288 w 28575"/>
                  <a:gd name="connsiteY0" fmla="*/ 583883 h 583882"/>
                  <a:gd name="connsiteX1" fmla="*/ 0 w 28575"/>
                  <a:gd name="connsiteY1" fmla="*/ 569595 h 583882"/>
                  <a:gd name="connsiteX2" fmla="*/ 0 w 28575"/>
                  <a:gd name="connsiteY2" fmla="*/ 14288 h 583882"/>
                  <a:gd name="connsiteX3" fmla="*/ 14288 w 28575"/>
                  <a:gd name="connsiteY3" fmla="*/ 0 h 583882"/>
                  <a:gd name="connsiteX4" fmla="*/ 28575 w 28575"/>
                  <a:gd name="connsiteY4" fmla="*/ 14288 h 583882"/>
                  <a:gd name="connsiteX5" fmla="*/ 28575 w 28575"/>
                  <a:gd name="connsiteY5" fmla="*/ 569595 h 583882"/>
                  <a:gd name="connsiteX6" fmla="*/ 14288 w 28575"/>
                  <a:gd name="connsiteY6" fmla="*/ 583883 h 58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583882">
                    <a:moveTo>
                      <a:pt x="14288" y="583883"/>
                    </a:moveTo>
                    <a:cubicBezTo>
                      <a:pt x="6382" y="583883"/>
                      <a:pt x="0" y="577501"/>
                      <a:pt x="0" y="569595"/>
                    </a:cubicBezTo>
                    <a:lnTo>
                      <a:pt x="0" y="14288"/>
                    </a:lnTo>
                    <a:cubicBezTo>
                      <a:pt x="0" y="6382"/>
                      <a:pt x="6382" y="0"/>
                      <a:pt x="14288" y="0"/>
                    </a:cubicBezTo>
                    <a:cubicBezTo>
                      <a:pt x="22193" y="0"/>
                      <a:pt x="28575" y="6382"/>
                      <a:pt x="28575" y="14288"/>
                    </a:cubicBezTo>
                    <a:lnTo>
                      <a:pt x="28575" y="569595"/>
                    </a:lnTo>
                    <a:cubicBezTo>
                      <a:pt x="28575" y="577501"/>
                      <a:pt x="22193" y="583883"/>
                      <a:pt x="14288" y="583883"/>
                    </a:cubicBezTo>
                    <a:close/>
                  </a:path>
                </a:pathLst>
              </a:custGeom>
              <a:solidFill>
                <a:srgbClr val="02020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DA239FE8-FA95-5892-2FCA-208CCD4B0639}"/>
                  </a:ext>
                </a:extLst>
              </p:cNvPr>
              <p:cNvSpPr/>
              <p:nvPr/>
            </p:nvSpPr>
            <p:spPr>
              <a:xfrm>
                <a:off x="-775828" y="2385669"/>
                <a:ext cx="203935" cy="119895"/>
              </a:xfrm>
              <a:custGeom>
                <a:avLst/>
                <a:gdLst>
                  <a:gd name="connsiteX0" fmla="*/ 189564 w 203935"/>
                  <a:gd name="connsiteY0" fmla="*/ 119896 h 119895"/>
                  <a:gd name="connsiteX1" fmla="*/ 188993 w 203935"/>
                  <a:gd name="connsiteY1" fmla="*/ 119896 h 119895"/>
                  <a:gd name="connsiteX2" fmla="*/ 175277 w 203935"/>
                  <a:gd name="connsiteY2" fmla="*/ 105037 h 119895"/>
                  <a:gd name="connsiteX3" fmla="*/ 153750 w 203935"/>
                  <a:gd name="connsiteY3" fmla="*/ 49982 h 119895"/>
                  <a:gd name="connsiteX4" fmla="*/ 50118 w 203935"/>
                  <a:gd name="connsiteY4" fmla="*/ 49982 h 119895"/>
                  <a:gd name="connsiteX5" fmla="*/ 28592 w 203935"/>
                  <a:gd name="connsiteY5" fmla="*/ 97703 h 119895"/>
                  <a:gd name="connsiteX6" fmla="*/ 13638 w 203935"/>
                  <a:gd name="connsiteY6" fmla="*/ 111323 h 119895"/>
                  <a:gd name="connsiteX7" fmla="*/ 17 w 203935"/>
                  <a:gd name="connsiteY7" fmla="*/ 96369 h 119895"/>
                  <a:gd name="connsiteX8" fmla="*/ 29925 w 203935"/>
                  <a:gd name="connsiteY8" fmla="*/ 29789 h 119895"/>
                  <a:gd name="connsiteX9" fmla="*/ 173943 w 203935"/>
                  <a:gd name="connsiteY9" fmla="*/ 29789 h 119895"/>
                  <a:gd name="connsiteX10" fmla="*/ 203852 w 203935"/>
                  <a:gd name="connsiteY10" fmla="*/ 106180 h 119895"/>
                  <a:gd name="connsiteX11" fmla="*/ 189564 w 203935"/>
                  <a:gd name="connsiteY11" fmla="*/ 119896 h 119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3935" h="119895">
                    <a:moveTo>
                      <a:pt x="189564" y="119896"/>
                    </a:moveTo>
                    <a:cubicBezTo>
                      <a:pt x="189564" y="119896"/>
                      <a:pt x="189183" y="119896"/>
                      <a:pt x="188993" y="119896"/>
                    </a:cubicBezTo>
                    <a:cubicBezTo>
                      <a:pt x="181087" y="119610"/>
                      <a:pt x="174991" y="112943"/>
                      <a:pt x="175277" y="105037"/>
                    </a:cubicBezTo>
                    <a:cubicBezTo>
                      <a:pt x="176134" y="84272"/>
                      <a:pt x="168419" y="64746"/>
                      <a:pt x="153750" y="49982"/>
                    </a:cubicBezTo>
                    <a:cubicBezTo>
                      <a:pt x="125175" y="21407"/>
                      <a:pt x="78693" y="21407"/>
                      <a:pt x="50118" y="49982"/>
                    </a:cubicBezTo>
                    <a:cubicBezTo>
                      <a:pt x="36879" y="63317"/>
                      <a:pt x="29354" y="79796"/>
                      <a:pt x="28592" y="97703"/>
                    </a:cubicBezTo>
                    <a:cubicBezTo>
                      <a:pt x="28211" y="105608"/>
                      <a:pt x="21543" y="111800"/>
                      <a:pt x="13638" y="111323"/>
                    </a:cubicBezTo>
                    <a:cubicBezTo>
                      <a:pt x="5732" y="110942"/>
                      <a:pt x="-364" y="104275"/>
                      <a:pt x="17" y="96369"/>
                    </a:cubicBezTo>
                    <a:cubicBezTo>
                      <a:pt x="1160" y="71223"/>
                      <a:pt x="11447" y="48173"/>
                      <a:pt x="29925" y="29789"/>
                    </a:cubicBezTo>
                    <a:cubicBezTo>
                      <a:pt x="69645" y="-9930"/>
                      <a:pt x="134224" y="-9930"/>
                      <a:pt x="173943" y="29789"/>
                    </a:cubicBezTo>
                    <a:cubicBezTo>
                      <a:pt x="194422" y="50268"/>
                      <a:pt x="204995" y="77319"/>
                      <a:pt x="203852" y="106180"/>
                    </a:cubicBezTo>
                    <a:cubicBezTo>
                      <a:pt x="203566" y="113895"/>
                      <a:pt x="197184" y="119896"/>
                      <a:pt x="189564" y="119896"/>
                    </a:cubicBezTo>
                    <a:close/>
                  </a:path>
                </a:pathLst>
              </a:custGeom>
              <a:solidFill>
                <a:srgbClr val="02020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51A45930-5285-B9D0-D3F1-1AD47188EE92}"/>
                  </a:ext>
                </a:extLst>
              </p:cNvPr>
              <p:cNvSpPr/>
              <p:nvPr/>
            </p:nvSpPr>
            <p:spPr>
              <a:xfrm>
                <a:off x="-845343" y="2471275"/>
                <a:ext cx="342900" cy="878300"/>
              </a:xfrm>
              <a:custGeom>
                <a:avLst/>
                <a:gdLst>
                  <a:gd name="connsiteX0" fmla="*/ 273272 w 342900"/>
                  <a:gd name="connsiteY0" fmla="*/ 568928 h 878300"/>
                  <a:gd name="connsiteX1" fmla="*/ 273367 w 342900"/>
                  <a:gd name="connsiteY1" fmla="*/ 567690 h 878300"/>
                  <a:gd name="connsiteX2" fmla="*/ 273367 w 342900"/>
                  <a:gd name="connsiteY2" fmla="*/ 14288 h 878300"/>
                  <a:gd name="connsiteX3" fmla="*/ 259080 w 342900"/>
                  <a:gd name="connsiteY3" fmla="*/ 0 h 878300"/>
                  <a:gd name="connsiteX4" fmla="*/ 244792 w 342900"/>
                  <a:gd name="connsiteY4" fmla="*/ 14288 h 878300"/>
                  <a:gd name="connsiteX5" fmla="*/ 244792 w 342900"/>
                  <a:gd name="connsiteY5" fmla="*/ 567690 h 878300"/>
                  <a:gd name="connsiteX6" fmla="*/ 245554 w 342900"/>
                  <a:gd name="connsiteY6" fmla="*/ 571976 h 878300"/>
                  <a:gd name="connsiteX7" fmla="*/ 251079 w 342900"/>
                  <a:gd name="connsiteY7" fmla="*/ 588074 h 878300"/>
                  <a:gd name="connsiteX8" fmla="*/ 314325 w 342900"/>
                  <a:gd name="connsiteY8" fmla="*/ 706755 h 878300"/>
                  <a:gd name="connsiteX9" fmla="*/ 171450 w 342900"/>
                  <a:gd name="connsiteY9" fmla="*/ 849630 h 878300"/>
                  <a:gd name="connsiteX10" fmla="*/ 28575 w 342900"/>
                  <a:gd name="connsiteY10" fmla="*/ 707041 h 878300"/>
                  <a:gd name="connsiteX11" fmla="*/ 92869 w 342900"/>
                  <a:gd name="connsiteY11" fmla="*/ 588074 h 878300"/>
                  <a:gd name="connsiteX12" fmla="*/ 96583 w 342900"/>
                  <a:gd name="connsiteY12" fmla="*/ 568262 h 878300"/>
                  <a:gd name="connsiteX13" fmla="*/ 76772 w 342900"/>
                  <a:gd name="connsiteY13" fmla="*/ 564547 h 878300"/>
                  <a:gd name="connsiteX14" fmla="*/ 0 w 342900"/>
                  <a:gd name="connsiteY14" fmla="*/ 706850 h 878300"/>
                  <a:gd name="connsiteX15" fmla="*/ 171450 w 342900"/>
                  <a:gd name="connsiteY15" fmla="*/ 878300 h 878300"/>
                  <a:gd name="connsiteX16" fmla="*/ 342900 w 342900"/>
                  <a:gd name="connsiteY16" fmla="*/ 706850 h 878300"/>
                  <a:gd name="connsiteX17" fmla="*/ 273272 w 342900"/>
                  <a:gd name="connsiteY17" fmla="*/ 569024 h 87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42900" h="878300">
                    <a:moveTo>
                      <a:pt x="273272" y="568928"/>
                    </a:moveTo>
                    <a:cubicBezTo>
                      <a:pt x="273272" y="568928"/>
                      <a:pt x="273367" y="568166"/>
                      <a:pt x="273367" y="567690"/>
                    </a:cubicBezTo>
                    <a:lnTo>
                      <a:pt x="273367" y="14288"/>
                    </a:lnTo>
                    <a:cubicBezTo>
                      <a:pt x="273367" y="6382"/>
                      <a:pt x="266986" y="0"/>
                      <a:pt x="259080" y="0"/>
                    </a:cubicBezTo>
                    <a:cubicBezTo>
                      <a:pt x="251174" y="0"/>
                      <a:pt x="244792" y="6382"/>
                      <a:pt x="244792" y="14288"/>
                    </a:cubicBezTo>
                    <a:lnTo>
                      <a:pt x="244792" y="567690"/>
                    </a:lnTo>
                    <a:cubicBezTo>
                      <a:pt x="244792" y="569214"/>
                      <a:pt x="245078" y="570643"/>
                      <a:pt x="245554" y="571976"/>
                    </a:cubicBezTo>
                    <a:cubicBezTo>
                      <a:pt x="243745" y="577787"/>
                      <a:pt x="245745" y="584454"/>
                      <a:pt x="251079" y="588074"/>
                    </a:cubicBezTo>
                    <a:cubicBezTo>
                      <a:pt x="290703" y="615124"/>
                      <a:pt x="314325" y="659511"/>
                      <a:pt x="314325" y="706755"/>
                    </a:cubicBezTo>
                    <a:cubicBezTo>
                      <a:pt x="314325" y="785527"/>
                      <a:pt x="250222" y="849630"/>
                      <a:pt x="171450" y="849630"/>
                    </a:cubicBezTo>
                    <a:cubicBezTo>
                      <a:pt x="92678" y="849630"/>
                      <a:pt x="28575" y="785527"/>
                      <a:pt x="28575" y="707041"/>
                    </a:cubicBezTo>
                    <a:cubicBezTo>
                      <a:pt x="29432" y="659416"/>
                      <a:pt x="53435" y="614934"/>
                      <a:pt x="92869" y="588074"/>
                    </a:cubicBezTo>
                    <a:cubicBezTo>
                      <a:pt x="99346" y="583597"/>
                      <a:pt x="101060" y="574739"/>
                      <a:pt x="96583" y="568262"/>
                    </a:cubicBezTo>
                    <a:cubicBezTo>
                      <a:pt x="92107" y="561785"/>
                      <a:pt x="83249" y="560070"/>
                      <a:pt x="76772" y="564547"/>
                    </a:cubicBezTo>
                    <a:cubicBezTo>
                      <a:pt x="29718" y="596646"/>
                      <a:pt x="1048" y="649700"/>
                      <a:pt x="0" y="706850"/>
                    </a:cubicBezTo>
                    <a:cubicBezTo>
                      <a:pt x="0" y="801338"/>
                      <a:pt x="76962" y="878300"/>
                      <a:pt x="171450" y="878300"/>
                    </a:cubicBezTo>
                    <a:cubicBezTo>
                      <a:pt x="265938" y="878300"/>
                      <a:pt x="342900" y="801338"/>
                      <a:pt x="342900" y="706850"/>
                    </a:cubicBezTo>
                    <a:cubicBezTo>
                      <a:pt x="342900" y="652558"/>
                      <a:pt x="316992" y="601599"/>
                      <a:pt x="273272" y="569024"/>
                    </a:cubicBezTo>
                    <a:close/>
                  </a:path>
                </a:pathLst>
              </a:custGeom>
              <a:solidFill>
                <a:srgbClr val="02020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D681AF1-0906-C488-12D2-BF804E75EB36}"/>
                </a:ext>
              </a:extLst>
            </p:cNvPr>
            <p:cNvSpPr/>
            <p:nvPr/>
          </p:nvSpPr>
          <p:spPr>
            <a:xfrm>
              <a:off x="-667226" y="2518900"/>
              <a:ext cx="58102" cy="28575"/>
            </a:xfrm>
            <a:custGeom>
              <a:avLst/>
              <a:gdLst>
                <a:gd name="connsiteX0" fmla="*/ 43815 w 58102"/>
                <a:gd name="connsiteY0" fmla="*/ 28575 h 28575"/>
                <a:gd name="connsiteX1" fmla="*/ 14288 w 58102"/>
                <a:gd name="connsiteY1" fmla="*/ 28575 h 28575"/>
                <a:gd name="connsiteX2" fmla="*/ 0 w 58102"/>
                <a:gd name="connsiteY2" fmla="*/ 14288 h 28575"/>
                <a:gd name="connsiteX3" fmla="*/ 14288 w 58102"/>
                <a:gd name="connsiteY3" fmla="*/ 0 h 28575"/>
                <a:gd name="connsiteX4" fmla="*/ 43815 w 58102"/>
                <a:gd name="connsiteY4" fmla="*/ 0 h 28575"/>
                <a:gd name="connsiteX5" fmla="*/ 58103 w 58102"/>
                <a:gd name="connsiteY5" fmla="*/ 14288 h 28575"/>
                <a:gd name="connsiteX6" fmla="*/ 43815 w 58102"/>
                <a:gd name="connsiteY6" fmla="*/ 2857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102" h="28575">
                  <a:moveTo>
                    <a:pt x="43815" y="28575"/>
                  </a:moveTo>
                  <a:lnTo>
                    <a:pt x="14288" y="28575"/>
                  </a:lnTo>
                  <a:cubicBezTo>
                    <a:pt x="6382" y="28575"/>
                    <a:pt x="0" y="22193"/>
                    <a:pt x="0" y="14288"/>
                  </a:cubicBezTo>
                  <a:cubicBezTo>
                    <a:pt x="0" y="6382"/>
                    <a:pt x="6382" y="0"/>
                    <a:pt x="14288" y="0"/>
                  </a:cubicBezTo>
                  <a:lnTo>
                    <a:pt x="43815" y="0"/>
                  </a:lnTo>
                  <a:cubicBezTo>
                    <a:pt x="51721" y="0"/>
                    <a:pt x="58103" y="6382"/>
                    <a:pt x="58103" y="14288"/>
                  </a:cubicBezTo>
                  <a:cubicBezTo>
                    <a:pt x="58103" y="22193"/>
                    <a:pt x="51721" y="28575"/>
                    <a:pt x="43815" y="28575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D971019-413B-4BE3-B16D-4D935A435D4D}"/>
                </a:ext>
              </a:extLst>
            </p:cNvPr>
            <p:cNvSpPr/>
            <p:nvPr/>
          </p:nvSpPr>
          <p:spPr>
            <a:xfrm>
              <a:off x="-667226" y="2737022"/>
              <a:ext cx="54578" cy="28575"/>
            </a:xfrm>
            <a:custGeom>
              <a:avLst/>
              <a:gdLst>
                <a:gd name="connsiteX0" fmla="*/ 40291 w 54578"/>
                <a:gd name="connsiteY0" fmla="*/ 28575 h 28575"/>
                <a:gd name="connsiteX1" fmla="*/ 14288 w 54578"/>
                <a:gd name="connsiteY1" fmla="*/ 28575 h 28575"/>
                <a:gd name="connsiteX2" fmla="*/ 0 w 54578"/>
                <a:gd name="connsiteY2" fmla="*/ 14288 h 28575"/>
                <a:gd name="connsiteX3" fmla="*/ 14288 w 54578"/>
                <a:gd name="connsiteY3" fmla="*/ 0 h 28575"/>
                <a:gd name="connsiteX4" fmla="*/ 40291 w 54578"/>
                <a:gd name="connsiteY4" fmla="*/ 0 h 28575"/>
                <a:gd name="connsiteX5" fmla="*/ 54578 w 54578"/>
                <a:gd name="connsiteY5" fmla="*/ 14288 h 28575"/>
                <a:gd name="connsiteX6" fmla="*/ 40291 w 54578"/>
                <a:gd name="connsiteY6" fmla="*/ 2857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578" h="28575">
                  <a:moveTo>
                    <a:pt x="40291" y="28575"/>
                  </a:moveTo>
                  <a:lnTo>
                    <a:pt x="14288" y="28575"/>
                  </a:lnTo>
                  <a:cubicBezTo>
                    <a:pt x="6382" y="28575"/>
                    <a:pt x="0" y="22193"/>
                    <a:pt x="0" y="14288"/>
                  </a:cubicBezTo>
                  <a:cubicBezTo>
                    <a:pt x="0" y="6382"/>
                    <a:pt x="6382" y="0"/>
                    <a:pt x="14288" y="0"/>
                  </a:cubicBezTo>
                  <a:lnTo>
                    <a:pt x="40291" y="0"/>
                  </a:lnTo>
                  <a:cubicBezTo>
                    <a:pt x="48197" y="0"/>
                    <a:pt x="54578" y="6382"/>
                    <a:pt x="54578" y="14288"/>
                  </a:cubicBezTo>
                  <a:cubicBezTo>
                    <a:pt x="54578" y="22193"/>
                    <a:pt x="48197" y="28575"/>
                    <a:pt x="40291" y="28575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CBC1628-FD69-855E-2DEB-38CC3A981A0D}"/>
                </a:ext>
              </a:extLst>
            </p:cNvPr>
            <p:cNvSpPr/>
            <p:nvPr/>
          </p:nvSpPr>
          <p:spPr>
            <a:xfrm>
              <a:off x="-667226" y="2627485"/>
              <a:ext cx="58102" cy="28575"/>
            </a:xfrm>
            <a:custGeom>
              <a:avLst/>
              <a:gdLst>
                <a:gd name="connsiteX0" fmla="*/ 43815 w 58102"/>
                <a:gd name="connsiteY0" fmla="*/ 28575 h 28575"/>
                <a:gd name="connsiteX1" fmla="*/ 14288 w 58102"/>
                <a:gd name="connsiteY1" fmla="*/ 28575 h 28575"/>
                <a:gd name="connsiteX2" fmla="*/ 0 w 58102"/>
                <a:gd name="connsiteY2" fmla="*/ 14288 h 28575"/>
                <a:gd name="connsiteX3" fmla="*/ 14288 w 58102"/>
                <a:gd name="connsiteY3" fmla="*/ 0 h 28575"/>
                <a:gd name="connsiteX4" fmla="*/ 43815 w 58102"/>
                <a:gd name="connsiteY4" fmla="*/ 0 h 28575"/>
                <a:gd name="connsiteX5" fmla="*/ 58103 w 58102"/>
                <a:gd name="connsiteY5" fmla="*/ 14288 h 28575"/>
                <a:gd name="connsiteX6" fmla="*/ 43815 w 58102"/>
                <a:gd name="connsiteY6" fmla="*/ 2857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102" h="28575">
                  <a:moveTo>
                    <a:pt x="43815" y="28575"/>
                  </a:moveTo>
                  <a:lnTo>
                    <a:pt x="14288" y="28575"/>
                  </a:lnTo>
                  <a:cubicBezTo>
                    <a:pt x="6382" y="28575"/>
                    <a:pt x="0" y="22193"/>
                    <a:pt x="0" y="14288"/>
                  </a:cubicBezTo>
                  <a:cubicBezTo>
                    <a:pt x="0" y="6382"/>
                    <a:pt x="6382" y="0"/>
                    <a:pt x="14288" y="0"/>
                  </a:cubicBezTo>
                  <a:lnTo>
                    <a:pt x="43815" y="0"/>
                  </a:lnTo>
                  <a:cubicBezTo>
                    <a:pt x="51721" y="0"/>
                    <a:pt x="58103" y="6382"/>
                    <a:pt x="58103" y="14288"/>
                  </a:cubicBezTo>
                  <a:cubicBezTo>
                    <a:pt x="58103" y="22193"/>
                    <a:pt x="51721" y="28575"/>
                    <a:pt x="43815" y="28575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7" name="TextBox1487502734">
            <a:extLst>
              <a:ext uri="{FF2B5EF4-FFF2-40B4-BE49-F238E27FC236}">
                <a16:creationId xmlns:a16="http://schemas.microsoft.com/office/drawing/2014/main" id="{5615AF96-73B2-E0BD-1C45-791230B5BD2E}"/>
              </a:ext>
            </a:extLst>
          </p:cNvPr>
          <p:cNvSpPr txBox="1"/>
          <p:nvPr/>
        </p:nvSpPr>
        <p:spPr>
          <a:xfrm>
            <a:off x="1092292" y="3468339"/>
            <a:ext cx="274152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r>
              <a:rPr lang="en-US" b="1" dirty="0"/>
              <a:t>Temperature management</a:t>
            </a:r>
          </a:p>
        </p:txBody>
      </p:sp>
      <p:sp>
        <p:nvSpPr>
          <p:cNvPr id="37" name="TextBox1487502734">
            <a:extLst>
              <a:ext uri="{FF2B5EF4-FFF2-40B4-BE49-F238E27FC236}">
                <a16:creationId xmlns:a16="http://schemas.microsoft.com/office/drawing/2014/main" id="{6AFFA6E0-1ACB-8155-DA83-D0ECDDCEC828}"/>
              </a:ext>
            </a:extLst>
          </p:cNvPr>
          <p:cNvSpPr txBox="1"/>
          <p:nvPr/>
        </p:nvSpPr>
        <p:spPr>
          <a:xfrm>
            <a:off x="1092292" y="5340757"/>
            <a:ext cx="2809658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r>
              <a:rPr lang="en-US" b="1" dirty="0"/>
              <a:t>Water management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1EA7646-8F10-58B0-6946-DF4C56E045C9}"/>
              </a:ext>
            </a:extLst>
          </p:cNvPr>
          <p:cNvGrpSpPr/>
          <p:nvPr/>
        </p:nvGrpSpPr>
        <p:grpSpPr>
          <a:xfrm>
            <a:off x="662412" y="5208449"/>
            <a:ext cx="310579" cy="480060"/>
            <a:chOff x="-682614" y="3040150"/>
            <a:chExt cx="625015" cy="976027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B317D001-9FE5-CD13-5303-0BCB0A73275F}"/>
                </a:ext>
              </a:extLst>
            </p:cNvPr>
            <p:cNvSpPr/>
            <p:nvPr/>
          </p:nvSpPr>
          <p:spPr>
            <a:xfrm>
              <a:off x="-534974" y="3040150"/>
              <a:ext cx="255174" cy="303847"/>
            </a:xfrm>
            <a:custGeom>
              <a:avLst/>
              <a:gdLst>
                <a:gd name="connsiteX0" fmla="*/ 21241 w 255174"/>
                <a:gd name="connsiteY0" fmla="*/ 303848 h 303847"/>
                <a:gd name="connsiteX1" fmla="*/ 160401 w 255174"/>
                <a:gd name="connsiteY1" fmla="*/ 30575 h 303847"/>
                <a:gd name="connsiteX2" fmla="*/ 233743 w 255174"/>
                <a:gd name="connsiteY2" fmla="*/ 169640 h 303847"/>
                <a:gd name="connsiteX3" fmla="*/ 255175 w 255174"/>
                <a:gd name="connsiteY3" fmla="*/ 159163 h 303847"/>
                <a:gd name="connsiteX4" fmla="*/ 174593 w 255174"/>
                <a:gd name="connsiteY4" fmla="*/ 6382 h 303847"/>
                <a:gd name="connsiteX5" fmla="*/ 164020 w 255174"/>
                <a:gd name="connsiteY5" fmla="*/ 0 h 303847"/>
                <a:gd name="connsiteX6" fmla="*/ 156496 w 255174"/>
                <a:gd name="connsiteY6" fmla="*/ 0 h 303847"/>
                <a:gd name="connsiteX7" fmla="*/ 145923 w 255174"/>
                <a:gd name="connsiteY7" fmla="*/ 6477 h 303847"/>
                <a:gd name="connsiteX8" fmla="*/ 0 w 255174"/>
                <a:gd name="connsiteY8" fmla="*/ 293180 h 303847"/>
                <a:gd name="connsiteX9" fmla="*/ 21336 w 255174"/>
                <a:gd name="connsiteY9" fmla="*/ 303752 h 303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5174" h="303847">
                  <a:moveTo>
                    <a:pt x="21241" y="303848"/>
                  </a:moveTo>
                  <a:lnTo>
                    <a:pt x="160401" y="30575"/>
                  </a:lnTo>
                  <a:lnTo>
                    <a:pt x="233743" y="169640"/>
                  </a:lnTo>
                  <a:lnTo>
                    <a:pt x="255175" y="159163"/>
                  </a:lnTo>
                  <a:lnTo>
                    <a:pt x="174593" y="6382"/>
                  </a:lnTo>
                  <a:cubicBezTo>
                    <a:pt x="172498" y="2477"/>
                    <a:pt x="168497" y="0"/>
                    <a:pt x="164020" y="0"/>
                  </a:cubicBezTo>
                  <a:lnTo>
                    <a:pt x="156496" y="0"/>
                  </a:lnTo>
                  <a:cubicBezTo>
                    <a:pt x="152019" y="0"/>
                    <a:pt x="147923" y="2477"/>
                    <a:pt x="145923" y="6477"/>
                  </a:cubicBezTo>
                  <a:lnTo>
                    <a:pt x="0" y="293180"/>
                  </a:lnTo>
                  <a:lnTo>
                    <a:pt x="21336" y="303752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6FB727EA-F7AD-038E-DE79-CFCE41D382D3}"/>
                </a:ext>
              </a:extLst>
            </p:cNvPr>
            <p:cNvSpPr/>
            <p:nvPr/>
          </p:nvSpPr>
          <p:spPr>
            <a:xfrm>
              <a:off x="-682614" y="3218268"/>
              <a:ext cx="625015" cy="797909"/>
            </a:xfrm>
            <a:custGeom>
              <a:avLst/>
              <a:gdLst>
                <a:gd name="connsiteX0" fmla="*/ 596172 w 625015"/>
                <a:gd name="connsiteY0" fmla="*/ 347758 h 797909"/>
                <a:gd name="connsiteX1" fmla="*/ 412721 w 625015"/>
                <a:gd name="connsiteY1" fmla="*/ 0 h 797909"/>
                <a:gd name="connsiteX2" fmla="*/ 391290 w 625015"/>
                <a:gd name="connsiteY2" fmla="*/ 10478 h 797909"/>
                <a:gd name="connsiteX3" fmla="*/ 574741 w 625015"/>
                <a:gd name="connsiteY3" fmla="*/ 358235 h 797909"/>
                <a:gd name="connsiteX4" fmla="*/ 557215 w 625015"/>
                <a:gd name="connsiteY4" fmla="*/ 636556 h 797909"/>
                <a:gd name="connsiteX5" fmla="*/ 326805 w 625015"/>
                <a:gd name="connsiteY5" fmla="*/ 773621 h 797909"/>
                <a:gd name="connsiteX6" fmla="*/ 298326 w 625015"/>
                <a:gd name="connsiteY6" fmla="*/ 773621 h 797909"/>
                <a:gd name="connsiteX7" fmla="*/ 67916 w 625015"/>
                <a:gd name="connsiteY7" fmla="*/ 636556 h 797909"/>
                <a:gd name="connsiteX8" fmla="*/ 50199 w 625015"/>
                <a:gd name="connsiteY8" fmla="*/ 358712 h 797909"/>
                <a:gd name="connsiteX9" fmla="*/ 159070 w 625015"/>
                <a:gd name="connsiteY9" fmla="*/ 144780 h 797909"/>
                <a:gd name="connsiteX10" fmla="*/ 137734 w 625015"/>
                <a:gd name="connsiteY10" fmla="*/ 134207 h 797909"/>
                <a:gd name="connsiteX11" fmla="*/ 28673 w 625015"/>
                <a:gd name="connsiteY11" fmla="*/ 348425 h 797909"/>
                <a:gd name="connsiteX12" fmla="*/ 47532 w 625015"/>
                <a:gd name="connsiteY12" fmla="*/ 649034 h 797909"/>
                <a:gd name="connsiteX13" fmla="*/ 297183 w 625015"/>
                <a:gd name="connsiteY13" fmla="*/ 797528 h 797909"/>
                <a:gd name="connsiteX14" fmla="*/ 312518 w 625015"/>
                <a:gd name="connsiteY14" fmla="*/ 797909 h 797909"/>
                <a:gd name="connsiteX15" fmla="*/ 327853 w 625015"/>
                <a:gd name="connsiteY15" fmla="*/ 797528 h 797909"/>
                <a:gd name="connsiteX16" fmla="*/ 577503 w 625015"/>
                <a:gd name="connsiteY16" fmla="*/ 649034 h 797909"/>
                <a:gd name="connsiteX17" fmla="*/ 596077 w 625015"/>
                <a:gd name="connsiteY17" fmla="*/ 347853 h 797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25015" h="797909">
                  <a:moveTo>
                    <a:pt x="596172" y="347758"/>
                  </a:moveTo>
                  <a:lnTo>
                    <a:pt x="412721" y="0"/>
                  </a:lnTo>
                  <a:lnTo>
                    <a:pt x="391290" y="10478"/>
                  </a:lnTo>
                  <a:lnTo>
                    <a:pt x="574741" y="358235"/>
                  </a:lnTo>
                  <a:cubicBezTo>
                    <a:pt x="615508" y="448056"/>
                    <a:pt x="608936" y="552069"/>
                    <a:pt x="557215" y="636556"/>
                  </a:cubicBezTo>
                  <a:cubicBezTo>
                    <a:pt x="506447" y="719423"/>
                    <a:pt x="422532" y="769334"/>
                    <a:pt x="326805" y="773621"/>
                  </a:cubicBezTo>
                  <a:cubicBezTo>
                    <a:pt x="317376" y="774002"/>
                    <a:pt x="307755" y="774002"/>
                    <a:pt x="298326" y="773621"/>
                  </a:cubicBezTo>
                  <a:cubicBezTo>
                    <a:pt x="202695" y="769334"/>
                    <a:pt x="118684" y="719328"/>
                    <a:pt x="67916" y="636556"/>
                  </a:cubicBezTo>
                  <a:cubicBezTo>
                    <a:pt x="16195" y="552069"/>
                    <a:pt x="9623" y="448056"/>
                    <a:pt x="50199" y="358712"/>
                  </a:cubicBezTo>
                  <a:lnTo>
                    <a:pt x="159070" y="144780"/>
                  </a:lnTo>
                  <a:lnTo>
                    <a:pt x="137734" y="134207"/>
                  </a:lnTo>
                  <a:lnTo>
                    <a:pt x="28673" y="348425"/>
                  </a:lnTo>
                  <a:cubicBezTo>
                    <a:pt x="-15428" y="445389"/>
                    <a:pt x="-8284" y="557784"/>
                    <a:pt x="47532" y="649034"/>
                  </a:cubicBezTo>
                  <a:cubicBezTo>
                    <a:pt x="102492" y="738664"/>
                    <a:pt x="193455" y="792766"/>
                    <a:pt x="297183" y="797528"/>
                  </a:cubicBezTo>
                  <a:cubicBezTo>
                    <a:pt x="302231" y="797719"/>
                    <a:pt x="307374" y="797909"/>
                    <a:pt x="312518" y="797909"/>
                  </a:cubicBezTo>
                  <a:cubicBezTo>
                    <a:pt x="317661" y="797909"/>
                    <a:pt x="322710" y="797814"/>
                    <a:pt x="327853" y="797528"/>
                  </a:cubicBezTo>
                  <a:cubicBezTo>
                    <a:pt x="431580" y="792861"/>
                    <a:pt x="522544" y="738759"/>
                    <a:pt x="577503" y="649034"/>
                  </a:cubicBezTo>
                  <a:cubicBezTo>
                    <a:pt x="633415" y="557784"/>
                    <a:pt x="640464" y="445484"/>
                    <a:pt x="596077" y="34785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46" name="Grafik 4" descr="Ein Bild, das Maschine, Zahnrad enthält.&#10;&#10;Automatisch generierte Beschreibung">
            <a:extLst>
              <a:ext uri="{FF2B5EF4-FFF2-40B4-BE49-F238E27FC236}">
                <a16:creationId xmlns:a16="http://schemas.microsoft.com/office/drawing/2014/main" id="{80038FF2-C839-6A4A-9AA4-3B469DAA4AB8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1688" y="2742918"/>
            <a:ext cx="364501" cy="387296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7A844A37-254B-3189-7324-F4AF976E164B}"/>
              </a:ext>
            </a:extLst>
          </p:cNvPr>
          <p:cNvSpPr txBox="1"/>
          <p:nvPr/>
        </p:nvSpPr>
        <p:spPr>
          <a:xfrm>
            <a:off x="5168120" y="2839926"/>
            <a:ext cx="164989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200">
                <a:latin typeface="+mn-lt"/>
              </a:rPr>
              <a:t>FC air compressor</a:t>
            </a:r>
          </a:p>
        </p:txBody>
      </p:sp>
      <p:sp>
        <p:nvSpPr>
          <p:cNvPr id="32" name="TextBox187701601">
            <a:extLst>
              <a:ext uri="{FF2B5EF4-FFF2-40B4-BE49-F238E27FC236}">
                <a16:creationId xmlns:a16="http://schemas.microsoft.com/office/drawing/2014/main" id="{E36E9F4C-7522-5860-DC91-F242E9C2630B}"/>
              </a:ext>
            </a:extLst>
          </p:cNvPr>
          <p:cNvSpPr txBox="1"/>
          <p:nvPr/>
        </p:nvSpPr>
        <p:spPr>
          <a:xfrm>
            <a:off x="8222880" y="2717340"/>
            <a:ext cx="3416525" cy="1717442"/>
          </a:xfrm>
          <a:prstGeom prst="roundRect">
            <a:avLst>
              <a:gd name="adj" fmla="val 1626"/>
            </a:avLst>
          </a:prstGeom>
          <a:solidFill>
            <a:srgbClr val="FFFFFF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33" name="TextBox187701601">
            <a:extLst>
              <a:ext uri="{FF2B5EF4-FFF2-40B4-BE49-F238E27FC236}">
                <a16:creationId xmlns:a16="http://schemas.microsoft.com/office/drawing/2014/main" id="{8125E4EF-3C85-ADFE-9C63-5F174EDBD795}"/>
              </a:ext>
            </a:extLst>
          </p:cNvPr>
          <p:cNvSpPr txBox="1"/>
          <p:nvPr/>
        </p:nvSpPr>
        <p:spPr>
          <a:xfrm>
            <a:off x="4382995" y="3347555"/>
            <a:ext cx="3421771" cy="431732"/>
          </a:xfrm>
          <a:prstGeom prst="roundRect">
            <a:avLst>
              <a:gd name="adj" fmla="val 1626"/>
            </a:avLst>
          </a:prstGeom>
          <a:solidFill>
            <a:srgbClr val="FFFFFF"/>
          </a:solidFill>
          <a:ln w="31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F6FA4E0-BF8F-65AF-3EE4-BBE8F77B4CA7}"/>
              </a:ext>
            </a:extLst>
          </p:cNvPr>
          <p:cNvSpPr txBox="1"/>
          <p:nvPr/>
        </p:nvSpPr>
        <p:spPr>
          <a:xfrm>
            <a:off x="5168120" y="3378755"/>
            <a:ext cx="164989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200">
                <a:latin typeface="+mn-lt"/>
              </a:rPr>
              <a:t>H</a:t>
            </a:r>
            <a:r>
              <a:rPr lang="en-US" sz="1200" baseline="-25000">
                <a:latin typeface="+mn-lt"/>
              </a:rPr>
              <a:t>2</a:t>
            </a:r>
            <a:r>
              <a:rPr lang="en-US" sz="1200">
                <a:latin typeface="+mn-lt"/>
              </a:rPr>
              <a:t> recirculation blower / pump</a:t>
            </a:r>
            <a:endParaRPr lang="en-US" sz="1200" baseline="-25000">
              <a:latin typeface="+mn-lt"/>
            </a:endParaRPr>
          </a:p>
        </p:txBody>
      </p:sp>
      <p:sp>
        <p:nvSpPr>
          <p:cNvPr id="35" name="TextBox187701601">
            <a:extLst>
              <a:ext uri="{FF2B5EF4-FFF2-40B4-BE49-F238E27FC236}">
                <a16:creationId xmlns:a16="http://schemas.microsoft.com/office/drawing/2014/main" id="{0CC71722-F990-EF81-698E-7CB01B1B5962}"/>
              </a:ext>
            </a:extLst>
          </p:cNvPr>
          <p:cNvSpPr txBox="1"/>
          <p:nvPr/>
        </p:nvSpPr>
        <p:spPr>
          <a:xfrm>
            <a:off x="4382995" y="3977770"/>
            <a:ext cx="3421771" cy="431732"/>
          </a:xfrm>
          <a:prstGeom prst="roundRect">
            <a:avLst>
              <a:gd name="adj" fmla="val 1626"/>
            </a:avLst>
          </a:prstGeom>
          <a:solidFill>
            <a:srgbClr val="FFFFFF"/>
          </a:solidFill>
          <a:ln w="31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59C7E9D-9E73-2AFE-E472-F273081C3D79}"/>
              </a:ext>
            </a:extLst>
          </p:cNvPr>
          <p:cNvSpPr txBox="1"/>
          <p:nvPr/>
        </p:nvSpPr>
        <p:spPr>
          <a:xfrm>
            <a:off x="5168120" y="4101303"/>
            <a:ext cx="164989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200"/>
              <a:t>H</a:t>
            </a:r>
            <a:r>
              <a:rPr lang="en-US" sz="1200" baseline="-25000"/>
              <a:t>2</a:t>
            </a:r>
            <a:r>
              <a:rPr lang="en-US" sz="1200"/>
              <a:t> heater</a:t>
            </a:r>
            <a:endParaRPr lang="en-US" sz="1200" baseline="-25000">
              <a:latin typeface="+mn-lt"/>
            </a:endParaRPr>
          </a:p>
        </p:txBody>
      </p:sp>
      <p:sp>
        <p:nvSpPr>
          <p:cNvPr id="38" name="TextBox187701601">
            <a:extLst>
              <a:ext uri="{FF2B5EF4-FFF2-40B4-BE49-F238E27FC236}">
                <a16:creationId xmlns:a16="http://schemas.microsoft.com/office/drawing/2014/main" id="{969DFA39-6150-09D4-5E4C-0A6A13D67594}"/>
              </a:ext>
            </a:extLst>
          </p:cNvPr>
          <p:cNvSpPr txBox="1"/>
          <p:nvPr/>
        </p:nvSpPr>
        <p:spPr>
          <a:xfrm>
            <a:off x="4382995" y="4607985"/>
            <a:ext cx="3421771" cy="431732"/>
          </a:xfrm>
          <a:prstGeom prst="roundRect">
            <a:avLst>
              <a:gd name="adj" fmla="val 1626"/>
            </a:avLst>
          </a:prstGeom>
          <a:solidFill>
            <a:srgbClr val="FFFFFF"/>
          </a:solidFill>
          <a:ln w="31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9B0563B-AAEF-DE9F-7D52-145043FAA569}"/>
              </a:ext>
            </a:extLst>
          </p:cNvPr>
          <p:cNvSpPr txBox="1"/>
          <p:nvPr/>
        </p:nvSpPr>
        <p:spPr>
          <a:xfrm>
            <a:off x="5168120" y="4731518"/>
            <a:ext cx="164989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200"/>
              <a:t>Intercooler</a:t>
            </a:r>
            <a:endParaRPr lang="en-US" sz="1200" baseline="-25000">
              <a:latin typeface="+mn-lt"/>
            </a:endParaRPr>
          </a:p>
        </p:txBody>
      </p:sp>
      <p:sp>
        <p:nvSpPr>
          <p:cNvPr id="49" name="TextBox187701601">
            <a:extLst>
              <a:ext uri="{FF2B5EF4-FFF2-40B4-BE49-F238E27FC236}">
                <a16:creationId xmlns:a16="http://schemas.microsoft.com/office/drawing/2014/main" id="{0FF451DC-4E33-E88D-BF2F-68088933FA1B}"/>
              </a:ext>
            </a:extLst>
          </p:cNvPr>
          <p:cNvSpPr txBox="1"/>
          <p:nvPr/>
        </p:nvSpPr>
        <p:spPr>
          <a:xfrm>
            <a:off x="4382995" y="5238200"/>
            <a:ext cx="3421771" cy="431732"/>
          </a:xfrm>
          <a:prstGeom prst="roundRect">
            <a:avLst>
              <a:gd name="adj" fmla="val 1626"/>
            </a:avLst>
          </a:prstGeom>
          <a:solidFill>
            <a:srgbClr val="FFFFFF"/>
          </a:solidFill>
          <a:ln w="31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FA2DCBD-91C2-8652-A1AD-F9ADE0C5DC7D}"/>
              </a:ext>
            </a:extLst>
          </p:cNvPr>
          <p:cNvSpPr txBox="1"/>
          <p:nvPr/>
        </p:nvSpPr>
        <p:spPr>
          <a:xfrm>
            <a:off x="5168120" y="5269400"/>
            <a:ext cx="164989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200"/>
              <a:t>Anode water separator</a:t>
            </a:r>
            <a:endParaRPr lang="en-US" sz="1200" baseline="-25000">
              <a:latin typeface="+mn-lt"/>
            </a:endParaRPr>
          </a:p>
        </p:txBody>
      </p:sp>
      <p:sp>
        <p:nvSpPr>
          <p:cNvPr id="56" name="TextBox187701601">
            <a:extLst>
              <a:ext uri="{FF2B5EF4-FFF2-40B4-BE49-F238E27FC236}">
                <a16:creationId xmlns:a16="http://schemas.microsoft.com/office/drawing/2014/main" id="{FAEEFD48-8406-BD1B-EB1A-1FCF75353AFB}"/>
              </a:ext>
            </a:extLst>
          </p:cNvPr>
          <p:cNvSpPr txBox="1"/>
          <p:nvPr/>
        </p:nvSpPr>
        <p:spPr>
          <a:xfrm>
            <a:off x="4382995" y="5868413"/>
            <a:ext cx="3421771" cy="431732"/>
          </a:xfrm>
          <a:prstGeom prst="roundRect">
            <a:avLst>
              <a:gd name="adj" fmla="val 1626"/>
            </a:avLst>
          </a:prstGeom>
          <a:solidFill>
            <a:srgbClr val="FFFFFF"/>
          </a:solidFill>
          <a:ln w="31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586D809-8A17-2999-063A-3FA482B147CB}"/>
              </a:ext>
            </a:extLst>
          </p:cNvPr>
          <p:cNvSpPr txBox="1"/>
          <p:nvPr/>
        </p:nvSpPr>
        <p:spPr>
          <a:xfrm>
            <a:off x="5168120" y="5894405"/>
            <a:ext cx="164989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200"/>
              <a:t>FC related PE (e.g., DC/DC boost,)</a:t>
            </a:r>
            <a:endParaRPr lang="en-US" sz="1200" baseline="-25000">
              <a:latin typeface="+mn-lt"/>
            </a:endParaRPr>
          </a:p>
        </p:txBody>
      </p:sp>
      <p:pic>
        <p:nvPicPr>
          <p:cNvPr id="43" name="Grafik 332">
            <a:extLst>
              <a:ext uri="{FF2B5EF4-FFF2-40B4-BE49-F238E27FC236}">
                <a16:creationId xmlns:a16="http://schemas.microsoft.com/office/drawing/2014/main" id="{8D6950F9-DEFB-871C-689B-E3A6690D33EC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363829">
            <a:off x="4576009" y="5288761"/>
            <a:ext cx="378115" cy="349329"/>
          </a:xfrm>
          <a:prstGeom prst="rect">
            <a:avLst/>
          </a:prstGeom>
        </p:spPr>
      </p:pic>
      <p:pic>
        <p:nvPicPr>
          <p:cNvPr id="44" name="Grafik 220" descr="Ein Bild, das Metallwaren, Maschine, Zahnrad enthält.&#10;&#10;Automatisch generierte Beschreibung">
            <a:extLst>
              <a:ext uri="{FF2B5EF4-FFF2-40B4-BE49-F238E27FC236}">
                <a16:creationId xmlns:a16="http://schemas.microsoft.com/office/drawing/2014/main" id="{ACE95107-F0CD-CC1C-EBAA-DB4C91043EB0}"/>
              </a:ext>
            </a:extLst>
          </p:cNvPr>
          <p:cNvPicPr>
            <a:picLocks noChangeAspect="1"/>
          </p:cNvPicPr>
          <p:nvPr/>
        </p:nvPicPr>
        <p:blipFill rotWithShape="1"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80674">
            <a:off x="4518219" y="3412123"/>
            <a:ext cx="427609" cy="335284"/>
          </a:xfrm>
          <a:prstGeom prst="rect">
            <a:avLst/>
          </a:prstGeom>
        </p:spPr>
      </p:pic>
      <p:pic>
        <p:nvPicPr>
          <p:cNvPr id="52" name="Grafik 69" descr="Ein Bild, das LEGO, Spielzeug enthält.&#10;&#10;Automatisch generierte Beschreibung">
            <a:extLst>
              <a:ext uri="{FF2B5EF4-FFF2-40B4-BE49-F238E27FC236}">
                <a16:creationId xmlns:a16="http://schemas.microsoft.com/office/drawing/2014/main" id="{C76C4527-B771-3B94-7B06-68B53ECDC14C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365311">
            <a:off x="4562852" y="4647198"/>
            <a:ext cx="420963" cy="341713"/>
          </a:xfrm>
          <a:prstGeom prst="rect">
            <a:avLst/>
          </a:prstGeom>
        </p:spPr>
      </p:pic>
      <p:pic>
        <p:nvPicPr>
          <p:cNvPr id="45" name="Grafik 7" descr="Ein Bild, das Maschine enthält.&#10;&#10;Automatisch generierte Beschreibung">
            <a:extLst>
              <a:ext uri="{FF2B5EF4-FFF2-40B4-BE49-F238E27FC236}">
                <a16:creationId xmlns:a16="http://schemas.microsoft.com/office/drawing/2014/main" id="{DD4DDA15-D908-7791-DB6E-39A51358C6BF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29375" y="5912099"/>
            <a:ext cx="512731" cy="372522"/>
          </a:xfrm>
          <a:prstGeom prst="rect">
            <a:avLst/>
          </a:prstGeom>
        </p:spPr>
      </p:pic>
      <p:cxnSp>
        <p:nvCxnSpPr>
          <p:cNvPr id="59" name="Connector: Curved 58">
            <a:extLst>
              <a:ext uri="{FF2B5EF4-FFF2-40B4-BE49-F238E27FC236}">
                <a16:creationId xmlns:a16="http://schemas.microsoft.com/office/drawing/2014/main" id="{F5854628-6D78-E933-BBCE-2FD41AF2D24F}"/>
              </a:ext>
            </a:extLst>
          </p:cNvPr>
          <p:cNvCxnSpPr>
            <a:stCxn id="7" idx="3"/>
            <a:endCxn id="8" idx="1"/>
          </p:cNvCxnSpPr>
          <p:nvPr/>
        </p:nvCxnSpPr>
        <p:spPr>
          <a:xfrm flipV="1">
            <a:off x="3964881" y="2933206"/>
            <a:ext cx="418114" cy="642855"/>
          </a:xfrm>
          <a:prstGeom prst="curvedConnector3">
            <a:avLst/>
          </a:prstGeom>
          <a:ln w="12700">
            <a:solidFill>
              <a:schemeClr val="accent4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Curved 59">
            <a:extLst>
              <a:ext uri="{FF2B5EF4-FFF2-40B4-BE49-F238E27FC236}">
                <a16:creationId xmlns:a16="http://schemas.microsoft.com/office/drawing/2014/main" id="{48D3F040-3DA6-9E87-2CE2-74F8803CCF66}"/>
              </a:ext>
            </a:extLst>
          </p:cNvPr>
          <p:cNvCxnSpPr>
            <a:cxnSpLocks/>
            <a:stCxn id="7" idx="3"/>
            <a:endCxn id="33" idx="1"/>
          </p:cNvCxnSpPr>
          <p:nvPr/>
        </p:nvCxnSpPr>
        <p:spPr>
          <a:xfrm flipV="1">
            <a:off x="3964881" y="3563421"/>
            <a:ext cx="418114" cy="12640"/>
          </a:xfrm>
          <a:prstGeom prst="curvedConnector3">
            <a:avLst/>
          </a:prstGeom>
          <a:ln w="12700">
            <a:solidFill>
              <a:schemeClr val="accent4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Curved 62">
            <a:extLst>
              <a:ext uri="{FF2B5EF4-FFF2-40B4-BE49-F238E27FC236}">
                <a16:creationId xmlns:a16="http://schemas.microsoft.com/office/drawing/2014/main" id="{F69FDBB1-7E84-8FD5-A46E-04FB0437FA40}"/>
              </a:ext>
            </a:extLst>
          </p:cNvPr>
          <p:cNvCxnSpPr>
            <a:cxnSpLocks/>
            <a:stCxn id="7" idx="3"/>
            <a:endCxn id="35" idx="1"/>
          </p:cNvCxnSpPr>
          <p:nvPr/>
        </p:nvCxnSpPr>
        <p:spPr>
          <a:xfrm>
            <a:off x="3964881" y="3576061"/>
            <a:ext cx="418114" cy="617575"/>
          </a:xfrm>
          <a:prstGeom prst="curvedConnector3">
            <a:avLst/>
          </a:prstGeom>
          <a:ln w="12700">
            <a:solidFill>
              <a:schemeClr val="accent4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Curved 65">
            <a:extLst>
              <a:ext uri="{FF2B5EF4-FFF2-40B4-BE49-F238E27FC236}">
                <a16:creationId xmlns:a16="http://schemas.microsoft.com/office/drawing/2014/main" id="{246D4AE8-3271-2C53-A57D-C14812D7E724}"/>
              </a:ext>
            </a:extLst>
          </p:cNvPr>
          <p:cNvCxnSpPr>
            <a:cxnSpLocks/>
            <a:stCxn id="7" idx="3"/>
            <a:endCxn id="38" idx="1"/>
          </p:cNvCxnSpPr>
          <p:nvPr/>
        </p:nvCxnSpPr>
        <p:spPr>
          <a:xfrm>
            <a:off x="3964881" y="3576061"/>
            <a:ext cx="418114" cy="1247790"/>
          </a:xfrm>
          <a:prstGeom prst="curvedConnector3">
            <a:avLst>
              <a:gd name="adj1" fmla="val 50000"/>
            </a:avLst>
          </a:prstGeom>
          <a:ln w="12700">
            <a:solidFill>
              <a:schemeClr val="accent4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or: Curved 68">
            <a:extLst>
              <a:ext uri="{FF2B5EF4-FFF2-40B4-BE49-F238E27FC236}">
                <a16:creationId xmlns:a16="http://schemas.microsoft.com/office/drawing/2014/main" id="{A15024DE-4CBF-EFF0-6DD0-D5E1D0EC56B0}"/>
              </a:ext>
            </a:extLst>
          </p:cNvPr>
          <p:cNvCxnSpPr>
            <a:cxnSpLocks/>
            <a:stCxn id="7" idx="3"/>
            <a:endCxn id="56" idx="1"/>
          </p:cNvCxnSpPr>
          <p:nvPr/>
        </p:nvCxnSpPr>
        <p:spPr>
          <a:xfrm>
            <a:off x="3964881" y="3576061"/>
            <a:ext cx="418114" cy="2508218"/>
          </a:xfrm>
          <a:prstGeom prst="curvedConnector3">
            <a:avLst>
              <a:gd name="adj1" fmla="val 50000"/>
            </a:avLst>
          </a:prstGeom>
          <a:ln w="12700">
            <a:solidFill>
              <a:schemeClr val="accent4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ctor: Curved 71">
            <a:extLst>
              <a:ext uri="{FF2B5EF4-FFF2-40B4-BE49-F238E27FC236}">
                <a16:creationId xmlns:a16="http://schemas.microsoft.com/office/drawing/2014/main" id="{2A3E5FD0-8C1D-7001-CD36-08AC4B7A475A}"/>
              </a:ext>
            </a:extLst>
          </p:cNvPr>
          <p:cNvCxnSpPr>
            <a:cxnSpLocks/>
            <a:stCxn id="54" idx="3"/>
            <a:endCxn id="49" idx="1"/>
          </p:cNvCxnSpPr>
          <p:nvPr/>
        </p:nvCxnSpPr>
        <p:spPr>
          <a:xfrm>
            <a:off x="3964880" y="5448479"/>
            <a:ext cx="418115" cy="5587"/>
          </a:xfrm>
          <a:prstGeom prst="curvedConnector3">
            <a:avLst>
              <a:gd name="adj1" fmla="val 50000"/>
            </a:avLst>
          </a:prstGeom>
          <a:ln w="12700">
            <a:solidFill>
              <a:schemeClr val="accent4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Curved 74">
            <a:extLst>
              <a:ext uri="{FF2B5EF4-FFF2-40B4-BE49-F238E27FC236}">
                <a16:creationId xmlns:a16="http://schemas.microsoft.com/office/drawing/2014/main" id="{C688C594-A73D-8AE2-38A7-0676578CB8C2}"/>
              </a:ext>
            </a:extLst>
          </p:cNvPr>
          <p:cNvCxnSpPr>
            <a:cxnSpLocks/>
            <a:stCxn id="54" idx="3"/>
            <a:endCxn id="33" idx="1"/>
          </p:cNvCxnSpPr>
          <p:nvPr/>
        </p:nvCxnSpPr>
        <p:spPr>
          <a:xfrm flipV="1">
            <a:off x="3964880" y="3563421"/>
            <a:ext cx="418115" cy="1885058"/>
          </a:xfrm>
          <a:prstGeom prst="curvedConnector3">
            <a:avLst>
              <a:gd name="adj1" fmla="val 50000"/>
            </a:avLst>
          </a:prstGeom>
          <a:ln w="12700">
            <a:solidFill>
              <a:schemeClr val="accent4"/>
            </a:solidFill>
            <a:prstDash val="dash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187701601">
            <a:extLst>
              <a:ext uri="{FF2B5EF4-FFF2-40B4-BE49-F238E27FC236}">
                <a16:creationId xmlns:a16="http://schemas.microsoft.com/office/drawing/2014/main" id="{647473A3-CEFF-ADAE-CCBD-9E0B0C0A37ED}"/>
              </a:ext>
            </a:extLst>
          </p:cNvPr>
          <p:cNvSpPr txBox="1"/>
          <p:nvPr/>
        </p:nvSpPr>
        <p:spPr>
          <a:xfrm>
            <a:off x="8222880" y="4589758"/>
            <a:ext cx="3416525" cy="1717442"/>
          </a:xfrm>
          <a:prstGeom prst="roundRect">
            <a:avLst>
              <a:gd name="adj" fmla="val 1626"/>
            </a:avLst>
          </a:prstGeom>
          <a:solidFill>
            <a:srgbClr val="FFFFFF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80" name="TextBox1487502734">
            <a:extLst>
              <a:ext uri="{FF2B5EF4-FFF2-40B4-BE49-F238E27FC236}">
                <a16:creationId xmlns:a16="http://schemas.microsoft.com/office/drawing/2014/main" id="{A09A4F30-C8FB-F6DE-21C9-B3912B1250D8}"/>
              </a:ext>
            </a:extLst>
          </p:cNvPr>
          <p:cNvSpPr txBox="1"/>
          <p:nvPr/>
        </p:nvSpPr>
        <p:spPr>
          <a:xfrm>
            <a:off x="8495158" y="3360617"/>
            <a:ext cx="2935366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r>
              <a:rPr lang="en-US" b="1" dirty="0"/>
              <a:t>Integration with LT/MT coolant loop</a:t>
            </a:r>
          </a:p>
        </p:txBody>
      </p:sp>
      <p:cxnSp>
        <p:nvCxnSpPr>
          <p:cNvPr id="82" name="Connector: Curved 81">
            <a:extLst>
              <a:ext uri="{FF2B5EF4-FFF2-40B4-BE49-F238E27FC236}">
                <a16:creationId xmlns:a16="http://schemas.microsoft.com/office/drawing/2014/main" id="{B67D8835-7414-55A6-BB84-9B096C38074C}"/>
              </a:ext>
            </a:extLst>
          </p:cNvPr>
          <p:cNvCxnSpPr>
            <a:cxnSpLocks/>
            <a:stCxn id="8" idx="3"/>
            <a:endCxn id="32" idx="1"/>
          </p:cNvCxnSpPr>
          <p:nvPr/>
        </p:nvCxnSpPr>
        <p:spPr>
          <a:xfrm>
            <a:off x="7804766" y="2933206"/>
            <a:ext cx="418114" cy="642855"/>
          </a:xfrm>
          <a:prstGeom prst="curved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ctor: Curved 84">
            <a:extLst>
              <a:ext uri="{FF2B5EF4-FFF2-40B4-BE49-F238E27FC236}">
                <a16:creationId xmlns:a16="http://schemas.microsoft.com/office/drawing/2014/main" id="{D8FBE338-6972-9549-7B13-E638B8C2A6E0}"/>
              </a:ext>
            </a:extLst>
          </p:cNvPr>
          <p:cNvCxnSpPr>
            <a:cxnSpLocks/>
            <a:stCxn id="33" idx="3"/>
            <a:endCxn id="79" idx="1"/>
          </p:cNvCxnSpPr>
          <p:nvPr/>
        </p:nvCxnSpPr>
        <p:spPr>
          <a:xfrm>
            <a:off x="7804766" y="3563421"/>
            <a:ext cx="418114" cy="1885058"/>
          </a:xfrm>
          <a:prstGeom prst="curved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nector: Curved 87">
            <a:extLst>
              <a:ext uri="{FF2B5EF4-FFF2-40B4-BE49-F238E27FC236}">
                <a16:creationId xmlns:a16="http://schemas.microsoft.com/office/drawing/2014/main" id="{5656E24C-991D-F071-3709-270BCC0EC934}"/>
              </a:ext>
            </a:extLst>
          </p:cNvPr>
          <p:cNvCxnSpPr>
            <a:cxnSpLocks/>
            <a:stCxn id="35" idx="3"/>
            <a:endCxn id="79" idx="1"/>
          </p:cNvCxnSpPr>
          <p:nvPr/>
        </p:nvCxnSpPr>
        <p:spPr>
          <a:xfrm>
            <a:off x="7804766" y="4193636"/>
            <a:ext cx="418114" cy="1254843"/>
          </a:xfrm>
          <a:prstGeom prst="curved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nector: Curved 90">
            <a:extLst>
              <a:ext uri="{FF2B5EF4-FFF2-40B4-BE49-F238E27FC236}">
                <a16:creationId xmlns:a16="http://schemas.microsoft.com/office/drawing/2014/main" id="{3385AF6C-964C-3E8B-1769-444BDE0AB0F1}"/>
              </a:ext>
            </a:extLst>
          </p:cNvPr>
          <p:cNvCxnSpPr>
            <a:cxnSpLocks/>
            <a:stCxn id="38" idx="3"/>
            <a:endCxn id="32" idx="1"/>
          </p:cNvCxnSpPr>
          <p:nvPr/>
        </p:nvCxnSpPr>
        <p:spPr>
          <a:xfrm flipV="1">
            <a:off x="7804766" y="3576061"/>
            <a:ext cx="418114" cy="1247790"/>
          </a:xfrm>
          <a:prstGeom prst="curvedConnector3">
            <a:avLst>
              <a:gd name="adj1" fmla="val 50000"/>
            </a:avLst>
          </a:prstGeom>
          <a:ln w="12700">
            <a:solidFill>
              <a:schemeClr val="tx2"/>
            </a:solidFill>
            <a:prstDash val="dash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nector: Curved 93">
            <a:extLst>
              <a:ext uri="{FF2B5EF4-FFF2-40B4-BE49-F238E27FC236}">
                <a16:creationId xmlns:a16="http://schemas.microsoft.com/office/drawing/2014/main" id="{433E838B-F4AF-CFB8-2BFA-BF461756B11B}"/>
              </a:ext>
            </a:extLst>
          </p:cNvPr>
          <p:cNvCxnSpPr>
            <a:cxnSpLocks/>
            <a:stCxn id="38" idx="3"/>
            <a:endCxn id="79" idx="1"/>
          </p:cNvCxnSpPr>
          <p:nvPr/>
        </p:nvCxnSpPr>
        <p:spPr>
          <a:xfrm>
            <a:off x="7804766" y="4823851"/>
            <a:ext cx="418114" cy="624628"/>
          </a:xfrm>
          <a:prstGeom prst="curved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Curved 96">
            <a:extLst>
              <a:ext uri="{FF2B5EF4-FFF2-40B4-BE49-F238E27FC236}">
                <a16:creationId xmlns:a16="http://schemas.microsoft.com/office/drawing/2014/main" id="{FCE54EC4-2587-9AE7-DA6D-2F06816C7B06}"/>
              </a:ext>
            </a:extLst>
          </p:cNvPr>
          <p:cNvCxnSpPr>
            <a:cxnSpLocks/>
            <a:stCxn id="49" idx="3"/>
            <a:endCxn id="79" idx="1"/>
          </p:cNvCxnSpPr>
          <p:nvPr/>
        </p:nvCxnSpPr>
        <p:spPr>
          <a:xfrm flipV="1">
            <a:off x="7804766" y="5448479"/>
            <a:ext cx="418114" cy="5587"/>
          </a:xfrm>
          <a:prstGeom prst="curved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Connector: Curved 99">
            <a:extLst>
              <a:ext uri="{FF2B5EF4-FFF2-40B4-BE49-F238E27FC236}">
                <a16:creationId xmlns:a16="http://schemas.microsoft.com/office/drawing/2014/main" id="{36E697E0-AC42-B4FF-3627-6EB435B0957C}"/>
              </a:ext>
            </a:extLst>
          </p:cNvPr>
          <p:cNvCxnSpPr>
            <a:cxnSpLocks/>
            <a:stCxn id="56" idx="3"/>
            <a:endCxn id="32" idx="1"/>
          </p:cNvCxnSpPr>
          <p:nvPr/>
        </p:nvCxnSpPr>
        <p:spPr>
          <a:xfrm flipV="1">
            <a:off x="7804766" y="3576061"/>
            <a:ext cx="418114" cy="2508218"/>
          </a:xfrm>
          <a:prstGeom prst="curved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1487502734">
            <a:extLst>
              <a:ext uri="{FF2B5EF4-FFF2-40B4-BE49-F238E27FC236}">
                <a16:creationId xmlns:a16="http://schemas.microsoft.com/office/drawing/2014/main" id="{2A66E3B9-FB77-ECAE-FA03-B35D636BF12C}"/>
              </a:ext>
            </a:extLst>
          </p:cNvPr>
          <p:cNvSpPr txBox="1"/>
          <p:nvPr/>
        </p:nvSpPr>
        <p:spPr>
          <a:xfrm>
            <a:off x="8495158" y="5233036"/>
            <a:ext cx="2935366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r>
              <a:rPr lang="en-US" b="1" dirty="0"/>
              <a:t>Integration with fuel cell HT coolant loop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54D83DBF-2C64-9BD0-61E3-B42454C8DA85}"/>
              </a:ext>
            </a:extLst>
          </p:cNvPr>
          <p:cNvCxnSpPr>
            <a:cxnSpLocks/>
          </p:cNvCxnSpPr>
          <p:nvPr/>
        </p:nvCxnSpPr>
        <p:spPr>
          <a:xfrm>
            <a:off x="3325517" y="6520015"/>
            <a:ext cx="245170" cy="0"/>
          </a:xfrm>
          <a:prstGeom prst="line">
            <a:avLst/>
          </a:prstGeom>
          <a:ln w="25400">
            <a:solidFill>
              <a:schemeClr val="accent4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905D97E1-FF42-0485-AEB3-B4F03FC78BF2}"/>
              </a:ext>
            </a:extLst>
          </p:cNvPr>
          <p:cNvCxnSpPr>
            <a:cxnSpLocks/>
          </p:cNvCxnSpPr>
          <p:nvPr/>
        </p:nvCxnSpPr>
        <p:spPr>
          <a:xfrm>
            <a:off x="3325517" y="6691465"/>
            <a:ext cx="245170" cy="0"/>
          </a:xfrm>
          <a:prstGeom prst="line">
            <a:avLst/>
          </a:prstGeom>
          <a:ln w="25400">
            <a:solidFill>
              <a:schemeClr val="accent4"/>
            </a:solidFill>
            <a:prstDash val="dash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150kW hydrogen preheater | Micro System | SS coaxial coils">
            <a:extLst>
              <a:ext uri="{FF2B5EF4-FFF2-40B4-BE49-F238E27FC236}">
                <a16:creationId xmlns:a16="http://schemas.microsoft.com/office/drawing/2014/main" id="{83A044F5-C76A-B20E-A4C5-BCFF5D794D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1380" y="3938394"/>
            <a:ext cx="536112" cy="536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2F5F3EA6-7B33-1DDB-CFD1-B160804925E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7050088" y="2844800"/>
            <a:ext cx="187325" cy="187325"/>
          </a:xfrm>
          <a:prstGeom prst="ellipse">
            <a:avLst/>
          </a:prstGeom>
          <a:noFill/>
          <a:ln w="9525" cmpd="sng" algn="ctr">
            <a:solidFill>
              <a:srgbClr val="595959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F3F3F"/>
                </a:solidFill>
              </a14:hiddenFill>
            </a:ext>
          </a:ex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c 13">
            <a:extLst>
              <a:ext uri="{FF2B5EF4-FFF2-40B4-BE49-F238E27FC236}">
                <a16:creationId xmlns:a16="http://schemas.microsoft.com/office/drawing/2014/main" id="{9D4CD806-0A36-4DE6-439C-F2069104FA7A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7050088" y="2844800"/>
            <a:ext cx="187325" cy="187325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595959"/>
          </a:solidFill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68D54A6-EF48-4A1C-F04D-7E6DE28184A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050088" y="3455988"/>
            <a:ext cx="187325" cy="187325"/>
          </a:xfrm>
          <a:prstGeom prst="ellipse">
            <a:avLst/>
          </a:prstGeom>
          <a:noFill/>
          <a:ln w="9525" cmpd="sng" algn="ctr">
            <a:solidFill>
              <a:srgbClr val="595959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F3F3F"/>
                </a:solidFill>
              </a14:hiddenFill>
            </a:ext>
          </a:ex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1BA38D73-472E-7E3C-9EBF-BBDA29CF6DA7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7050088" y="3455988"/>
            <a:ext cx="187324" cy="187324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595959"/>
          </a:solidFill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C16BEE04-F5E6-177B-634F-FE534396725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050088" y="4111625"/>
            <a:ext cx="187325" cy="187325"/>
          </a:xfrm>
          <a:prstGeom prst="ellipse">
            <a:avLst/>
          </a:prstGeom>
          <a:noFill/>
          <a:ln w="9525" cmpd="sng" algn="ctr">
            <a:solidFill>
              <a:srgbClr val="595959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F3F3F"/>
                </a:solidFill>
              </a14:hiddenFill>
            </a:ext>
          </a:ex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Arc 29">
            <a:extLst>
              <a:ext uri="{FF2B5EF4-FFF2-40B4-BE49-F238E27FC236}">
                <a16:creationId xmlns:a16="http://schemas.microsoft.com/office/drawing/2014/main" id="{D69AE24A-CA11-00FE-7284-A9664605E9A0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7050088" y="4111625"/>
            <a:ext cx="187326" cy="187323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595959"/>
          </a:solidFill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586994C9-EED0-20B2-7B7E-638D527BF013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050088" y="4732338"/>
            <a:ext cx="187325" cy="187325"/>
          </a:xfrm>
          <a:prstGeom prst="ellipse">
            <a:avLst/>
          </a:prstGeom>
          <a:noFill/>
          <a:ln w="9525" cmpd="sng" algn="ctr">
            <a:solidFill>
              <a:srgbClr val="595959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F3F3F"/>
                </a:solidFill>
              </a14:hiddenFill>
            </a:ext>
          </a:ex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Arc 49">
            <a:extLst>
              <a:ext uri="{FF2B5EF4-FFF2-40B4-BE49-F238E27FC236}">
                <a16:creationId xmlns:a16="http://schemas.microsoft.com/office/drawing/2014/main" id="{08C88368-030F-183F-A6A1-7B9D1F38FE3D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7050088" y="4732338"/>
            <a:ext cx="187324" cy="187325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595959"/>
          </a:solidFill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C52F7C6A-0723-3F4B-402D-E67CD4C9DF1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050088" y="5360988"/>
            <a:ext cx="187325" cy="187325"/>
          </a:xfrm>
          <a:prstGeom prst="ellipse">
            <a:avLst/>
          </a:prstGeom>
          <a:noFill/>
          <a:ln w="9525" cmpd="sng" algn="ctr">
            <a:solidFill>
              <a:srgbClr val="595959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F3F3F"/>
                </a:solidFill>
              </a14:hiddenFill>
            </a:ext>
          </a:ex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Arc 60">
            <a:extLst>
              <a:ext uri="{FF2B5EF4-FFF2-40B4-BE49-F238E27FC236}">
                <a16:creationId xmlns:a16="http://schemas.microsoft.com/office/drawing/2014/main" id="{F43ED177-E069-04E3-80E8-37BC8DE98166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7050088" y="5360988"/>
            <a:ext cx="187325" cy="187322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595959"/>
          </a:solidFill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E42732B1-B7B7-0DD4-A85B-3D3973B8DE0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050088" y="5984875"/>
            <a:ext cx="187325" cy="187325"/>
          </a:xfrm>
          <a:prstGeom prst="ellipse">
            <a:avLst/>
          </a:prstGeom>
          <a:noFill/>
          <a:ln w="9525" cmpd="sng" algn="ctr">
            <a:solidFill>
              <a:srgbClr val="595959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F3F3F"/>
                </a:solidFill>
              </a14:hiddenFill>
            </a:ext>
          </a:ex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Arc 63">
            <a:extLst>
              <a:ext uri="{FF2B5EF4-FFF2-40B4-BE49-F238E27FC236}">
                <a16:creationId xmlns:a16="http://schemas.microsoft.com/office/drawing/2014/main" id="{8CB7E2A6-4AE8-7023-F5BC-A14F06C20CD0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7050088" y="5984875"/>
            <a:ext cx="187325" cy="187322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595959"/>
          </a:solidFill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03F0809-E65A-24F2-E36B-BBE63C8D9BCA}"/>
              </a:ext>
            </a:extLst>
          </p:cNvPr>
          <p:cNvSpPr txBox="1"/>
          <p:nvPr/>
        </p:nvSpPr>
        <p:spPr>
          <a:xfrm>
            <a:off x="6177608" y="1889394"/>
            <a:ext cx="1554857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400">
                <a:solidFill>
                  <a:schemeClr val="bg1"/>
                </a:solidFill>
              </a:rPr>
              <a:t>components can be integrated with TMS ?</a:t>
            </a:r>
            <a:endParaRPr lang="en-US" sz="14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72BC386-02B1-503F-776A-F9623F1CBE3A}"/>
              </a:ext>
            </a:extLst>
          </p:cNvPr>
          <p:cNvSpPr txBox="1"/>
          <p:nvPr/>
        </p:nvSpPr>
        <p:spPr>
          <a:xfrm>
            <a:off x="9931142" y="1889394"/>
            <a:ext cx="1554857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400">
                <a:solidFill>
                  <a:schemeClr val="bg1"/>
                </a:solidFill>
              </a:rPr>
              <a:t>a</a:t>
            </a:r>
            <a:r>
              <a:rPr lang="en-US" sz="1400">
                <a:solidFill>
                  <a:schemeClr val="bg1"/>
                </a:solidFill>
                <a:latin typeface="+mn-lt"/>
              </a:rPr>
              <a:t>re the</a:t>
            </a:r>
            <a:r>
              <a:rPr lang="en-US" sz="1400">
                <a:solidFill>
                  <a:schemeClr val="bg1"/>
                </a:solidFill>
              </a:rPr>
              <a:t> </a:t>
            </a:r>
            <a:r>
              <a:rPr lang="en-US" sz="1400" err="1">
                <a:solidFill>
                  <a:schemeClr val="bg1"/>
                </a:solidFill>
              </a:rPr>
              <a:t>BoP</a:t>
            </a:r>
            <a:r>
              <a:rPr lang="en-US" sz="1400">
                <a:solidFill>
                  <a:schemeClr val="bg1"/>
                </a:solidFill>
              </a:rPr>
              <a:t> components </a:t>
            </a:r>
            <a:r>
              <a:rPr lang="en-US" sz="1400" err="1">
                <a:solidFill>
                  <a:schemeClr val="bg1"/>
                </a:solidFill>
              </a:rPr>
              <a:t>integ</a:t>
            </a:r>
            <a:r>
              <a:rPr lang="en-US" sz="1400">
                <a:solidFill>
                  <a:schemeClr val="bg1"/>
                </a:solidFill>
              </a:rPr>
              <a:t>. with TMS ?</a:t>
            </a:r>
            <a:endParaRPr lang="en-US" sz="14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42940E7-6917-BC9D-8EE8-F56CEB3819BD}"/>
              </a:ext>
            </a:extLst>
          </p:cNvPr>
          <p:cNvSpPr txBox="1"/>
          <p:nvPr/>
        </p:nvSpPr>
        <p:spPr>
          <a:xfrm>
            <a:off x="3714750" y="6450766"/>
            <a:ext cx="164989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900">
                <a:solidFill>
                  <a:schemeClr val="accent2"/>
                </a:solidFill>
                <a:latin typeface="+mn-lt"/>
              </a:rPr>
              <a:t>Main </a:t>
            </a:r>
            <a:r>
              <a:rPr lang="en-US" sz="900" err="1">
                <a:solidFill>
                  <a:schemeClr val="accent2"/>
                </a:solidFill>
                <a:latin typeface="+mn-lt"/>
              </a:rPr>
              <a:t>integ</a:t>
            </a:r>
            <a:r>
              <a:rPr lang="en-US" sz="900">
                <a:solidFill>
                  <a:schemeClr val="accent2"/>
                </a:solidFill>
                <a:latin typeface="+mn-lt"/>
              </a:rPr>
              <a:t>. reason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99FC0D6-5AE6-6862-49CB-05886FADCC46}"/>
              </a:ext>
            </a:extLst>
          </p:cNvPr>
          <p:cNvSpPr txBox="1"/>
          <p:nvPr/>
        </p:nvSpPr>
        <p:spPr>
          <a:xfrm>
            <a:off x="3714750" y="6622215"/>
            <a:ext cx="164989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900">
                <a:solidFill>
                  <a:schemeClr val="accent2"/>
                </a:solidFill>
                <a:latin typeface="+mn-lt"/>
              </a:rPr>
              <a:t>Possible </a:t>
            </a:r>
            <a:r>
              <a:rPr lang="en-US" sz="900" err="1">
                <a:solidFill>
                  <a:schemeClr val="accent2"/>
                </a:solidFill>
                <a:latin typeface="+mn-lt"/>
              </a:rPr>
              <a:t>integ</a:t>
            </a:r>
            <a:r>
              <a:rPr lang="en-US" sz="900">
                <a:solidFill>
                  <a:schemeClr val="accent2"/>
                </a:solidFill>
                <a:latin typeface="+mn-lt"/>
              </a:rPr>
              <a:t>. reason</a:t>
            </a: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CA67C928-D470-35EC-DD0E-5ED7779183C8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173663" y="6423025"/>
            <a:ext cx="130175" cy="130175"/>
          </a:xfrm>
          <a:prstGeom prst="ellipse">
            <a:avLst/>
          </a:prstGeom>
          <a:noFill/>
          <a:ln w="9525" cmpd="sng" algn="ctr">
            <a:solidFill>
              <a:srgbClr val="595959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F3F3F"/>
                </a:solidFill>
              </a14:hiddenFill>
            </a:ext>
          </a:ex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Arc 80">
            <a:extLst>
              <a:ext uri="{FF2B5EF4-FFF2-40B4-BE49-F238E27FC236}">
                <a16:creationId xmlns:a16="http://schemas.microsoft.com/office/drawing/2014/main" id="{D7B88F07-320A-AB71-1947-BDB8810C0B9C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5173664" y="6423025"/>
            <a:ext cx="130174" cy="130174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595959"/>
          </a:solidFill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4ECBBDE1-72AA-DF7E-64CE-B2BAD1E038C1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173663" y="6624638"/>
            <a:ext cx="130175" cy="130175"/>
          </a:xfrm>
          <a:prstGeom prst="ellipse">
            <a:avLst/>
          </a:prstGeom>
          <a:noFill/>
          <a:ln w="9525" cmpd="sng" algn="ctr">
            <a:solidFill>
              <a:srgbClr val="595959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F3F3F"/>
                </a:solidFill>
              </a14:hiddenFill>
            </a:ext>
          </a:ex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Arc 83">
            <a:extLst>
              <a:ext uri="{FF2B5EF4-FFF2-40B4-BE49-F238E27FC236}">
                <a16:creationId xmlns:a16="http://schemas.microsoft.com/office/drawing/2014/main" id="{F4C8D687-EC3D-D84A-585F-178F696D65DD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5173664" y="6624638"/>
            <a:ext cx="130174" cy="130174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595959"/>
          </a:solidFill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AFB145A1-0D78-96BF-EB31-225013FDFEE1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734175" y="6423025"/>
            <a:ext cx="130175" cy="130175"/>
          </a:xfrm>
          <a:prstGeom prst="ellipse">
            <a:avLst/>
          </a:prstGeom>
          <a:noFill/>
          <a:ln w="9525" cmpd="sng" algn="ctr">
            <a:solidFill>
              <a:srgbClr val="595959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F3F3F"/>
                </a:solidFill>
              </a14:hiddenFill>
            </a:ext>
          </a:ex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Arc 86">
            <a:extLst>
              <a:ext uri="{FF2B5EF4-FFF2-40B4-BE49-F238E27FC236}">
                <a16:creationId xmlns:a16="http://schemas.microsoft.com/office/drawing/2014/main" id="{D0559951-D398-9DE5-AF12-FF5E04D68364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6734176" y="6423025"/>
            <a:ext cx="130174" cy="130174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595959"/>
          </a:solidFill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306C99D-E4A9-FC35-3552-9D49C15D6CFF}"/>
              </a:ext>
            </a:extLst>
          </p:cNvPr>
          <p:cNvSpPr txBox="1"/>
          <p:nvPr/>
        </p:nvSpPr>
        <p:spPr>
          <a:xfrm>
            <a:off x="5367338" y="6423025"/>
            <a:ext cx="1319213" cy="1381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900">
                <a:solidFill>
                  <a:schemeClr val="accent2"/>
                </a:solidFill>
                <a:latin typeface="+mn-lt"/>
              </a:rPr>
              <a:t>Rarely </a:t>
            </a:r>
            <a:r>
              <a:rPr lang="en-US" sz="900" err="1">
                <a:solidFill>
                  <a:schemeClr val="accent2"/>
                </a:solidFill>
                <a:latin typeface="+mn-lt"/>
              </a:rPr>
              <a:t>integ</a:t>
            </a:r>
            <a:r>
              <a:rPr lang="en-US" sz="900">
                <a:solidFill>
                  <a:schemeClr val="accent2"/>
                </a:solidFill>
                <a:latin typeface="+mn-lt"/>
              </a:rPr>
              <a:t>. with TM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2430142C-8EBD-5C40-51BE-2AC3566CE0B9}"/>
              </a:ext>
            </a:extLst>
          </p:cNvPr>
          <p:cNvSpPr txBox="1"/>
          <p:nvPr/>
        </p:nvSpPr>
        <p:spPr>
          <a:xfrm>
            <a:off x="5367338" y="6613525"/>
            <a:ext cx="1649413" cy="1381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900">
                <a:solidFill>
                  <a:schemeClr val="accent2"/>
                </a:solidFill>
                <a:latin typeface="+mn-lt"/>
              </a:rPr>
              <a:t>Sometimes </a:t>
            </a:r>
            <a:r>
              <a:rPr lang="en-US" sz="900" err="1">
                <a:solidFill>
                  <a:schemeClr val="accent2"/>
                </a:solidFill>
                <a:latin typeface="+mn-lt"/>
              </a:rPr>
              <a:t>integ</a:t>
            </a:r>
            <a:r>
              <a:rPr lang="en-US" sz="900">
                <a:solidFill>
                  <a:schemeClr val="accent2"/>
                </a:solidFill>
                <a:latin typeface="+mn-lt"/>
              </a:rPr>
              <a:t>. with TMS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8607479D-42C4-679E-78F9-0B6D33FA3DFC}"/>
              </a:ext>
            </a:extLst>
          </p:cNvPr>
          <p:cNvSpPr txBox="1"/>
          <p:nvPr/>
        </p:nvSpPr>
        <p:spPr>
          <a:xfrm>
            <a:off x="6901897" y="6423025"/>
            <a:ext cx="1319213" cy="1381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900">
                <a:solidFill>
                  <a:schemeClr val="accent2"/>
                </a:solidFill>
                <a:latin typeface="+mn-lt"/>
              </a:rPr>
              <a:t>Often </a:t>
            </a:r>
            <a:r>
              <a:rPr lang="en-US" sz="900" err="1">
                <a:solidFill>
                  <a:schemeClr val="accent2"/>
                </a:solidFill>
                <a:latin typeface="+mn-lt"/>
              </a:rPr>
              <a:t>integ</a:t>
            </a:r>
            <a:r>
              <a:rPr lang="en-US" sz="900">
                <a:solidFill>
                  <a:schemeClr val="accent2"/>
                </a:solidFill>
                <a:latin typeface="+mn-lt"/>
              </a:rPr>
              <a:t>. with TMS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740E1B91-0227-07EF-E164-D1933EAD3D8E}"/>
              </a:ext>
            </a:extLst>
          </p:cNvPr>
          <p:cNvCxnSpPr>
            <a:cxnSpLocks/>
          </p:cNvCxnSpPr>
          <p:nvPr/>
        </p:nvCxnSpPr>
        <p:spPr>
          <a:xfrm>
            <a:off x="8386131" y="6427264"/>
            <a:ext cx="245170" cy="0"/>
          </a:xfrm>
          <a:prstGeom prst="line">
            <a:avLst/>
          </a:prstGeom>
          <a:ln w="25400">
            <a:solidFill>
              <a:schemeClr val="tx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B9738ED1-0157-CC8B-5DFD-E0BC05379619}"/>
              </a:ext>
            </a:extLst>
          </p:cNvPr>
          <p:cNvCxnSpPr>
            <a:cxnSpLocks/>
          </p:cNvCxnSpPr>
          <p:nvPr/>
        </p:nvCxnSpPr>
        <p:spPr>
          <a:xfrm>
            <a:off x="8386131" y="6598714"/>
            <a:ext cx="245170" cy="0"/>
          </a:xfrm>
          <a:prstGeom prst="line">
            <a:avLst/>
          </a:prstGeom>
          <a:ln w="25400">
            <a:solidFill>
              <a:schemeClr val="tx2"/>
            </a:solidFill>
            <a:prstDash val="dash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DF02D6E0-3EF6-970B-AE42-AB118250A426}"/>
              </a:ext>
            </a:extLst>
          </p:cNvPr>
          <p:cNvSpPr txBox="1"/>
          <p:nvPr/>
        </p:nvSpPr>
        <p:spPr>
          <a:xfrm>
            <a:off x="8775364" y="6358015"/>
            <a:ext cx="164989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900">
                <a:solidFill>
                  <a:schemeClr val="accent2"/>
                </a:solidFill>
              </a:rPr>
              <a:t>Main observed integration</a:t>
            </a:r>
            <a:endParaRPr lang="en-US" sz="90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477AB29E-933D-F0B8-9846-7D2BC95DD32D}"/>
              </a:ext>
            </a:extLst>
          </p:cNvPr>
          <p:cNvSpPr txBox="1"/>
          <p:nvPr/>
        </p:nvSpPr>
        <p:spPr>
          <a:xfrm>
            <a:off x="8775364" y="6529464"/>
            <a:ext cx="164989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900">
                <a:solidFill>
                  <a:schemeClr val="accent2"/>
                </a:solidFill>
                <a:latin typeface="+mn-lt"/>
              </a:rPr>
              <a:t>Other observed integration</a:t>
            </a:r>
          </a:p>
        </p:txBody>
      </p:sp>
      <p:cxnSp>
        <p:nvCxnSpPr>
          <p:cNvPr id="127" name="Connector: Curved 126">
            <a:extLst>
              <a:ext uri="{FF2B5EF4-FFF2-40B4-BE49-F238E27FC236}">
                <a16:creationId xmlns:a16="http://schemas.microsoft.com/office/drawing/2014/main" id="{A5401F29-FFEA-7B3A-A9B8-E2E419FD1A9A}"/>
              </a:ext>
            </a:extLst>
          </p:cNvPr>
          <p:cNvCxnSpPr>
            <a:cxnSpLocks/>
            <a:stCxn id="33" idx="3"/>
            <a:endCxn id="32" idx="1"/>
          </p:cNvCxnSpPr>
          <p:nvPr/>
        </p:nvCxnSpPr>
        <p:spPr>
          <a:xfrm>
            <a:off x="7804766" y="3563421"/>
            <a:ext cx="418114" cy="12640"/>
          </a:xfrm>
          <a:prstGeom prst="curvedConnector3">
            <a:avLst>
              <a:gd name="adj1" fmla="val 50000"/>
            </a:avLst>
          </a:prstGeom>
          <a:ln w="12700">
            <a:solidFill>
              <a:schemeClr val="tx2"/>
            </a:solidFill>
            <a:prstDash val="dash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668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E6A0CE-FE25-4EFE-0B96-B27E45783C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1A193C09-3DF7-6B6C-1C1B-69C809CE54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7009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193C09-3DF7-6B6C-1C1B-69C809CE5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1071967051">
            <a:extLst>
              <a:ext uri="{FF2B5EF4-FFF2-40B4-BE49-F238E27FC236}">
                <a16:creationId xmlns:a16="http://schemas.microsoft.com/office/drawing/2014/main" id="{84116C7C-91F0-78C6-8420-A17912D091B4}"/>
              </a:ext>
            </a:extLst>
          </p:cNvPr>
          <p:cNvSpPr txBox="1"/>
          <p:nvPr/>
        </p:nvSpPr>
        <p:spPr>
          <a:xfrm>
            <a:off x="2767823" y="1697703"/>
            <a:ext cx="3205807" cy="4611022"/>
          </a:xfrm>
          <a:prstGeom prst="roundRect">
            <a:avLst>
              <a:gd name="adj" fmla="val 1161"/>
            </a:avLst>
          </a:prstGeom>
          <a:solidFill>
            <a:srgbClr val="A10427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72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BEV TMS</a:t>
            </a:r>
          </a:p>
          <a:p>
            <a:pPr algn="ctr"/>
            <a:endParaRPr lang="en-US" sz="1600" b="1" dirty="0"/>
          </a:p>
        </p:txBody>
      </p:sp>
      <p:sp>
        <p:nvSpPr>
          <p:cNvPr id="8" name="TextBox1071967051">
            <a:extLst>
              <a:ext uri="{FF2B5EF4-FFF2-40B4-BE49-F238E27FC236}">
                <a16:creationId xmlns:a16="http://schemas.microsoft.com/office/drawing/2014/main" id="{647B5116-ADB9-FBF7-7ED4-9C2DAD0D579A}"/>
              </a:ext>
            </a:extLst>
          </p:cNvPr>
          <p:cNvSpPr txBox="1"/>
          <p:nvPr/>
        </p:nvSpPr>
        <p:spPr>
          <a:xfrm>
            <a:off x="8433598" y="1697703"/>
            <a:ext cx="3205807" cy="4611022"/>
          </a:xfrm>
          <a:prstGeom prst="roundRect">
            <a:avLst>
              <a:gd name="adj" fmla="val 1161"/>
            </a:avLst>
          </a:prstGeom>
          <a:solidFill>
            <a:srgbClr val="007287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72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FCEV TM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D87F26-D5E1-B07F-7E1C-9A4B38BBE39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BEV VS FCEV vehicles Thermal architectures</a:t>
            </a:r>
            <a:endParaRPr lang="en-US" b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89663B-42D0-48BE-2C5F-ABC736F429E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1384" y="6406354"/>
            <a:ext cx="7761740" cy="246221"/>
          </a:xfrm>
        </p:spPr>
        <p:txBody>
          <a:bodyPr/>
          <a:lstStyle/>
          <a:p>
            <a:r>
              <a:rPr lang="en-US"/>
              <a:t>FC: fuel cell; EDU: electric drive unit; PE: power electronics; PV: passenger vehicle; MD: medium duty; HD: heavy duty; PTC: positive temperature coefficient </a:t>
            </a:r>
            <a:br>
              <a:rPr lang="en-US"/>
            </a:br>
            <a:r>
              <a:rPr lang="en-US"/>
              <a:t>Source: FEV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8DF69-1F06-9D01-8EFA-EAF268044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/>
              <a:t>Fuel cell thermal management system complexity increases compared to BEV one, due to additional components and cooling efforts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D03D02-24DF-35AB-81F4-4E7B8D675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F512BEC2-B7B0-2488-ACB1-5799B331BE54}"/>
              </a:ext>
            </a:extLst>
          </p:cNvPr>
          <p:cNvSpPr/>
          <p:nvPr/>
        </p:nvSpPr>
        <p:spPr>
          <a:xfrm>
            <a:off x="550864" y="2154641"/>
            <a:ext cx="11090274" cy="523801"/>
          </a:xfrm>
          <a:prstGeom prst="roundRect">
            <a:avLst>
              <a:gd name="adj" fmla="val 9699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72000" rIns="108000" bIns="108000" rtlCol="0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b="1">
              <a:cs typeface="Poppins" panose="00000500000000000000" pitchFamily="2" charset="0"/>
            </a:endParaRPr>
          </a:p>
        </p:txBody>
      </p:sp>
      <p:sp>
        <p:nvSpPr>
          <p:cNvPr id="1991" name="TextBox1371601767">
            <a:extLst>
              <a:ext uri="{FF2B5EF4-FFF2-40B4-BE49-F238E27FC236}">
                <a16:creationId xmlns:a16="http://schemas.microsoft.com/office/drawing/2014/main" id="{D28F34EA-A0C5-7940-C701-0B44F94ED5E6}"/>
              </a:ext>
            </a:extLst>
          </p:cNvPr>
          <p:cNvSpPr txBox="1"/>
          <p:nvPr/>
        </p:nvSpPr>
        <p:spPr>
          <a:xfrm>
            <a:off x="1375131" y="2256667"/>
            <a:ext cx="875718" cy="31974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r>
              <a:rPr lang="en-US" sz="1200" b="1"/>
              <a:t>Thermal loops</a:t>
            </a:r>
            <a:endParaRPr lang="en-US" sz="1200" b="1" baseline="30000"/>
          </a:p>
        </p:txBody>
      </p:sp>
      <p:sp>
        <p:nvSpPr>
          <p:cNvPr id="1904" name="Rectangle: Rounded Corners 1903">
            <a:extLst>
              <a:ext uri="{FF2B5EF4-FFF2-40B4-BE49-F238E27FC236}">
                <a16:creationId xmlns:a16="http://schemas.microsoft.com/office/drawing/2014/main" id="{44EF1D65-7E37-8289-28E1-4637B119D5B6}"/>
              </a:ext>
            </a:extLst>
          </p:cNvPr>
          <p:cNvSpPr/>
          <p:nvPr/>
        </p:nvSpPr>
        <p:spPr>
          <a:xfrm>
            <a:off x="550864" y="3364250"/>
            <a:ext cx="11090274" cy="523801"/>
          </a:xfrm>
          <a:prstGeom prst="roundRect">
            <a:avLst>
              <a:gd name="adj" fmla="val 9699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72000" rIns="108000" bIns="108000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b="1">
              <a:cs typeface="Poppins" panose="00000500000000000000" pitchFamily="2" charset="0"/>
            </a:endParaRPr>
          </a:p>
        </p:txBody>
      </p:sp>
      <p:sp>
        <p:nvSpPr>
          <p:cNvPr id="1993" name="TextBox1371601767">
            <a:extLst>
              <a:ext uri="{FF2B5EF4-FFF2-40B4-BE49-F238E27FC236}">
                <a16:creationId xmlns:a16="http://schemas.microsoft.com/office/drawing/2014/main" id="{E735AF57-3066-F28B-6991-01A929051574}"/>
              </a:ext>
            </a:extLst>
          </p:cNvPr>
          <p:cNvSpPr txBox="1"/>
          <p:nvPr/>
        </p:nvSpPr>
        <p:spPr>
          <a:xfrm>
            <a:off x="1375130" y="3441956"/>
            <a:ext cx="1214251" cy="3683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r>
              <a:rPr lang="en-US" sz="1200" b="1"/>
              <a:t>PE and EDU cooling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F5A063E-2A34-0E9D-6F87-B554EE1510A5}"/>
              </a:ext>
            </a:extLst>
          </p:cNvPr>
          <p:cNvSpPr/>
          <p:nvPr/>
        </p:nvSpPr>
        <p:spPr>
          <a:xfrm>
            <a:off x="550864" y="3969054"/>
            <a:ext cx="11090274" cy="523801"/>
          </a:xfrm>
          <a:prstGeom prst="roundRect">
            <a:avLst>
              <a:gd name="adj" fmla="val 9699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72000" rIns="108000" bIns="108000" rtlCol="0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b="1">
              <a:cs typeface="Poppins" panose="00000500000000000000" pitchFamily="2" charset="0"/>
            </a:endParaRPr>
          </a:p>
        </p:txBody>
      </p:sp>
      <p:sp>
        <p:nvSpPr>
          <p:cNvPr id="1990" name="TextBox1371601767">
            <a:extLst>
              <a:ext uri="{FF2B5EF4-FFF2-40B4-BE49-F238E27FC236}">
                <a16:creationId xmlns:a16="http://schemas.microsoft.com/office/drawing/2014/main" id="{402191AC-8E7D-74F3-C8BF-F68591C9D11F}"/>
              </a:ext>
            </a:extLst>
          </p:cNvPr>
          <p:cNvSpPr txBox="1"/>
          <p:nvPr/>
        </p:nvSpPr>
        <p:spPr>
          <a:xfrm>
            <a:off x="1375130" y="4134437"/>
            <a:ext cx="1214251" cy="19303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r>
              <a:rPr lang="en-US" sz="1200" b="1"/>
              <a:t>Cabin management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22CA1F0-8BF0-138A-ED3F-FC5586B8B334}"/>
              </a:ext>
            </a:extLst>
          </p:cNvPr>
          <p:cNvSpPr/>
          <p:nvPr/>
        </p:nvSpPr>
        <p:spPr>
          <a:xfrm>
            <a:off x="560628" y="4573858"/>
            <a:ext cx="11090274" cy="523801"/>
          </a:xfrm>
          <a:prstGeom prst="roundRect">
            <a:avLst>
              <a:gd name="adj" fmla="val 9699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72000" rIns="108000" bIns="108000" rtlCol="0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b="1">
              <a:cs typeface="Poppins" panose="00000500000000000000" pitchFamily="2" charset="0"/>
            </a:endParaRPr>
          </a:p>
        </p:txBody>
      </p:sp>
      <p:sp>
        <p:nvSpPr>
          <p:cNvPr id="1992" name="TextBox1371601767">
            <a:extLst>
              <a:ext uri="{FF2B5EF4-FFF2-40B4-BE49-F238E27FC236}">
                <a16:creationId xmlns:a16="http://schemas.microsoft.com/office/drawing/2014/main" id="{3288D139-FF0E-79AD-2833-40F8FC9094B2}"/>
              </a:ext>
            </a:extLst>
          </p:cNvPr>
          <p:cNvSpPr txBox="1"/>
          <p:nvPr/>
        </p:nvSpPr>
        <p:spPr>
          <a:xfrm>
            <a:off x="1384894" y="4739238"/>
            <a:ext cx="1214251" cy="19303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r>
              <a:rPr lang="en-US" sz="1200" b="1"/>
              <a:t>Current integration level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95E91A5-4BD6-0968-35C3-1568E9CACCD0}"/>
              </a:ext>
            </a:extLst>
          </p:cNvPr>
          <p:cNvSpPr/>
          <p:nvPr/>
        </p:nvSpPr>
        <p:spPr>
          <a:xfrm>
            <a:off x="550864" y="2759446"/>
            <a:ext cx="11090274" cy="523801"/>
          </a:xfrm>
          <a:prstGeom prst="roundRect">
            <a:avLst>
              <a:gd name="adj" fmla="val 9699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72000" rIns="108000" bIns="108000" rtlCol="0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b="1">
              <a:cs typeface="Poppins" panose="00000500000000000000" pitchFamily="2" charset="0"/>
            </a:endParaRPr>
          </a:p>
        </p:txBody>
      </p:sp>
      <p:sp>
        <p:nvSpPr>
          <p:cNvPr id="11" name="TextBox1371601767">
            <a:extLst>
              <a:ext uri="{FF2B5EF4-FFF2-40B4-BE49-F238E27FC236}">
                <a16:creationId xmlns:a16="http://schemas.microsoft.com/office/drawing/2014/main" id="{8523A737-C3C5-1317-E805-2BA27722FBB3}"/>
              </a:ext>
            </a:extLst>
          </p:cNvPr>
          <p:cNvSpPr txBox="1"/>
          <p:nvPr/>
        </p:nvSpPr>
        <p:spPr>
          <a:xfrm>
            <a:off x="1375131" y="2861475"/>
            <a:ext cx="1019562" cy="31974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r>
              <a:rPr lang="en-US" sz="1200" b="1"/>
              <a:t>Battery cooling</a:t>
            </a:r>
            <a:endParaRPr lang="en-US" sz="1200" b="1" baseline="30000"/>
          </a:p>
        </p:txBody>
      </p:sp>
      <p:sp>
        <p:nvSpPr>
          <p:cNvPr id="18" name="Status_Sticker">
            <a:extLst>
              <a:ext uri="{FF2B5EF4-FFF2-40B4-BE49-F238E27FC236}">
                <a16:creationId xmlns:a16="http://schemas.microsoft.com/office/drawing/2014/main" id="{5AFF293B-CFE3-9D40-F308-BFD63DD74342}"/>
              </a:ext>
            </a:extLst>
          </p:cNvPr>
          <p:cNvSpPr/>
          <p:nvPr/>
        </p:nvSpPr>
        <p:spPr>
          <a:xfrm>
            <a:off x="8736144" y="1339200"/>
            <a:ext cx="1960473" cy="184666"/>
          </a:xfrm>
          <a:prstGeom prst="rect">
            <a:avLst/>
          </a:prstGeom>
          <a:noFill/>
          <a:ln w="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</a14:hiddenLine>
            </a:ext>
          </a:extLst>
        </p:spPr>
        <p:txBody>
          <a:bodyPr wrap="none" lIns="0" tIns="0" rIns="0" bIns="0" rtlCol="0" anchor="ctr">
            <a:spAutoFit/>
          </a:bodyPr>
          <a:lstStyle/>
          <a:p>
            <a:pPr marL="108000" indent="-108000" algn="r">
              <a:buClr>
                <a:srgbClr val="B9052D"/>
              </a:buClr>
              <a:buSzPct val="100000"/>
              <a:buFont typeface="FEV" panose="02000509000000000000" pitchFamily="49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 Qualitative assessment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24C76C3-E5B9-5A23-11C2-BF16E83E3F87}"/>
              </a:ext>
            </a:extLst>
          </p:cNvPr>
          <p:cNvSpPr/>
          <p:nvPr/>
        </p:nvSpPr>
        <p:spPr>
          <a:xfrm>
            <a:off x="560628" y="5178662"/>
            <a:ext cx="11090274" cy="523801"/>
          </a:xfrm>
          <a:prstGeom prst="roundRect">
            <a:avLst>
              <a:gd name="adj" fmla="val 9699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72000" rIns="108000" bIns="108000" rtlCol="0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b="1">
              <a:cs typeface="Poppins" panose="00000500000000000000" pitchFamily="2" charset="0"/>
            </a:endParaRPr>
          </a:p>
        </p:txBody>
      </p:sp>
      <p:sp>
        <p:nvSpPr>
          <p:cNvPr id="22" name="TextBox1371601767">
            <a:extLst>
              <a:ext uri="{FF2B5EF4-FFF2-40B4-BE49-F238E27FC236}">
                <a16:creationId xmlns:a16="http://schemas.microsoft.com/office/drawing/2014/main" id="{D9430580-30C2-037D-9538-D39E1FA434A9}"/>
              </a:ext>
            </a:extLst>
          </p:cNvPr>
          <p:cNvSpPr txBox="1"/>
          <p:nvPr/>
        </p:nvSpPr>
        <p:spPr>
          <a:xfrm>
            <a:off x="1384894" y="5344042"/>
            <a:ext cx="1214251" cy="19303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r>
              <a:rPr lang="en-US" sz="1200" b="1"/>
              <a:t>Coolant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0D325E9A-5317-AC3D-69C7-2CDFF01B8019}"/>
              </a:ext>
            </a:extLst>
          </p:cNvPr>
          <p:cNvSpPr/>
          <p:nvPr/>
        </p:nvSpPr>
        <p:spPr>
          <a:xfrm>
            <a:off x="560628" y="5783464"/>
            <a:ext cx="11090274" cy="523801"/>
          </a:xfrm>
          <a:prstGeom prst="roundRect">
            <a:avLst>
              <a:gd name="adj" fmla="val 9699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72000" rIns="108000" bIns="108000" rtlCol="0">
            <a:noAutofit/>
          </a:bodyPr>
          <a:lstStyle/>
          <a:p>
            <a:pPr algn="ctr" defTabSz="1083747">
              <a:spcBef>
                <a:spcPts val="1200"/>
              </a:spcBef>
            </a:pPr>
            <a:endParaRPr lang="en-US" sz="1600" b="1">
              <a:cs typeface="Poppins" panose="00000500000000000000" pitchFamily="2" charset="0"/>
            </a:endParaRPr>
          </a:p>
        </p:txBody>
      </p:sp>
      <p:sp>
        <p:nvSpPr>
          <p:cNvPr id="50" name="TextBox1371601767">
            <a:extLst>
              <a:ext uri="{FF2B5EF4-FFF2-40B4-BE49-F238E27FC236}">
                <a16:creationId xmlns:a16="http://schemas.microsoft.com/office/drawing/2014/main" id="{14B866E5-5CFB-9AF2-6A32-142F037F612C}"/>
              </a:ext>
            </a:extLst>
          </p:cNvPr>
          <p:cNvSpPr txBox="1"/>
          <p:nvPr/>
        </p:nvSpPr>
        <p:spPr>
          <a:xfrm>
            <a:off x="1384894" y="5948844"/>
            <a:ext cx="1214251" cy="19303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r>
              <a:rPr lang="en-US" sz="1200" b="1"/>
              <a:t>Controls and complexity</a:t>
            </a:r>
          </a:p>
        </p:txBody>
      </p:sp>
      <p:pic>
        <p:nvPicPr>
          <p:cNvPr id="55" name="136 battery full (black)">
            <a:extLst>
              <a:ext uri="{FF2B5EF4-FFF2-40B4-BE49-F238E27FC236}">
                <a16:creationId xmlns:a16="http://schemas.microsoft.com/office/drawing/2014/main" id="{BE0E4BA2-1421-E9B4-9180-D4D9EE169CD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91572" y="2785416"/>
            <a:ext cx="523801" cy="523801"/>
          </a:xfrm>
          <a:prstGeom prst="rect">
            <a:avLst/>
          </a:prstGeom>
        </p:spPr>
      </p:pic>
      <p:pic>
        <p:nvPicPr>
          <p:cNvPr id="56" name="337 pyramid segmented">
            <a:extLst>
              <a:ext uri="{FF2B5EF4-FFF2-40B4-BE49-F238E27FC236}">
                <a16:creationId xmlns:a16="http://schemas.microsoft.com/office/drawing/2014/main" id="{AE45A729-531B-0F10-1013-25E0D5A9356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728394" y="4635420"/>
            <a:ext cx="444153" cy="444153"/>
          </a:xfrm>
          <a:prstGeom prst="rect">
            <a:avLst/>
          </a:prstGeom>
        </p:spPr>
      </p:pic>
      <p:pic>
        <p:nvPicPr>
          <p:cNvPr id="57" name="219 working head">
            <a:extLst>
              <a:ext uri="{FF2B5EF4-FFF2-40B4-BE49-F238E27FC236}">
                <a16:creationId xmlns:a16="http://schemas.microsoft.com/office/drawing/2014/main" id="{47EEBBC5-9D14-960C-49E2-CA89D3FD82FD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31645" y="5816658"/>
            <a:ext cx="437649" cy="437649"/>
          </a:xfrm>
          <a:prstGeom prst="rect">
            <a:avLst/>
          </a:prstGeom>
        </p:spPr>
      </p:pic>
      <p:pic>
        <p:nvPicPr>
          <p:cNvPr id="61" name="418 smart steering wheel">
            <a:extLst>
              <a:ext uri="{FF2B5EF4-FFF2-40B4-BE49-F238E27FC236}">
                <a16:creationId xmlns:a16="http://schemas.microsoft.com/office/drawing/2014/main" id="{F8543963-93BC-5BAD-F1AE-B7B2CACCE9E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731395" y="4011880"/>
            <a:ext cx="438150" cy="438150"/>
          </a:xfrm>
          <a:prstGeom prst="rect">
            <a:avLst/>
          </a:prstGeom>
        </p:spPr>
      </p:pic>
      <p:pic>
        <p:nvPicPr>
          <p:cNvPr id="62" name="624 electric motor">
            <a:extLst>
              <a:ext uri="{FF2B5EF4-FFF2-40B4-BE49-F238E27FC236}">
                <a16:creationId xmlns:a16="http://schemas.microsoft.com/office/drawing/2014/main" id="{040D2F9C-5DBB-6247-D0D3-1EC034DD332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637506" y="3450248"/>
            <a:ext cx="359927" cy="359927"/>
          </a:xfrm>
          <a:prstGeom prst="rect">
            <a:avLst/>
          </a:prstGeom>
        </p:spPr>
      </p:pic>
      <p:pic>
        <p:nvPicPr>
          <p:cNvPr id="63" name="626 DCAC inverter">
            <a:extLst>
              <a:ext uri="{FF2B5EF4-FFF2-40B4-BE49-F238E27FC236}">
                <a16:creationId xmlns:a16="http://schemas.microsoft.com/office/drawing/2014/main" id="{8D8856CF-DABE-2503-69D9-FADF254A1801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86352" y="3513717"/>
            <a:ext cx="234292" cy="234292"/>
          </a:xfrm>
          <a:prstGeom prst="rect">
            <a:avLst/>
          </a:prstGeom>
        </p:spPr>
      </p:pic>
      <p:pic>
        <p:nvPicPr>
          <p:cNvPr id="7169" name="716 water drop">
            <a:extLst>
              <a:ext uri="{FF2B5EF4-FFF2-40B4-BE49-F238E27FC236}">
                <a16:creationId xmlns:a16="http://schemas.microsoft.com/office/drawing/2014/main" id="{0E189F27-B419-CFDD-9FD4-7200B09D591C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731645" y="5240629"/>
            <a:ext cx="437650" cy="437650"/>
          </a:xfrm>
          <a:prstGeom prst="rect">
            <a:avLst/>
          </a:prstGeom>
        </p:spPr>
      </p:pic>
      <p:pic>
        <p:nvPicPr>
          <p:cNvPr id="7171" name="Picture 2" descr="4,300+ Complex To Simple Icon Stock Illustrations, Royalty-Free Vector  Graphics &amp; Clip Art - iStock">
            <a:extLst>
              <a:ext uri="{FF2B5EF4-FFF2-40B4-BE49-F238E27FC236}">
                <a16:creationId xmlns:a16="http://schemas.microsoft.com/office/drawing/2014/main" id="{96C1351C-4AC9-D30D-6F42-76B508BB00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76" t="26796" r="23128" b="19808"/>
          <a:stretch/>
        </p:blipFill>
        <p:spPr bwMode="auto">
          <a:xfrm>
            <a:off x="764549" y="2242377"/>
            <a:ext cx="374585" cy="374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0C3F2E1-2E8D-8ADB-2F9C-36431EC599BE}"/>
              </a:ext>
            </a:extLst>
          </p:cNvPr>
          <p:cNvSpPr txBox="1"/>
          <p:nvPr/>
        </p:nvSpPr>
        <p:spPr>
          <a:xfrm>
            <a:off x="3332501" y="2324209"/>
            <a:ext cx="207645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+mn-lt"/>
              </a:rPr>
              <a:t>3 to 4 loop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476B717-7BE4-ECD5-554B-FC4AF6388ECB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11341200" y="1339200"/>
            <a:ext cx="288000" cy="288000"/>
          </a:xfrm>
          <a:prstGeom prst="roundRect">
            <a:avLst>
              <a:gd name="adj" fmla="val 17641"/>
            </a:avLst>
          </a:prstGeom>
        </p:spPr>
      </p:pic>
      <p:pic>
        <p:nvPicPr>
          <p:cNvPr id="16" name="Picture 495">
            <a:extLst>
              <a:ext uri="{FF2B5EF4-FFF2-40B4-BE49-F238E27FC236}">
                <a16:creationId xmlns:a16="http://schemas.microsoft.com/office/drawing/2014/main" id="{708A39BC-8BFE-0A32-A88C-C371B0310E79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9"/>
          <a:stretch>
            <a:fillRect/>
          </a:stretch>
        </p:blipFill>
        <p:spPr>
          <a:xfrm>
            <a:off x="10884161" y="1339200"/>
            <a:ext cx="288000" cy="288000"/>
          </a:xfrm>
          <a:prstGeom prst="roundRect">
            <a:avLst>
              <a:gd name="adj" fmla="val 17641"/>
            </a:avLst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2A67E4F5-CD4B-6E7E-FA38-6F33CF8CB56B}"/>
              </a:ext>
            </a:extLst>
          </p:cNvPr>
          <p:cNvSpPr txBox="1"/>
          <p:nvPr/>
        </p:nvSpPr>
        <p:spPr>
          <a:xfrm>
            <a:off x="11189540" y="1337552"/>
            <a:ext cx="253242" cy="239571"/>
          </a:xfrm>
          <a:prstGeom prst="roundRect">
            <a:avLst>
              <a:gd name="adj" fmla="val 21207"/>
            </a:avLst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1600" dirty="0">
                <a:solidFill>
                  <a:srgbClr val="000000"/>
                </a:solidFill>
                <a:latin typeface="Poppins" panose="00000500000000000000" pitchFamily="2" charset="0"/>
              </a:rPr>
              <a:t>+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6DF239A-4572-B1DE-86B2-C2F353A4172E}"/>
              </a:ext>
            </a:extLst>
          </p:cNvPr>
          <p:cNvSpPr txBox="1"/>
          <p:nvPr/>
        </p:nvSpPr>
        <p:spPr>
          <a:xfrm>
            <a:off x="8998276" y="2324209"/>
            <a:ext cx="207645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4 to 5</a:t>
            </a:r>
            <a:r>
              <a:rPr lang="en-US" sz="1200" b="1" dirty="0">
                <a:latin typeface="+mn-lt"/>
              </a:rPr>
              <a:t> </a:t>
            </a:r>
            <a:r>
              <a:rPr lang="en-US" sz="1200" dirty="0">
                <a:latin typeface="+mn-lt"/>
              </a:rPr>
              <a:t>loop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E6FBA30-6559-6245-8E4A-2293FAEFA5D7}"/>
              </a:ext>
            </a:extLst>
          </p:cNvPr>
          <p:cNvSpPr txBox="1"/>
          <p:nvPr/>
        </p:nvSpPr>
        <p:spPr>
          <a:xfrm>
            <a:off x="3057453" y="2929013"/>
            <a:ext cx="262654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+mn-lt"/>
              </a:rPr>
              <a:t>Dedicated LT + refrigera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71EDFB0-56D8-BA4B-1085-FFFF11B41958}"/>
              </a:ext>
            </a:extLst>
          </p:cNvPr>
          <p:cNvSpPr txBox="1"/>
          <p:nvPr/>
        </p:nvSpPr>
        <p:spPr>
          <a:xfrm>
            <a:off x="8137849" y="2844375"/>
            <a:ext cx="3797304" cy="3539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+mn-lt"/>
              </a:rPr>
              <a:t>Dedicated LT + refrigerant</a:t>
            </a:r>
            <a:br>
              <a:rPr lang="en-US" sz="1200" dirty="0">
                <a:latin typeface="+mn-lt"/>
              </a:rPr>
            </a:br>
            <a:r>
              <a:rPr lang="en-US" sz="1100" dirty="0" err="1">
                <a:solidFill>
                  <a:schemeClr val="accent2"/>
                </a:solidFill>
                <a:latin typeface="+mn-lt"/>
              </a:rPr>
              <a:t>Refrigerant</a:t>
            </a:r>
            <a:r>
              <a:rPr lang="en-US" sz="1100" dirty="0">
                <a:solidFill>
                  <a:schemeClr val="accent2"/>
                </a:solidFill>
                <a:latin typeface="+mn-lt"/>
              </a:rPr>
              <a:t> only possible</a:t>
            </a:r>
            <a:endParaRPr lang="en-US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6BE9F46-767D-95C9-89B1-104148D666A7}"/>
              </a:ext>
            </a:extLst>
          </p:cNvPr>
          <p:cNvSpPr txBox="1"/>
          <p:nvPr/>
        </p:nvSpPr>
        <p:spPr>
          <a:xfrm>
            <a:off x="2938026" y="3533818"/>
            <a:ext cx="28654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+mn-lt"/>
              </a:rPr>
              <a:t>MT loop – coolant or oil for EDU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3A10DF5-E839-2357-3D20-4E8469309CD7}"/>
              </a:ext>
            </a:extLst>
          </p:cNvPr>
          <p:cNvSpPr txBox="1"/>
          <p:nvPr/>
        </p:nvSpPr>
        <p:spPr>
          <a:xfrm>
            <a:off x="8603801" y="3533818"/>
            <a:ext cx="28654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+mn-lt"/>
              </a:rPr>
              <a:t>Additional </a:t>
            </a:r>
            <a:r>
              <a:rPr lang="en-US" sz="1200" b="1" dirty="0">
                <a:latin typeface="+mn-lt"/>
              </a:rPr>
              <a:t>FC auxiliari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F2D9108-E35F-6F43-79B8-9E8D9127B532}"/>
              </a:ext>
            </a:extLst>
          </p:cNvPr>
          <p:cNvSpPr txBox="1"/>
          <p:nvPr/>
        </p:nvSpPr>
        <p:spPr>
          <a:xfrm>
            <a:off x="2767823" y="4138621"/>
            <a:ext cx="320580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latin typeface="+mn-lt"/>
              </a:rPr>
              <a:t>PTC/HP for heatin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8FB2BF6-8294-3136-4A3D-C3AB9E0816AD}"/>
              </a:ext>
            </a:extLst>
          </p:cNvPr>
          <p:cNvSpPr txBox="1"/>
          <p:nvPr/>
        </p:nvSpPr>
        <p:spPr>
          <a:xfrm>
            <a:off x="8373906" y="4138621"/>
            <a:ext cx="332519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+mn-lt"/>
              </a:rPr>
              <a:t>possible heat re-us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66EC217-460C-8600-D1A2-D2583BDCAAF3}"/>
              </a:ext>
            </a:extLst>
          </p:cNvPr>
          <p:cNvSpPr txBox="1"/>
          <p:nvPr/>
        </p:nvSpPr>
        <p:spPr>
          <a:xfrm>
            <a:off x="2767823" y="4743426"/>
            <a:ext cx="320580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+mn-lt"/>
              </a:rPr>
              <a:t>Limited on CV – high on PV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A323CD7-F7DB-2B53-CCFE-51CCA363AF2C}"/>
              </a:ext>
            </a:extLst>
          </p:cNvPr>
          <p:cNvSpPr txBox="1"/>
          <p:nvPr/>
        </p:nvSpPr>
        <p:spPr>
          <a:xfrm>
            <a:off x="8373906" y="4743426"/>
            <a:ext cx="332519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latin typeface="+mn-lt"/>
              </a:rPr>
              <a:t>Low</a:t>
            </a:r>
            <a:r>
              <a:rPr lang="en-US" sz="1200" dirty="0">
                <a:latin typeface="+mn-lt"/>
              </a:rPr>
              <a:t>, including for PV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5B3239A-7384-D2CD-8F9E-2C79687A5FAE}"/>
              </a:ext>
            </a:extLst>
          </p:cNvPr>
          <p:cNvSpPr txBox="1"/>
          <p:nvPr/>
        </p:nvSpPr>
        <p:spPr>
          <a:xfrm>
            <a:off x="2767823" y="5348229"/>
            <a:ext cx="320580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+mn-lt"/>
              </a:rPr>
              <a:t>No major challeng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58E7286-0270-CC7E-A0CC-B99C79BB0E59}"/>
              </a:ext>
            </a:extLst>
          </p:cNvPr>
          <p:cNvSpPr txBox="1"/>
          <p:nvPr/>
        </p:nvSpPr>
        <p:spPr>
          <a:xfrm>
            <a:off x="8763931" y="5255897"/>
            <a:ext cx="2545141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200" dirty="0"/>
              <a:t>Low </a:t>
            </a:r>
            <a:r>
              <a:rPr lang="en-US" sz="1200" b="1" dirty="0"/>
              <a:t>electric conductivity</a:t>
            </a:r>
            <a:r>
              <a:rPr lang="en-US" sz="1200" dirty="0"/>
              <a:t>, material compatibility </a:t>
            </a:r>
            <a:endParaRPr lang="en-US" sz="1200" dirty="0">
              <a:latin typeface="+mn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BC7D914-8D74-B7A3-65DD-DB5DBD3ECF22}"/>
              </a:ext>
            </a:extLst>
          </p:cNvPr>
          <p:cNvSpPr txBox="1"/>
          <p:nvPr/>
        </p:nvSpPr>
        <p:spPr>
          <a:xfrm>
            <a:off x="2767823" y="5953032"/>
            <a:ext cx="320580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200" dirty="0">
                <a:latin typeface="+mn-lt"/>
              </a:rPr>
              <a:t>Battery TMS as major challeng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469DB45-527E-79DA-ECE7-9C90DF0DFBD8}"/>
              </a:ext>
            </a:extLst>
          </p:cNvPr>
          <p:cNvSpPr txBox="1"/>
          <p:nvPr/>
        </p:nvSpPr>
        <p:spPr>
          <a:xfrm>
            <a:off x="7928899" y="5953032"/>
            <a:ext cx="421520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200" b="1" dirty="0"/>
              <a:t>Battery and fuel cell </a:t>
            </a:r>
            <a:r>
              <a:rPr lang="en-US" sz="1200" dirty="0"/>
              <a:t>TMS</a:t>
            </a:r>
            <a:endParaRPr lang="en-US" sz="1200" dirty="0">
              <a:latin typeface="+mn-lt"/>
            </a:endParaRPr>
          </a:p>
        </p:txBody>
      </p:sp>
      <p:sp>
        <p:nvSpPr>
          <p:cNvPr id="12" name="TextBox1071967051">
            <a:extLst>
              <a:ext uri="{FF2B5EF4-FFF2-40B4-BE49-F238E27FC236}">
                <a16:creationId xmlns:a16="http://schemas.microsoft.com/office/drawing/2014/main" id="{3EB14CBE-5C9F-41C3-007D-504046B55275}"/>
              </a:ext>
            </a:extLst>
          </p:cNvPr>
          <p:cNvSpPr txBox="1"/>
          <p:nvPr/>
        </p:nvSpPr>
        <p:spPr>
          <a:xfrm>
            <a:off x="6023775" y="1697703"/>
            <a:ext cx="2359677" cy="4611022"/>
          </a:xfrm>
          <a:prstGeom prst="roundRect">
            <a:avLst>
              <a:gd name="adj" fmla="val 1161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72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algn="ctr"/>
            <a:r>
              <a:rPr lang="en-US" sz="1600" b="1" dirty="0"/>
              <a:t>Complexity</a:t>
            </a:r>
          </a:p>
          <a:p>
            <a:pPr algn="ctr"/>
            <a:endParaRPr lang="en-US" sz="1600" b="1" dirty="0"/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9D9B7601-A797-0A67-D70A-5757E4DCD344}"/>
              </a:ext>
            </a:extLst>
          </p:cNvPr>
          <p:cNvGrpSpPr/>
          <p:nvPr/>
        </p:nvGrpSpPr>
        <p:grpSpPr>
          <a:xfrm>
            <a:off x="6952052" y="2216153"/>
            <a:ext cx="522217" cy="4066777"/>
            <a:chOff x="6946266" y="2216153"/>
            <a:chExt cx="522217" cy="4066777"/>
          </a:xfrm>
        </p:grpSpPr>
        <p:pic>
          <p:nvPicPr>
            <p:cNvPr id="40" name="Arrow_01">
              <a:extLst>
                <a:ext uri="{FF2B5EF4-FFF2-40B4-BE49-F238E27FC236}">
                  <a16:creationId xmlns:a16="http://schemas.microsoft.com/office/drawing/2014/main" id="{C09E807C-B555-68D6-5B1F-B6A105A2432C}"/>
                </a:ext>
              </a:extLst>
            </p:cNvPr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 rot="5400000">
              <a:off x="5379758" y="4194206"/>
              <a:ext cx="3669521" cy="507928"/>
            </a:xfrm>
            <a:prstGeom prst="rect">
              <a:avLst/>
            </a:prstGeom>
          </p:spPr>
        </p:pic>
        <p:pic>
          <p:nvPicPr>
            <p:cNvPr id="41" name="Arrow_01">
              <a:extLst>
                <a:ext uri="{FF2B5EF4-FFF2-40B4-BE49-F238E27FC236}">
                  <a16:creationId xmlns:a16="http://schemas.microsoft.com/office/drawing/2014/main" id="{4AAC212E-B486-BEBB-821F-096C43489552}"/>
                </a:ext>
              </a:extLst>
            </p:cNvPr>
            <p:cNvPicPr>
              <a:picLocks noChangeAspect="1"/>
            </p:cNvPicPr>
            <p:nvPr>
              <p:custDataLst>
                <p:tags r:id="rId18"/>
              </p:custDataLst>
            </p:nvPr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rcRect l="20871" r="61153"/>
            <a:stretch/>
          </p:blipFill>
          <p:spPr>
            <a:xfrm rot="5400000">
              <a:off x="6870414" y="2292005"/>
              <a:ext cx="659632" cy="507928"/>
            </a:xfrm>
            <a:prstGeom prst="rect">
              <a:avLst/>
            </a:prstGeom>
          </p:spPr>
        </p:pic>
      </p:grp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5C78FA56-5F38-F4E6-55D7-945F64DBAE3D}"/>
              </a:ext>
            </a:extLst>
          </p:cNvPr>
          <p:cNvSpPr/>
          <p:nvPr/>
        </p:nvSpPr>
        <p:spPr>
          <a:xfrm>
            <a:off x="6271260" y="2453640"/>
            <a:ext cx="1858463" cy="3596640"/>
          </a:xfrm>
          <a:custGeom>
            <a:avLst/>
            <a:gdLst>
              <a:gd name="connsiteX0" fmla="*/ 1844040 w 1977848"/>
              <a:gd name="connsiteY0" fmla="*/ 0 h 3596640"/>
              <a:gd name="connsiteX1" fmla="*/ 906780 w 1977848"/>
              <a:gd name="connsiteY1" fmla="*/ 548640 h 3596640"/>
              <a:gd name="connsiteX2" fmla="*/ 1844040 w 1977848"/>
              <a:gd name="connsiteY2" fmla="*/ 1188720 h 3596640"/>
              <a:gd name="connsiteX3" fmla="*/ 0 w 1977848"/>
              <a:gd name="connsiteY3" fmla="*/ 1775460 h 3596640"/>
              <a:gd name="connsiteX4" fmla="*/ 1844040 w 1977848"/>
              <a:gd name="connsiteY4" fmla="*/ 2385060 h 3596640"/>
              <a:gd name="connsiteX5" fmla="*/ 1836420 w 1977848"/>
              <a:gd name="connsiteY5" fmla="*/ 3002280 h 3596640"/>
              <a:gd name="connsiteX6" fmla="*/ 1851660 w 1977848"/>
              <a:gd name="connsiteY6" fmla="*/ 3596640 h 3596640"/>
              <a:gd name="connsiteX0" fmla="*/ 1844040 w 1858438"/>
              <a:gd name="connsiteY0" fmla="*/ 0 h 3596640"/>
              <a:gd name="connsiteX1" fmla="*/ 906780 w 1858438"/>
              <a:gd name="connsiteY1" fmla="*/ 548640 h 3596640"/>
              <a:gd name="connsiteX2" fmla="*/ 1844040 w 1858438"/>
              <a:gd name="connsiteY2" fmla="*/ 1188720 h 3596640"/>
              <a:gd name="connsiteX3" fmla="*/ 0 w 1858438"/>
              <a:gd name="connsiteY3" fmla="*/ 1775460 h 3596640"/>
              <a:gd name="connsiteX4" fmla="*/ 1844040 w 1858438"/>
              <a:gd name="connsiteY4" fmla="*/ 2385060 h 3596640"/>
              <a:gd name="connsiteX5" fmla="*/ 1836420 w 1858438"/>
              <a:gd name="connsiteY5" fmla="*/ 3002280 h 3596640"/>
              <a:gd name="connsiteX6" fmla="*/ 1851660 w 1858438"/>
              <a:gd name="connsiteY6" fmla="*/ 3596640 h 3596640"/>
              <a:gd name="connsiteX0" fmla="*/ 1844040 w 1858438"/>
              <a:gd name="connsiteY0" fmla="*/ 0 h 3596640"/>
              <a:gd name="connsiteX1" fmla="*/ 906780 w 1858438"/>
              <a:gd name="connsiteY1" fmla="*/ 548640 h 3596640"/>
              <a:gd name="connsiteX2" fmla="*/ 1844040 w 1858438"/>
              <a:gd name="connsiteY2" fmla="*/ 1188720 h 3596640"/>
              <a:gd name="connsiteX3" fmla="*/ 0 w 1858438"/>
              <a:gd name="connsiteY3" fmla="*/ 1775460 h 3596640"/>
              <a:gd name="connsiteX4" fmla="*/ 1848803 w 1858438"/>
              <a:gd name="connsiteY4" fmla="*/ 2401729 h 3596640"/>
              <a:gd name="connsiteX5" fmla="*/ 1836420 w 1858438"/>
              <a:gd name="connsiteY5" fmla="*/ 3002280 h 3596640"/>
              <a:gd name="connsiteX6" fmla="*/ 1851660 w 1858438"/>
              <a:gd name="connsiteY6" fmla="*/ 3596640 h 3596640"/>
              <a:gd name="connsiteX0" fmla="*/ 1844040 w 1986104"/>
              <a:gd name="connsiteY0" fmla="*/ 0 h 3596640"/>
              <a:gd name="connsiteX1" fmla="*/ 906780 w 1986104"/>
              <a:gd name="connsiteY1" fmla="*/ 548640 h 3596640"/>
              <a:gd name="connsiteX2" fmla="*/ 1844040 w 1986104"/>
              <a:gd name="connsiteY2" fmla="*/ 1188720 h 3596640"/>
              <a:gd name="connsiteX3" fmla="*/ 0 w 1986104"/>
              <a:gd name="connsiteY3" fmla="*/ 1775460 h 3596640"/>
              <a:gd name="connsiteX4" fmla="*/ 1848803 w 1986104"/>
              <a:gd name="connsiteY4" fmla="*/ 2401729 h 3596640"/>
              <a:gd name="connsiteX5" fmla="*/ 1850708 w 1986104"/>
              <a:gd name="connsiteY5" fmla="*/ 3002280 h 3596640"/>
              <a:gd name="connsiteX6" fmla="*/ 1851660 w 1986104"/>
              <a:gd name="connsiteY6" fmla="*/ 3596640 h 3596640"/>
              <a:gd name="connsiteX0" fmla="*/ 1844040 w 1858438"/>
              <a:gd name="connsiteY0" fmla="*/ 0 h 3596640"/>
              <a:gd name="connsiteX1" fmla="*/ 906780 w 1858438"/>
              <a:gd name="connsiteY1" fmla="*/ 548640 h 3596640"/>
              <a:gd name="connsiteX2" fmla="*/ 1844040 w 1858438"/>
              <a:gd name="connsiteY2" fmla="*/ 1188720 h 3596640"/>
              <a:gd name="connsiteX3" fmla="*/ 0 w 1858438"/>
              <a:gd name="connsiteY3" fmla="*/ 1775460 h 3596640"/>
              <a:gd name="connsiteX4" fmla="*/ 1848803 w 1858438"/>
              <a:gd name="connsiteY4" fmla="*/ 2401729 h 3596640"/>
              <a:gd name="connsiteX5" fmla="*/ 1850708 w 1858438"/>
              <a:gd name="connsiteY5" fmla="*/ 3002280 h 3596640"/>
              <a:gd name="connsiteX6" fmla="*/ 1851660 w 1858438"/>
              <a:gd name="connsiteY6" fmla="*/ 3596640 h 3596640"/>
              <a:gd name="connsiteX0" fmla="*/ 1844040 w 1851660"/>
              <a:gd name="connsiteY0" fmla="*/ 0 h 3596640"/>
              <a:gd name="connsiteX1" fmla="*/ 906780 w 1851660"/>
              <a:gd name="connsiteY1" fmla="*/ 548640 h 3596640"/>
              <a:gd name="connsiteX2" fmla="*/ 1844040 w 1851660"/>
              <a:gd name="connsiteY2" fmla="*/ 1188720 h 3596640"/>
              <a:gd name="connsiteX3" fmla="*/ 0 w 1851660"/>
              <a:gd name="connsiteY3" fmla="*/ 1775460 h 3596640"/>
              <a:gd name="connsiteX4" fmla="*/ 1848803 w 1851660"/>
              <a:gd name="connsiteY4" fmla="*/ 2401729 h 3596640"/>
              <a:gd name="connsiteX5" fmla="*/ 1850708 w 1851660"/>
              <a:gd name="connsiteY5" fmla="*/ 3002280 h 3596640"/>
              <a:gd name="connsiteX6" fmla="*/ 1851660 w 1851660"/>
              <a:gd name="connsiteY6" fmla="*/ 3596640 h 3596640"/>
              <a:gd name="connsiteX0" fmla="*/ 1844040 w 1856650"/>
              <a:gd name="connsiteY0" fmla="*/ 0 h 3596640"/>
              <a:gd name="connsiteX1" fmla="*/ 906780 w 1856650"/>
              <a:gd name="connsiteY1" fmla="*/ 548640 h 3596640"/>
              <a:gd name="connsiteX2" fmla="*/ 1851184 w 1856650"/>
              <a:gd name="connsiteY2" fmla="*/ 1167289 h 3596640"/>
              <a:gd name="connsiteX3" fmla="*/ 0 w 1856650"/>
              <a:gd name="connsiteY3" fmla="*/ 1775460 h 3596640"/>
              <a:gd name="connsiteX4" fmla="*/ 1848803 w 1856650"/>
              <a:gd name="connsiteY4" fmla="*/ 2401729 h 3596640"/>
              <a:gd name="connsiteX5" fmla="*/ 1850708 w 1856650"/>
              <a:gd name="connsiteY5" fmla="*/ 3002280 h 3596640"/>
              <a:gd name="connsiteX6" fmla="*/ 1851660 w 1856650"/>
              <a:gd name="connsiteY6" fmla="*/ 3596640 h 3596640"/>
              <a:gd name="connsiteX0" fmla="*/ 1844040 w 1851660"/>
              <a:gd name="connsiteY0" fmla="*/ 0 h 3596640"/>
              <a:gd name="connsiteX1" fmla="*/ 906780 w 1851660"/>
              <a:gd name="connsiteY1" fmla="*/ 548640 h 3596640"/>
              <a:gd name="connsiteX2" fmla="*/ 1851184 w 1851660"/>
              <a:gd name="connsiteY2" fmla="*/ 1167289 h 3596640"/>
              <a:gd name="connsiteX3" fmla="*/ 0 w 1851660"/>
              <a:gd name="connsiteY3" fmla="*/ 1775460 h 3596640"/>
              <a:gd name="connsiteX4" fmla="*/ 1848803 w 1851660"/>
              <a:gd name="connsiteY4" fmla="*/ 2401729 h 3596640"/>
              <a:gd name="connsiteX5" fmla="*/ 1850708 w 1851660"/>
              <a:gd name="connsiteY5" fmla="*/ 3002280 h 3596640"/>
              <a:gd name="connsiteX6" fmla="*/ 1851660 w 1851660"/>
              <a:gd name="connsiteY6" fmla="*/ 3596640 h 3596640"/>
              <a:gd name="connsiteX0" fmla="*/ 1844040 w 1858463"/>
              <a:gd name="connsiteY0" fmla="*/ 0 h 3596640"/>
              <a:gd name="connsiteX1" fmla="*/ 687705 w 1858463"/>
              <a:gd name="connsiteY1" fmla="*/ 577215 h 3596640"/>
              <a:gd name="connsiteX2" fmla="*/ 1851184 w 1858463"/>
              <a:gd name="connsiteY2" fmla="*/ 1167289 h 3596640"/>
              <a:gd name="connsiteX3" fmla="*/ 0 w 1858463"/>
              <a:gd name="connsiteY3" fmla="*/ 1775460 h 3596640"/>
              <a:gd name="connsiteX4" fmla="*/ 1848803 w 1858463"/>
              <a:gd name="connsiteY4" fmla="*/ 2401729 h 3596640"/>
              <a:gd name="connsiteX5" fmla="*/ 1850708 w 1858463"/>
              <a:gd name="connsiteY5" fmla="*/ 3002280 h 3596640"/>
              <a:gd name="connsiteX6" fmla="*/ 1851660 w 1858463"/>
              <a:gd name="connsiteY6" fmla="*/ 3596640 h 3596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63" h="3596640">
                <a:moveTo>
                  <a:pt x="1844040" y="0"/>
                </a:moveTo>
                <a:cubicBezTo>
                  <a:pt x="1375410" y="175260"/>
                  <a:pt x="686514" y="382667"/>
                  <a:pt x="687705" y="577215"/>
                </a:cubicBezTo>
                <a:cubicBezTo>
                  <a:pt x="688896" y="771763"/>
                  <a:pt x="1965802" y="967582"/>
                  <a:pt x="1851184" y="1167289"/>
                </a:cubicBezTo>
                <a:cubicBezTo>
                  <a:pt x="1736567" y="1366997"/>
                  <a:pt x="397" y="1569720"/>
                  <a:pt x="0" y="1775460"/>
                </a:cubicBezTo>
                <a:cubicBezTo>
                  <a:pt x="-397" y="1981200"/>
                  <a:pt x="1854677" y="2232978"/>
                  <a:pt x="1848803" y="2401729"/>
                </a:cubicBezTo>
                <a:cubicBezTo>
                  <a:pt x="1842929" y="2570480"/>
                  <a:pt x="1849438" y="2800350"/>
                  <a:pt x="1850708" y="3002280"/>
                </a:cubicBezTo>
                <a:cubicBezTo>
                  <a:pt x="1851978" y="3204210"/>
                  <a:pt x="1844675" y="3400425"/>
                  <a:pt x="1851660" y="3596640"/>
                </a:cubicBezTo>
              </a:path>
            </a:pathLst>
          </a:custGeom>
          <a:noFill/>
          <a:ln w="28575">
            <a:solidFill>
              <a:schemeClr val="tx2"/>
            </a:solidFill>
          </a:ln>
        </p:spPr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172" name="114 minus (red)">
            <a:extLst>
              <a:ext uri="{FF2B5EF4-FFF2-40B4-BE49-F238E27FC236}">
                <a16:creationId xmlns:a16="http://schemas.microsoft.com/office/drawing/2014/main" id="{1BA9518B-71AE-A281-63CD-8C3D946AFA98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7928898" y="5853252"/>
            <a:ext cx="384225" cy="384225"/>
          </a:xfrm>
          <a:prstGeom prst="rect">
            <a:avLst/>
          </a:prstGeom>
        </p:spPr>
      </p:pic>
      <p:pic>
        <p:nvPicPr>
          <p:cNvPr id="7173" name="114 minus (red)">
            <a:extLst>
              <a:ext uri="{FF2B5EF4-FFF2-40B4-BE49-F238E27FC236}">
                <a16:creationId xmlns:a16="http://schemas.microsoft.com/office/drawing/2014/main" id="{372DA418-4D28-5ACC-703D-C6F229183F78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7928898" y="5248450"/>
            <a:ext cx="384225" cy="384225"/>
          </a:xfrm>
          <a:prstGeom prst="rect">
            <a:avLst/>
          </a:prstGeom>
        </p:spPr>
      </p:pic>
      <p:pic>
        <p:nvPicPr>
          <p:cNvPr id="7174" name="114 minus (red)">
            <a:extLst>
              <a:ext uri="{FF2B5EF4-FFF2-40B4-BE49-F238E27FC236}">
                <a16:creationId xmlns:a16="http://schemas.microsoft.com/office/drawing/2014/main" id="{84746D30-6ED0-DAD1-C279-DE207AE9665B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7928898" y="4643646"/>
            <a:ext cx="384225" cy="384225"/>
          </a:xfrm>
          <a:prstGeom prst="rect">
            <a:avLst/>
          </a:prstGeom>
        </p:spPr>
      </p:pic>
      <p:pic>
        <p:nvPicPr>
          <p:cNvPr id="7175" name="114 minus (red)">
            <a:extLst>
              <a:ext uri="{FF2B5EF4-FFF2-40B4-BE49-F238E27FC236}">
                <a16:creationId xmlns:a16="http://schemas.microsoft.com/office/drawing/2014/main" id="{844231E3-5DCD-5282-FDCA-5FA23D582203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6117311" y="4038842"/>
            <a:ext cx="384225" cy="384225"/>
          </a:xfrm>
          <a:prstGeom prst="rect">
            <a:avLst/>
          </a:prstGeom>
        </p:spPr>
      </p:pic>
      <p:pic>
        <p:nvPicPr>
          <p:cNvPr id="7176" name="114 minus (red)">
            <a:extLst>
              <a:ext uri="{FF2B5EF4-FFF2-40B4-BE49-F238E27FC236}">
                <a16:creationId xmlns:a16="http://schemas.microsoft.com/office/drawing/2014/main" id="{1E627859-780C-0D63-1256-A837EE5F6B14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7928898" y="3434038"/>
            <a:ext cx="384225" cy="384225"/>
          </a:xfrm>
          <a:prstGeom prst="rect">
            <a:avLst/>
          </a:prstGeom>
        </p:spPr>
      </p:pic>
      <p:pic>
        <p:nvPicPr>
          <p:cNvPr id="7177" name="114 minus (red)">
            <a:extLst>
              <a:ext uri="{FF2B5EF4-FFF2-40B4-BE49-F238E27FC236}">
                <a16:creationId xmlns:a16="http://schemas.microsoft.com/office/drawing/2014/main" id="{CAA712BE-1072-C84E-AB10-3C8F5279B9C0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6768127" y="2829234"/>
            <a:ext cx="384225" cy="384225"/>
          </a:xfrm>
          <a:prstGeom prst="rect">
            <a:avLst/>
          </a:prstGeom>
        </p:spPr>
      </p:pic>
      <p:pic>
        <p:nvPicPr>
          <p:cNvPr id="7178" name="114 minus (red)">
            <a:extLst>
              <a:ext uri="{FF2B5EF4-FFF2-40B4-BE49-F238E27FC236}">
                <a16:creationId xmlns:a16="http://schemas.microsoft.com/office/drawing/2014/main" id="{A24C77BF-0477-342B-BD9F-F1C211201883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7928899" y="2263087"/>
            <a:ext cx="384225" cy="384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343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9EFB6E3-D622-EBD5-2A8E-27A81AF454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EFB6E3-D622-EBD5-2A8E-27A81AF454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1415048340">
            <a:extLst>
              <a:ext uri="{FF2B5EF4-FFF2-40B4-BE49-F238E27FC236}">
                <a16:creationId xmlns:a16="http://schemas.microsoft.com/office/drawing/2014/main" id="{631E9283-7A84-EAE4-8189-EDA86022E48D}"/>
              </a:ext>
            </a:extLst>
          </p:cNvPr>
          <p:cNvSpPr txBox="1"/>
          <p:nvPr/>
        </p:nvSpPr>
        <p:spPr>
          <a:xfrm>
            <a:off x="1352550" y="4954822"/>
            <a:ext cx="6524624" cy="1353903"/>
          </a:xfrm>
          <a:prstGeom prst="roundRect">
            <a:avLst>
              <a:gd name="adj" fmla="val 3752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pic>
        <p:nvPicPr>
          <p:cNvPr id="1040" name="Picture 16" descr="Charging solutions for electric trucks and buses | Scania Group">
            <a:extLst>
              <a:ext uri="{FF2B5EF4-FFF2-40B4-BE49-F238E27FC236}">
                <a16:creationId xmlns:a16="http://schemas.microsoft.com/office/drawing/2014/main" id="{D79B2D98-F2F8-A918-63AA-F0445C3F31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5730" y="4958886"/>
            <a:ext cx="3085345" cy="1349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191F621B-EB35-0ADF-2C0F-D16DCF4E3A2B}"/>
              </a:ext>
            </a:extLst>
          </p:cNvPr>
          <p:cNvSpPr/>
          <p:nvPr/>
        </p:nvSpPr>
        <p:spPr>
          <a:xfrm>
            <a:off x="2028826" y="4958886"/>
            <a:ext cx="2762249" cy="1349839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  <a:alpha val="29000"/>
                </a:schemeClr>
              </a:gs>
              <a:gs pos="35000">
                <a:schemeClr val="accent3">
                  <a:lumMod val="40000"/>
                  <a:lumOff val="60000"/>
                  <a:alpha val="62000"/>
                </a:schemeClr>
              </a:gs>
              <a:gs pos="81000">
                <a:schemeClr val="accent3">
                  <a:lumMod val="40000"/>
                  <a:lumOff val="60000"/>
                  <a:alpha val="78000"/>
                </a:schemeClr>
              </a:gs>
              <a:gs pos="62000">
                <a:schemeClr val="accent3">
                  <a:lumMod val="40000"/>
                  <a:lumOff val="60000"/>
                  <a:alpha val="76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1415048340">
            <a:extLst>
              <a:ext uri="{FF2B5EF4-FFF2-40B4-BE49-F238E27FC236}">
                <a16:creationId xmlns:a16="http://schemas.microsoft.com/office/drawing/2014/main" id="{CD48D08A-81B4-5BF5-9F6D-06039849933C}"/>
              </a:ext>
            </a:extLst>
          </p:cNvPr>
          <p:cNvSpPr txBox="1"/>
          <p:nvPr/>
        </p:nvSpPr>
        <p:spPr>
          <a:xfrm>
            <a:off x="2448578" y="3314055"/>
            <a:ext cx="5428596" cy="1353903"/>
          </a:xfrm>
          <a:prstGeom prst="roundRect">
            <a:avLst>
              <a:gd name="adj" fmla="val 3752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pic>
        <p:nvPicPr>
          <p:cNvPr id="1036" name="Picture 12" descr="Interest sparks in electric trucks | Page 7 | Freight News">
            <a:extLst>
              <a:ext uri="{FF2B5EF4-FFF2-40B4-BE49-F238E27FC236}">
                <a16:creationId xmlns:a16="http://schemas.microsoft.com/office/drawing/2014/main" id="{B28B1BE3-FE3E-73A3-508A-61483128F4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7894" y="3319038"/>
            <a:ext cx="2533181" cy="1348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CB8DE9B1-5444-C13B-AC85-7A9A827CED13}"/>
              </a:ext>
            </a:extLst>
          </p:cNvPr>
          <p:cNvSpPr/>
          <p:nvPr/>
        </p:nvSpPr>
        <p:spPr>
          <a:xfrm>
            <a:off x="2136774" y="3318118"/>
            <a:ext cx="2654301" cy="1349839"/>
          </a:xfrm>
          <a:prstGeom prst="rect">
            <a:avLst/>
          </a:prstGeom>
          <a:gradFill flip="none" rotWithShape="1">
            <a:gsLst>
              <a:gs pos="0">
                <a:srgbClr val="CCE7EC">
                  <a:alpha val="29000"/>
                </a:srgbClr>
              </a:gs>
              <a:gs pos="35000">
                <a:srgbClr val="CCE7EC">
                  <a:alpha val="62000"/>
                </a:srgbClr>
              </a:gs>
              <a:gs pos="81000">
                <a:srgbClr val="CCE7EC">
                  <a:alpha val="78000"/>
                </a:srgbClr>
              </a:gs>
              <a:gs pos="62000">
                <a:srgbClr val="CCE7EC">
                  <a:alpha val="76000"/>
                </a:srgbClr>
              </a:gs>
              <a:gs pos="100000">
                <a:schemeClr val="bg1"/>
              </a:gs>
            </a:gsLst>
            <a:lin ang="0" scaled="1"/>
            <a:tileRect/>
          </a:gra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1415048340">
            <a:extLst>
              <a:ext uri="{FF2B5EF4-FFF2-40B4-BE49-F238E27FC236}">
                <a16:creationId xmlns:a16="http://schemas.microsoft.com/office/drawing/2014/main" id="{416D05B9-B9AA-5485-DDED-E90FB21778D1}"/>
              </a:ext>
            </a:extLst>
          </p:cNvPr>
          <p:cNvSpPr txBox="1"/>
          <p:nvPr/>
        </p:nvSpPr>
        <p:spPr>
          <a:xfrm>
            <a:off x="1352550" y="1700213"/>
            <a:ext cx="6524624" cy="1353903"/>
          </a:xfrm>
          <a:prstGeom prst="roundRect">
            <a:avLst>
              <a:gd name="adj" fmla="val 3752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pic>
        <p:nvPicPr>
          <p:cNvPr id="1034" name="Picture 10" descr="High performance heavy duty electric vehicles require high performance  battery thermal management equipment | CEJN (US)">
            <a:extLst>
              <a:ext uri="{FF2B5EF4-FFF2-40B4-BE49-F238E27FC236}">
                <a16:creationId xmlns:a16="http://schemas.microsoft.com/office/drawing/2014/main" id="{623BCFAB-DE03-0073-FBF1-AEAF7C0644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8" t="4974" r="44737" b="27456"/>
          <a:stretch/>
        </p:blipFill>
        <p:spPr bwMode="auto">
          <a:xfrm>
            <a:off x="2282825" y="1709053"/>
            <a:ext cx="2508250" cy="1344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FFDFF9C6-999E-B50E-462D-DF57DDEC9B3D}"/>
              </a:ext>
            </a:extLst>
          </p:cNvPr>
          <p:cNvSpPr/>
          <p:nvPr/>
        </p:nvSpPr>
        <p:spPr>
          <a:xfrm>
            <a:off x="2136774" y="1703946"/>
            <a:ext cx="2654301" cy="1349839"/>
          </a:xfrm>
          <a:prstGeom prst="rect">
            <a:avLst/>
          </a:prstGeom>
          <a:gradFill flip="none" rotWithShape="1">
            <a:gsLst>
              <a:gs pos="0">
                <a:srgbClr val="F1CDD5">
                  <a:alpha val="27000"/>
                </a:srgbClr>
              </a:gs>
              <a:gs pos="35000">
                <a:srgbClr val="F1CDD5">
                  <a:alpha val="62000"/>
                </a:srgbClr>
              </a:gs>
              <a:gs pos="81000">
                <a:srgbClr val="F1CDD5">
                  <a:alpha val="78000"/>
                </a:srgbClr>
              </a:gs>
              <a:gs pos="62000">
                <a:srgbClr val="F1CDD5">
                  <a:alpha val="76000"/>
                </a:srgbClr>
              </a:gs>
              <a:gs pos="100000">
                <a:schemeClr val="bg1"/>
              </a:gs>
            </a:gsLst>
            <a:lin ang="0" scaled="1"/>
            <a:tileRect/>
          </a:gra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5AEAFC-5EA9-923C-54D2-7A146E77C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13</a:t>
            </a:fld>
            <a:endParaRPr lang="en-US"/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60C3151-840E-73EA-19B3-CC9B7A65F251}"/>
              </a:ext>
            </a:extLst>
          </p:cNvPr>
          <p:cNvGrpSpPr/>
          <p:nvPr/>
        </p:nvGrpSpPr>
        <p:grpSpPr>
          <a:xfrm>
            <a:off x="4942812" y="1880010"/>
            <a:ext cx="2771364" cy="997710"/>
            <a:chOff x="4942812" y="1902847"/>
            <a:chExt cx="2771364" cy="997710"/>
          </a:xfrm>
        </p:grpSpPr>
        <p:sp>
          <p:nvSpPr>
            <p:cNvPr id="1045" name="TextBox 1044">
              <a:extLst>
                <a:ext uri="{FF2B5EF4-FFF2-40B4-BE49-F238E27FC236}">
                  <a16:creationId xmlns:a16="http://schemas.microsoft.com/office/drawing/2014/main" id="{821F835D-85DA-7EC0-3A57-969C3F31BE6C}"/>
                </a:ext>
              </a:extLst>
            </p:cNvPr>
            <p:cNvSpPr txBox="1"/>
            <p:nvPr/>
          </p:nvSpPr>
          <p:spPr>
            <a:xfrm>
              <a:off x="4942812" y="1902847"/>
              <a:ext cx="2771364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/>
              <a:r>
                <a:rPr lang="en-US" sz="2800" b="1">
                  <a:solidFill>
                    <a:schemeClr val="tx2"/>
                  </a:solidFill>
                  <a:latin typeface="+mn-lt"/>
                </a:rPr>
                <a:t>PERFORMANCE</a:t>
              </a:r>
            </a:p>
          </p:txBody>
        </p:sp>
        <p:sp>
          <p:nvSpPr>
            <p:cNvPr id="1048" name="TextBox 1047">
              <a:extLst>
                <a:ext uri="{FF2B5EF4-FFF2-40B4-BE49-F238E27FC236}">
                  <a16:creationId xmlns:a16="http://schemas.microsoft.com/office/drawing/2014/main" id="{CA85B7BC-261D-729C-1E79-CDC672EE0934}"/>
                </a:ext>
              </a:extLst>
            </p:cNvPr>
            <p:cNvSpPr txBox="1"/>
            <p:nvPr/>
          </p:nvSpPr>
          <p:spPr>
            <a:xfrm>
              <a:off x="4942812" y="2469670"/>
              <a:ext cx="2771364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accent2"/>
                  </a:solidFill>
                  <a:latin typeface="+mn-lt"/>
                </a:rPr>
                <a:t>Cooling / heating / efficiency / functionality optimization 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79493F1-E88E-0715-6717-BFE70B021AE7}"/>
              </a:ext>
            </a:extLst>
          </p:cNvPr>
          <p:cNvGrpSpPr/>
          <p:nvPr/>
        </p:nvGrpSpPr>
        <p:grpSpPr>
          <a:xfrm>
            <a:off x="4942812" y="3495351"/>
            <a:ext cx="2771364" cy="995374"/>
            <a:chOff x="4942812" y="3517019"/>
            <a:chExt cx="2771364" cy="995374"/>
          </a:xfrm>
        </p:grpSpPr>
        <p:sp>
          <p:nvSpPr>
            <p:cNvPr id="1046" name="TextBox 1045">
              <a:extLst>
                <a:ext uri="{FF2B5EF4-FFF2-40B4-BE49-F238E27FC236}">
                  <a16:creationId xmlns:a16="http://schemas.microsoft.com/office/drawing/2014/main" id="{DF393335-B74F-1DAF-95B7-B017F7EC4411}"/>
                </a:ext>
              </a:extLst>
            </p:cNvPr>
            <p:cNvSpPr txBox="1"/>
            <p:nvPr/>
          </p:nvSpPr>
          <p:spPr>
            <a:xfrm>
              <a:off x="4942812" y="3517019"/>
              <a:ext cx="2771364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/>
              <a:r>
                <a:rPr lang="en-US" sz="2800" b="1">
                  <a:solidFill>
                    <a:schemeClr val="accent4"/>
                  </a:solidFill>
                  <a:latin typeface="+mn-lt"/>
                </a:rPr>
                <a:t>INTEGRATION</a:t>
              </a:r>
            </a:p>
          </p:txBody>
        </p:sp>
        <p:sp>
          <p:nvSpPr>
            <p:cNvPr id="1049" name="TextBox 1048">
              <a:extLst>
                <a:ext uri="{FF2B5EF4-FFF2-40B4-BE49-F238E27FC236}">
                  <a16:creationId xmlns:a16="http://schemas.microsoft.com/office/drawing/2014/main" id="{2ADB75BB-FE31-4C3D-0186-E926361908BC}"/>
                </a:ext>
              </a:extLst>
            </p:cNvPr>
            <p:cNvSpPr txBox="1"/>
            <p:nvPr/>
          </p:nvSpPr>
          <p:spPr>
            <a:xfrm>
              <a:off x="4942812" y="4081506"/>
              <a:ext cx="2771364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accent2"/>
                  </a:solidFill>
                </a:rPr>
                <a:t>Complexity and cost reduction, portfolio synergies</a:t>
              </a:r>
              <a:endParaRPr lang="en-US" sz="1400">
                <a:solidFill>
                  <a:schemeClr val="accent2"/>
                </a:solidFill>
                <a:latin typeface="+mn-lt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45F60B8-1837-DF61-FB9B-33F1C3B87B4E}"/>
              </a:ext>
            </a:extLst>
          </p:cNvPr>
          <p:cNvGrpSpPr/>
          <p:nvPr/>
        </p:nvGrpSpPr>
        <p:grpSpPr>
          <a:xfrm>
            <a:off x="4858470" y="5131203"/>
            <a:ext cx="2940048" cy="1005206"/>
            <a:chOff x="4858470" y="5157787"/>
            <a:chExt cx="2940048" cy="1005206"/>
          </a:xfrm>
        </p:grpSpPr>
        <p:sp>
          <p:nvSpPr>
            <p:cNvPr id="1047" name="TextBox 1046">
              <a:extLst>
                <a:ext uri="{FF2B5EF4-FFF2-40B4-BE49-F238E27FC236}">
                  <a16:creationId xmlns:a16="http://schemas.microsoft.com/office/drawing/2014/main" id="{5F6A4649-4CDA-354F-578F-6552C9CA27B6}"/>
                </a:ext>
              </a:extLst>
            </p:cNvPr>
            <p:cNvSpPr txBox="1"/>
            <p:nvPr/>
          </p:nvSpPr>
          <p:spPr>
            <a:xfrm>
              <a:off x="4858470" y="5157787"/>
              <a:ext cx="2940048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/>
              <a:r>
                <a:rPr lang="en-US" sz="2800" b="1">
                  <a:solidFill>
                    <a:schemeClr val="accent3"/>
                  </a:solidFill>
                  <a:latin typeface="+mn-lt"/>
                </a:rPr>
                <a:t>SUSTAINABILITY</a:t>
              </a:r>
            </a:p>
          </p:txBody>
        </p:sp>
        <p:sp>
          <p:nvSpPr>
            <p:cNvPr id="1050" name="TextBox 1049">
              <a:extLst>
                <a:ext uri="{FF2B5EF4-FFF2-40B4-BE49-F238E27FC236}">
                  <a16:creationId xmlns:a16="http://schemas.microsoft.com/office/drawing/2014/main" id="{03D9C7F3-2E4E-724B-618B-4AE6B13C8EBF}"/>
                </a:ext>
              </a:extLst>
            </p:cNvPr>
            <p:cNvSpPr txBox="1"/>
            <p:nvPr/>
          </p:nvSpPr>
          <p:spPr>
            <a:xfrm>
              <a:off x="4942812" y="5732106"/>
              <a:ext cx="2771364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accent2"/>
                  </a:solidFill>
                </a:rPr>
                <a:t>Environmental and safety compliance</a:t>
              </a:r>
              <a:endParaRPr lang="en-US" sz="1400">
                <a:solidFill>
                  <a:schemeClr val="accent2"/>
                </a:solidFill>
                <a:latin typeface="+mn-lt"/>
              </a:endParaRPr>
            </a:p>
          </p:txBody>
        </p:sp>
      </p:grpSp>
      <p:pic>
        <p:nvPicPr>
          <p:cNvPr id="30" name="Arrow_09">
            <a:extLst>
              <a:ext uri="{FF2B5EF4-FFF2-40B4-BE49-F238E27FC236}">
                <a16:creationId xmlns:a16="http://schemas.microsoft.com/office/drawing/2014/main" id="{B02BC971-D2A5-2EB3-B8C2-AA6CDAFE60D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2600000">
            <a:off x="7856272" y="1988461"/>
            <a:ext cx="6019200" cy="1843856"/>
          </a:xfrm>
          <a:prstGeom prst="rect">
            <a:avLst/>
          </a:prstGeom>
        </p:spPr>
      </p:pic>
      <p:sp>
        <p:nvSpPr>
          <p:cNvPr id="32" name="TextBox789276798">
            <a:extLst>
              <a:ext uri="{FF2B5EF4-FFF2-40B4-BE49-F238E27FC236}">
                <a16:creationId xmlns:a16="http://schemas.microsoft.com/office/drawing/2014/main" id="{67BBD741-3439-9B24-59C3-32AEBBAB515F}"/>
              </a:ext>
            </a:extLst>
          </p:cNvPr>
          <p:cNvSpPr txBox="1"/>
          <p:nvPr/>
        </p:nvSpPr>
        <p:spPr>
          <a:xfrm>
            <a:off x="8266338" y="2460047"/>
            <a:ext cx="2325450" cy="3061920"/>
          </a:xfrm>
          <a:prstGeom prst="roundRect">
            <a:avLst>
              <a:gd name="adj" fmla="val 2185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algn="ctr"/>
            <a:r>
              <a:rPr lang="en-US" b="1"/>
              <a:t>Multiple int. or ext. influence factors</a:t>
            </a:r>
          </a:p>
          <a:p>
            <a:pPr algn="ctr"/>
            <a:endParaRPr lang="en-US" err="1"/>
          </a:p>
        </p:txBody>
      </p:sp>
      <p:pic>
        <p:nvPicPr>
          <p:cNvPr id="33" name="Arrow_09">
            <a:extLst>
              <a:ext uri="{FF2B5EF4-FFF2-40B4-BE49-F238E27FC236}">
                <a16:creationId xmlns:a16="http://schemas.microsoft.com/office/drawing/2014/main" id="{BA263D0D-6F55-6290-9FB9-616B823DE95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9000000" flipV="1">
            <a:off x="7856272" y="4235859"/>
            <a:ext cx="6019200" cy="1843856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531210C6-4D6F-702C-B9F9-91069E344926}"/>
              </a:ext>
            </a:extLst>
          </p:cNvPr>
          <p:cNvSpPr txBox="1"/>
          <p:nvPr/>
        </p:nvSpPr>
        <p:spPr>
          <a:xfrm>
            <a:off x="8938169" y="3261360"/>
            <a:ext cx="1524509" cy="350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1200">
                <a:latin typeface="+mn-lt"/>
              </a:rPr>
              <a:t>Powertrain components trends</a:t>
            </a:r>
          </a:p>
        </p:txBody>
      </p:sp>
      <p:pic>
        <p:nvPicPr>
          <p:cNvPr id="36" name="1395 Battery vehicle assembly">
            <a:extLst>
              <a:ext uri="{FF2B5EF4-FFF2-40B4-BE49-F238E27FC236}">
                <a16:creationId xmlns:a16="http://schemas.microsoft.com/office/drawing/2014/main" id="{21241252-9924-73EC-87C4-6EFAFD267A4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344995" y="3179245"/>
            <a:ext cx="499510" cy="499510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4211123E-217F-DD4F-97C7-5F1457F372AE}"/>
              </a:ext>
            </a:extLst>
          </p:cNvPr>
          <p:cNvGrpSpPr/>
          <p:nvPr/>
        </p:nvGrpSpPr>
        <p:grpSpPr>
          <a:xfrm>
            <a:off x="8411485" y="3931012"/>
            <a:ext cx="366530" cy="392067"/>
            <a:chOff x="12148587" y="4852548"/>
            <a:chExt cx="944138" cy="1009918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AE57158-8731-31B7-CC4C-B3528564A770}"/>
                </a:ext>
              </a:extLst>
            </p:cNvPr>
            <p:cNvSpPr/>
            <p:nvPr/>
          </p:nvSpPr>
          <p:spPr>
            <a:xfrm>
              <a:off x="12148587" y="4852548"/>
              <a:ext cx="944138" cy="1009918"/>
            </a:xfrm>
            <a:custGeom>
              <a:avLst/>
              <a:gdLst>
                <a:gd name="connsiteX0" fmla="*/ 795834 w 944138"/>
                <a:gd name="connsiteY0" fmla="*/ 1009881 h 1009918"/>
                <a:gd name="connsiteX1" fmla="*/ 784309 w 944138"/>
                <a:gd name="connsiteY1" fmla="*/ 1001023 h 1009918"/>
                <a:gd name="connsiteX2" fmla="*/ 807264 w 944138"/>
                <a:gd name="connsiteY2" fmla="*/ 670315 h 1009918"/>
                <a:gd name="connsiteX3" fmla="*/ 912992 w 944138"/>
                <a:gd name="connsiteY3" fmla="*/ 290649 h 1009918"/>
                <a:gd name="connsiteX4" fmla="*/ 757449 w 944138"/>
                <a:gd name="connsiteY4" fmla="*/ 92529 h 1009918"/>
                <a:gd name="connsiteX5" fmla="*/ 307202 w 944138"/>
                <a:gd name="connsiteY5" fmla="*/ 81765 h 1009918"/>
                <a:gd name="connsiteX6" fmla="*/ 153754 w 944138"/>
                <a:gd name="connsiteY6" fmla="*/ 301602 h 1009918"/>
                <a:gd name="connsiteX7" fmla="*/ 158993 w 944138"/>
                <a:gd name="connsiteY7" fmla="*/ 439143 h 1009918"/>
                <a:gd name="connsiteX8" fmla="*/ 156040 w 944138"/>
                <a:gd name="connsiteY8" fmla="*/ 449145 h 1009918"/>
                <a:gd name="connsiteX9" fmla="*/ 24024 w 944138"/>
                <a:gd name="connsiteY9" fmla="*/ 594020 h 1009918"/>
                <a:gd name="connsiteX10" fmla="*/ 24786 w 944138"/>
                <a:gd name="connsiteY10" fmla="*/ 607545 h 1009918"/>
                <a:gd name="connsiteX11" fmla="*/ 118416 w 944138"/>
                <a:gd name="connsiteY11" fmla="*/ 627453 h 1009918"/>
                <a:gd name="connsiteX12" fmla="*/ 131180 w 944138"/>
                <a:gd name="connsiteY12" fmla="*/ 634120 h 1009918"/>
                <a:gd name="connsiteX13" fmla="*/ 153373 w 944138"/>
                <a:gd name="connsiteY13" fmla="*/ 813571 h 1009918"/>
                <a:gd name="connsiteX14" fmla="*/ 152706 w 944138"/>
                <a:gd name="connsiteY14" fmla="*/ 815476 h 1009918"/>
                <a:gd name="connsiteX15" fmla="*/ 153754 w 944138"/>
                <a:gd name="connsiteY15" fmla="*/ 879198 h 1009918"/>
                <a:gd name="connsiteX16" fmla="*/ 253005 w 944138"/>
                <a:gd name="connsiteY16" fmla="*/ 905773 h 1009918"/>
                <a:gd name="connsiteX17" fmla="*/ 370257 w 944138"/>
                <a:gd name="connsiteY17" fmla="*/ 884532 h 1009918"/>
                <a:gd name="connsiteX18" fmla="*/ 383211 w 944138"/>
                <a:gd name="connsiteY18" fmla="*/ 891295 h 1009918"/>
                <a:gd name="connsiteX19" fmla="*/ 410929 w 944138"/>
                <a:gd name="connsiteY19" fmla="*/ 999975 h 1009918"/>
                <a:gd name="connsiteX20" fmla="*/ 397213 w 944138"/>
                <a:gd name="connsiteY20" fmla="*/ 1009786 h 1009918"/>
                <a:gd name="connsiteX21" fmla="*/ 387402 w 944138"/>
                <a:gd name="connsiteY21" fmla="*/ 996070 h 1009918"/>
                <a:gd name="connsiteX22" fmla="*/ 365209 w 944138"/>
                <a:gd name="connsiteY22" fmla="*/ 909678 h 1009918"/>
                <a:gd name="connsiteX23" fmla="*/ 256529 w 944138"/>
                <a:gd name="connsiteY23" fmla="*/ 929395 h 1009918"/>
                <a:gd name="connsiteX24" fmla="*/ 255195 w 944138"/>
                <a:gd name="connsiteY24" fmla="*/ 929586 h 1009918"/>
                <a:gd name="connsiteX25" fmla="*/ 134133 w 944138"/>
                <a:gd name="connsiteY25" fmla="*/ 892724 h 1009918"/>
                <a:gd name="connsiteX26" fmla="*/ 130608 w 944138"/>
                <a:gd name="connsiteY26" fmla="*/ 806713 h 1009918"/>
                <a:gd name="connsiteX27" fmla="*/ 113082 w 944138"/>
                <a:gd name="connsiteY27" fmla="*/ 652313 h 1009918"/>
                <a:gd name="connsiteX28" fmla="*/ 5545 w 944138"/>
                <a:gd name="connsiteY28" fmla="*/ 622976 h 1009918"/>
                <a:gd name="connsiteX29" fmla="*/ 1354 w 944138"/>
                <a:gd name="connsiteY29" fmla="*/ 614499 h 1009918"/>
                <a:gd name="connsiteX30" fmla="*/ 21 w 944138"/>
                <a:gd name="connsiteY30" fmla="*/ 590400 h 1009918"/>
                <a:gd name="connsiteX31" fmla="*/ 3069 w 944138"/>
                <a:gd name="connsiteY31" fmla="*/ 581733 h 1009918"/>
                <a:gd name="connsiteX32" fmla="*/ 134609 w 944138"/>
                <a:gd name="connsiteY32" fmla="*/ 437238 h 1009918"/>
                <a:gd name="connsiteX33" fmla="*/ 129942 w 944138"/>
                <a:gd name="connsiteY33" fmla="*/ 301888 h 1009918"/>
                <a:gd name="connsiteX34" fmla="*/ 295296 w 944138"/>
                <a:gd name="connsiteY34" fmla="*/ 61096 h 1009918"/>
                <a:gd name="connsiteX35" fmla="*/ 769926 w 944138"/>
                <a:gd name="connsiteY35" fmla="*/ 72240 h 1009918"/>
                <a:gd name="connsiteX36" fmla="*/ 936233 w 944138"/>
                <a:gd name="connsiteY36" fmla="*/ 285315 h 1009918"/>
                <a:gd name="connsiteX37" fmla="*/ 827362 w 944138"/>
                <a:gd name="connsiteY37" fmla="*/ 683079 h 1009918"/>
                <a:gd name="connsiteX38" fmla="*/ 807360 w 944138"/>
                <a:gd name="connsiteY38" fmla="*/ 994927 h 1009918"/>
                <a:gd name="connsiteX39" fmla="*/ 798882 w 944138"/>
                <a:gd name="connsiteY39" fmla="*/ 1009500 h 1009918"/>
                <a:gd name="connsiteX40" fmla="*/ 795834 w 944138"/>
                <a:gd name="connsiteY40" fmla="*/ 1009881 h 100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44138" h="1009918">
                  <a:moveTo>
                    <a:pt x="795834" y="1009881"/>
                  </a:moveTo>
                  <a:cubicBezTo>
                    <a:pt x="790596" y="1009881"/>
                    <a:pt x="785738" y="1006357"/>
                    <a:pt x="784309" y="1001023"/>
                  </a:cubicBezTo>
                  <a:cubicBezTo>
                    <a:pt x="782023" y="992546"/>
                    <a:pt x="730302" y="791092"/>
                    <a:pt x="807264" y="670315"/>
                  </a:cubicBezTo>
                  <a:cubicBezTo>
                    <a:pt x="902610" y="520677"/>
                    <a:pt x="937185" y="396471"/>
                    <a:pt x="912992" y="290649"/>
                  </a:cubicBezTo>
                  <a:cubicBezTo>
                    <a:pt x="894894" y="211686"/>
                    <a:pt x="842602" y="145011"/>
                    <a:pt x="757449" y="92529"/>
                  </a:cubicBezTo>
                  <a:cubicBezTo>
                    <a:pt x="615717" y="4994"/>
                    <a:pt x="447410" y="993"/>
                    <a:pt x="307202" y="81765"/>
                  </a:cubicBezTo>
                  <a:cubicBezTo>
                    <a:pt x="211761" y="136725"/>
                    <a:pt x="151563" y="223021"/>
                    <a:pt x="153754" y="301602"/>
                  </a:cubicBezTo>
                  <a:cubicBezTo>
                    <a:pt x="153754" y="303031"/>
                    <a:pt x="153754" y="408378"/>
                    <a:pt x="158993" y="439143"/>
                  </a:cubicBezTo>
                  <a:cubicBezTo>
                    <a:pt x="159564" y="442763"/>
                    <a:pt x="158517" y="446382"/>
                    <a:pt x="156040" y="449145"/>
                  </a:cubicBezTo>
                  <a:lnTo>
                    <a:pt x="24024" y="594020"/>
                  </a:lnTo>
                  <a:lnTo>
                    <a:pt x="24786" y="607545"/>
                  </a:lnTo>
                  <a:cubicBezTo>
                    <a:pt x="36120" y="615261"/>
                    <a:pt x="71077" y="635454"/>
                    <a:pt x="118416" y="627453"/>
                  </a:cubicBezTo>
                  <a:cubicBezTo>
                    <a:pt x="123655" y="626691"/>
                    <a:pt x="128894" y="629262"/>
                    <a:pt x="131180" y="634120"/>
                  </a:cubicBezTo>
                  <a:cubicBezTo>
                    <a:pt x="132990" y="638025"/>
                    <a:pt x="175662" y="730037"/>
                    <a:pt x="153373" y="813571"/>
                  </a:cubicBezTo>
                  <a:cubicBezTo>
                    <a:pt x="153183" y="814238"/>
                    <a:pt x="152992" y="814809"/>
                    <a:pt x="152706" y="815476"/>
                  </a:cubicBezTo>
                  <a:cubicBezTo>
                    <a:pt x="152516" y="815857"/>
                    <a:pt x="135942" y="853576"/>
                    <a:pt x="153754" y="879198"/>
                  </a:cubicBezTo>
                  <a:cubicBezTo>
                    <a:pt x="168042" y="899772"/>
                    <a:pt x="202236" y="908916"/>
                    <a:pt x="253005" y="905773"/>
                  </a:cubicBezTo>
                  <a:lnTo>
                    <a:pt x="370257" y="884532"/>
                  </a:lnTo>
                  <a:cubicBezTo>
                    <a:pt x="375591" y="883580"/>
                    <a:pt x="380925" y="886342"/>
                    <a:pt x="383211" y="891295"/>
                  </a:cubicBezTo>
                  <a:cubicBezTo>
                    <a:pt x="386640" y="898725"/>
                    <a:pt x="416739" y="965209"/>
                    <a:pt x="410929" y="999975"/>
                  </a:cubicBezTo>
                  <a:cubicBezTo>
                    <a:pt x="409881" y="1006452"/>
                    <a:pt x="403785" y="1010739"/>
                    <a:pt x="397213" y="1009786"/>
                  </a:cubicBezTo>
                  <a:cubicBezTo>
                    <a:pt x="390736" y="1008738"/>
                    <a:pt x="386355" y="1002547"/>
                    <a:pt x="387402" y="996070"/>
                  </a:cubicBezTo>
                  <a:cubicBezTo>
                    <a:pt x="390831" y="975687"/>
                    <a:pt x="374925" y="932538"/>
                    <a:pt x="365209" y="909678"/>
                  </a:cubicBezTo>
                  <a:lnTo>
                    <a:pt x="256529" y="929395"/>
                  </a:lnTo>
                  <a:cubicBezTo>
                    <a:pt x="256529" y="929395"/>
                    <a:pt x="255576" y="929490"/>
                    <a:pt x="255195" y="929586"/>
                  </a:cubicBezTo>
                  <a:cubicBezTo>
                    <a:pt x="194426" y="933586"/>
                    <a:pt x="153659" y="921108"/>
                    <a:pt x="134133" y="892724"/>
                  </a:cubicBezTo>
                  <a:cubicBezTo>
                    <a:pt x="110415" y="858339"/>
                    <a:pt x="127465" y="814143"/>
                    <a:pt x="130608" y="806713"/>
                  </a:cubicBezTo>
                  <a:cubicBezTo>
                    <a:pt x="146706" y="745086"/>
                    <a:pt x="122417" y="675459"/>
                    <a:pt x="113082" y="652313"/>
                  </a:cubicBezTo>
                  <a:cubicBezTo>
                    <a:pt x="49360" y="659076"/>
                    <a:pt x="7450" y="624500"/>
                    <a:pt x="5545" y="622976"/>
                  </a:cubicBezTo>
                  <a:cubicBezTo>
                    <a:pt x="3069" y="620880"/>
                    <a:pt x="1545" y="617832"/>
                    <a:pt x="1354" y="614499"/>
                  </a:cubicBezTo>
                  <a:lnTo>
                    <a:pt x="21" y="590400"/>
                  </a:lnTo>
                  <a:cubicBezTo>
                    <a:pt x="-170" y="587257"/>
                    <a:pt x="973" y="584114"/>
                    <a:pt x="3069" y="581733"/>
                  </a:cubicBezTo>
                  <a:lnTo>
                    <a:pt x="134609" y="437238"/>
                  </a:lnTo>
                  <a:cubicBezTo>
                    <a:pt x="129942" y="399519"/>
                    <a:pt x="129942" y="306079"/>
                    <a:pt x="129942" y="301888"/>
                  </a:cubicBezTo>
                  <a:cubicBezTo>
                    <a:pt x="127465" y="213687"/>
                    <a:pt x="190806" y="121294"/>
                    <a:pt x="295296" y="61096"/>
                  </a:cubicBezTo>
                  <a:cubicBezTo>
                    <a:pt x="443219" y="-24153"/>
                    <a:pt x="620670" y="-19962"/>
                    <a:pt x="769926" y="72240"/>
                  </a:cubicBezTo>
                  <a:cubicBezTo>
                    <a:pt x="860700" y="128247"/>
                    <a:pt x="916611" y="199971"/>
                    <a:pt x="936233" y="285315"/>
                  </a:cubicBezTo>
                  <a:cubicBezTo>
                    <a:pt x="974428" y="452193"/>
                    <a:pt x="863748" y="625929"/>
                    <a:pt x="827362" y="683079"/>
                  </a:cubicBezTo>
                  <a:cubicBezTo>
                    <a:pt x="755925" y="795188"/>
                    <a:pt x="806883" y="992927"/>
                    <a:pt x="807360" y="994927"/>
                  </a:cubicBezTo>
                  <a:cubicBezTo>
                    <a:pt x="809074" y="1001309"/>
                    <a:pt x="805264" y="1007786"/>
                    <a:pt x="798882" y="1009500"/>
                  </a:cubicBezTo>
                  <a:cubicBezTo>
                    <a:pt x="797835" y="1009786"/>
                    <a:pt x="796882" y="1009881"/>
                    <a:pt x="795834" y="10098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97E2229-B7A4-9EB2-8CB3-BF4FE4D292B8}"/>
                </a:ext>
              </a:extLst>
            </p:cNvPr>
            <p:cNvSpPr/>
            <p:nvPr/>
          </p:nvSpPr>
          <p:spPr>
            <a:xfrm>
              <a:off x="12428453" y="5187822"/>
              <a:ext cx="330224" cy="329231"/>
            </a:xfrm>
            <a:custGeom>
              <a:avLst/>
              <a:gdLst>
                <a:gd name="connsiteX0" fmla="*/ 330041 w 330224"/>
                <a:gd name="connsiteY0" fmla="*/ 131588 h 329231"/>
                <a:gd name="connsiteX1" fmla="*/ 306038 w 330224"/>
                <a:gd name="connsiteY1" fmla="*/ 76343 h 329231"/>
                <a:gd name="connsiteX2" fmla="*/ 303181 w 330224"/>
                <a:gd name="connsiteY2" fmla="*/ 75200 h 329231"/>
                <a:gd name="connsiteX3" fmla="*/ 269748 w 330224"/>
                <a:gd name="connsiteY3" fmla="*/ 89773 h 329231"/>
                <a:gd name="connsiteX4" fmla="*/ 243840 w 330224"/>
                <a:gd name="connsiteY4" fmla="*/ 63198 h 329231"/>
                <a:gd name="connsiteX5" fmla="*/ 258128 w 330224"/>
                <a:gd name="connsiteY5" fmla="*/ 27003 h 329231"/>
                <a:gd name="connsiteX6" fmla="*/ 256889 w 330224"/>
                <a:gd name="connsiteY6" fmla="*/ 24146 h 329231"/>
                <a:gd name="connsiteX7" fmla="*/ 200882 w 330224"/>
                <a:gd name="connsiteY7" fmla="*/ 2048 h 329231"/>
                <a:gd name="connsiteX8" fmla="*/ 199263 w 330224"/>
                <a:gd name="connsiteY8" fmla="*/ 2048 h 329231"/>
                <a:gd name="connsiteX9" fmla="*/ 198120 w 330224"/>
                <a:gd name="connsiteY9" fmla="*/ 3286 h 329231"/>
                <a:gd name="connsiteX10" fmla="*/ 184690 w 330224"/>
                <a:gd name="connsiteY10" fmla="*/ 37481 h 329231"/>
                <a:gd name="connsiteX11" fmla="*/ 163925 w 330224"/>
                <a:gd name="connsiteY11" fmla="*/ 35766 h 329231"/>
                <a:gd name="connsiteX12" fmla="*/ 146685 w 330224"/>
                <a:gd name="connsiteY12" fmla="*/ 36909 h 329231"/>
                <a:gd name="connsiteX13" fmla="*/ 130778 w 330224"/>
                <a:gd name="connsiteY13" fmla="*/ 1286 h 329231"/>
                <a:gd name="connsiteX14" fmla="*/ 129540 w 330224"/>
                <a:gd name="connsiteY14" fmla="*/ 143 h 329231"/>
                <a:gd name="connsiteX15" fmla="*/ 127921 w 330224"/>
                <a:gd name="connsiteY15" fmla="*/ 143 h 329231"/>
                <a:gd name="connsiteX16" fmla="*/ 72962 w 330224"/>
                <a:gd name="connsiteY16" fmla="*/ 24622 h 329231"/>
                <a:gd name="connsiteX17" fmla="*/ 71819 w 330224"/>
                <a:gd name="connsiteY17" fmla="*/ 27480 h 329231"/>
                <a:gd name="connsiteX18" fmla="*/ 86677 w 330224"/>
                <a:gd name="connsiteY18" fmla="*/ 60912 h 329231"/>
                <a:gd name="connsiteX19" fmla="*/ 61531 w 330224"/>
                <a:gd name="connsiteY19" fmla="*/ 85011 h 329231"/>
                <a:gd name="connsiteX20" fmla="*/ 25622 w 330224"/>
                <a:gd name="connsiteY20" fmla="*/ 70533 h 329231"/>
                <a:gd name="connsiteX21" fmla="*/ 22765 w 330224"/>
                <a:gd name="connsiteY21" fmla="*/ 71771 h 329231"/>
                <a:gd name="connsiteX22" fmla="*/ 191 w 330224"/>
                <a:gd name="connsiteY22" fmla="*/ 127587 h 329231"/>
                <a:gd name="connsiteX23" fmla="*/ 1429 w 330224"/>
                <a:gd name="connsiteY23" fmla="*/ 130445 h 329231"/>
                <a:gd name="connsiteX24" fmla="*/ 34862 w 330224"/>
                <a:gd name="connsiteY24" fmla="*/ 143970 h 329231"/>
                <a:gd name="connsiteX25" fmla="*/ 32766 w 330224"/>
                <a:gd name="connsiteY25" fmla="*/ 166926 h 329231"/>
                <a:gd name="connsiteX26" fmla="*/ 34195 w 330224"/>
                <a:gd name="connsiteY26" fmla="*/ 185976 h 329231"/>
                <a:gd name="connsiteX27" fmla="*/ 0 w 330224"/>
                <a:gd name="connsiteY27" fmla="*/ 201216 h 329231"/>
                <a:gd name="connsiteX28" fmla="*/ 24479 w 330224"/>
                <a:gd name="connsiteY28" fmla="*/ 256175 h 329231"/>
                <a:gd name="connsiteX29" fmla="*/ 56483 w 330224"/>
                <a:gd name="connsiteY29" fmla="*/ 241887 h 329231"/>
                <a:gd name="connsiteX30" fmla="*/ 86011 w 330224"/>
                <a:gd name="connsiteY30" fmla="*/ 272272 h 329231"/>
                <a:gd name="connsiteX31" fmla="*/ 72771 w 330224"/>
                <a:gd name="connsiteY31" fmla="*/ 306753 h 329231"/>
                <a:gd name="connsiteX32" fmla="*/ 128968 w 330224"/>
                <a:gd name="connsiteY32" fmla="*/ 328279 h 329231"/>
                <a:gd name="connsiteX33" fmla="*/ 141351 w 330224"/>
                <a:gd name="connsiteY33" fmla="*/ 295989 h 329231"/>
                <a:gd name="connsiteX34" fmla="*/ 163735 w 330224"/>
                <a:gd name="connsiteY34" fmla="*/ 297990 h 329231"/>
                <a:gd name="connsiteX35" fmla="*/ 186214 w 330224"/>
                <a:gd name="connsiteY35" fmla="*/ 295989 h 329231"/>
                <a:gd name="connsiteX36" fmla="*/ 201739 w 330224"/>
                <a:gd name="connsiteY36" fmla="*/ 329232 h 329231"/>
                <a:gd name="connsiteX37" fmla="*/ 256318 w 330224"/>
                <a:gd name="connsiteY37" fmla="*/ 303800 h 329231"/>
                <a:gd name="connsiteX38" fmla="*/ 241554 w 330224"/>
                <a:gd name="connsiteY38" fmla="*/ 272272 h 329231"/>
                <a:gd name="connsiteX39" fmla="*/ 267081 w 330224"/>
                <a:gd name="connsiteY39" fmla="*/ 247412 h 329231"/>
                <a:gd name="connsiteX40" fmla="*/ 302038 w 330224"/>
                <a:gd name="connsiteY40" fmla="*/ 261509 h 329231"/>
                <a:gd name="connsiteX41" fmla="*/ 302895 w 330224"/>
                <a:gd name="connsiteY41" fmla="*/ 261699 h 329231"/>
                <a:gd name="connsiteX42" fmla="*/ 304895 w 330224"/>
                <a:gd name="connsiteY42" fmla="*/ 260366 h 329231"/>
                <a:gd name="connsiteX43" fmla="*/ 327470 w 330224"/>
                <a:gd name="connsiteY43" fmla="*/ 204549 h 329231"/>
                <a:gd name="connsiteX44" fmla="*/ 326231 w 330224"/>
                <a:gd name="connsiteY44" fmla="*/ 201692 h 329231"/>
                <a:gd name="connsiteX45" fmla="*/ 293084 w 330224"/>
                <a:gd name="connsiteY45" fmla="*/ 188262 h 329231"/>
                <a:gd name="connsiteX46" fmla="*/ 294894 w 330224"/>
                <a:gd name="connsiteY46" fmla="*/ 166830 h 329231"/>
                <a:gd name="connsiteX47" fmla="*/ 293751 w 330224"/>
                <a:gd name="connsiteY47" fmla="*/ 149590 h 329231"/>
                <a:gd name="connsiteX48" fmla="*/ 328898 w 330224"/>
                <a:gd name="connsiteY48" fmla="*/ 134350 h 329231"/>
                <a:gd name="connsiteX49" fmla="*/ 330041 w 330224"/>
                <a:gd name="connsiteY49" fmla="*/ 131493 h 329231"/>
                <a:gd name="connsiteX50" fmla="*/ 225362 w 330224"/>
                <a:gd name="connsiteY50" fmla="*/ 244840 h 329231"/>
                <a:gd name="connsiteX51" fmla="*/ 219742 w 330224"/>
                <a:gd name="connsiteY51" fmla="*/ 249031 h 329231"/>
                <a:gd name="connsiteX52" fmla="*/ 190214 w 330224"/>
                <a:gd name="connsiteY52" fmla="*/ 262461 h 329231"/>
                <a:gd name="connsiteX53" fmla="*/ 163925 w 330224"/>
                <a:gd name="connsiteY53" fmla="*/ 266081 h 329231"/>
                <a:gd name="connsiteX54" fmla="*/ 137636 w 330224"/>
                <a:gd name="connsiteY54" fmla="*/ 262461 h 329231"/>
                <a:gd name="connsiteX55" fmla="*/ 108109 w 330224"/>
                <a:gd name="connsiteY55" fmla="*/ 248936 h 329231"/>
                <a:gd name="connsiteX56" fmla="*/ 102584 w 330224"/>
                <a:gd name="connsiteY56" fmla="*/ 244840 h 329231"/>
                <a:gd name="connsiteX57" fmla="*/ 64008 w 330224"/>
                <a:gd name="connsiteY57" fmla="*/ 166164 h 329231"/>
                <a:gd name="connsiteX58" fmla="*/ 164020 w 330224"/>
                <a:gd name="connsiteY58" fmla="*/ 66151 h 329231"/>
                <a:gd name="connsiteX59" fmla="*/ 264033 w 330224"/>
                <a:gd name="connsiteY59" fmla="*/ 166164 h 329231"/>
                <a:gd name="connsiteX60" fmla="*/ 225552 w 330224"/>
                <a:gd name="connsiteY60" fmla="*/ 244840 h 329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330224" h="329231">
                  <a:moveTo>
                    <a:pt x="330041" y="131588"/>
                  </a:moveTo>
                  <a:lnTo>
                    <a:pt x="306038" y="76343"/>
                  </a:lnTo>
                  <a:cubicBezTo>
                    <a:pt x="305562" y="75200"/>
                    <a:pt x="304324" y="74724"/>
                    <a:pt x="303181" y="75200"/>
                  </a:cubicBezTo>
                  <a:lnTo>
                    <a:pt x="269748" y="89773"/>
                  </a:lnTo>
                  <a:cubicBezTo>
                    <a:pt x="262414" y="79772"/>
                    <a:pt x="253651" y="70818"/>
                    <a:pt x="243840" y="63198"/>
                  </a:cubicBezTo>
                  <a:lnTo>
                    <a:pt x="258128" y="27003"/>
                  </a:lnTo>
                  <a:cubicBezTo>
                    <a:pt x="258604" y="25860"/>
                    <a:pt x="258032" y="24622"/>
                    <a:pt x="256889" y="24146"/>
                  </a:cubicBezTo>
                  <a:lnTo>
                    <a:pt x="200882" y="2048"/>
                  </a:lnTo>
                  <a:cubicBezTo>
                    <a:pt x="200311" y="1857"/>
                    <a:pt x="199739" y="1857"/>
                    <a:pt x="199263" y="2048"/>
                  </a:cubicBezTo>
                  <a:cubicBezTo>
                    <a:pt x="198691" y="2238"/>
                    <a:pt x="198310" y="2715"/>
                    <a:pt x="198120" y="3286"/>
                  </a:cubicBezTo>
                  <a:lnTo>
                    <a:pt x="184690" y="37481"/>
                  </a:lnTo>
                  <a:cubicBezTo>
                    <a:pt x="177927" y="36433"/>
                    <a:pt x="170974" y="35766"/>
                    <a:pt x="163925" y="35766"/>
                  </a:cubicBezTo>
                  <a:cubicBezTo>
                    <a:pt x="158020" y="35766"/>
                    <a:pt x="152305" y="36147"/>
                    <a:pt x="146685" y="36909"/>
                  </a:cubicBezTo>
                  <a:lnTo>
                    <a:pt x="130778" y="1286"/>
                  </a:lnTo>
                  <a:cubicBezTo>
                    <a:pt x="130588" y="714"/>
                    <a:pt x="130112" y="333"/>
                    <a:pt x="129540" y="143"/>
                  </a:cubicBezTo>
                  <a:cubicBezTo>
                    <a:pt x="128968" y="-48"/>
                    <a:pt x="128397" y="-48"/>
                    <a:pt x="127921" y="143"/>
                  </a:cubicBezTo>
                  <a:lnTo>
                    <a:pt x="72962" y="24622"/>
                  </a:lnTo>
                  <a:cubicBezTo>
                    <a:pt x="71914" y="25098"/>
                    <a:pt x="71342" y="26432"/>
                    <a:pt x="71819" y="27480"/>
                  </a:cubicBezTo>
                  <a:lnTo>
                    <a:pt x="86677" y="60912"/>
                  </a:lnTo>
                  <a:cubicBezTo>
                    <a:pt x="77248" y="67770"/>
                    <a:pt x="68771" y="75867"/>
                    <a:pt x="61531" y="85011"/>
                  </a:cubicBezTo>
                  <a:lnTo>
                    <a:pt x="25622" y="70533"/>
                  </a:lnTo>
                  <a:cubicBezTo>
                    <a:pt x="24574" y="70056"/>
                    <a:pt x="23241" y="70533"/>
                    <a:pt x="22765" y="71771"/>
                  </a:cubicBezTo>
                  <a:lnTo>
                    <a:pt x="191" y="127587"/>
                  </a:lnTo>
                  <a:cubicBezTo>
                    <a:pt x="-286" y="128730"/>
                    <a:pt x="191" y="129969"/>
                    <a:pt x="1429" y="130445"/>
                  </a:cubicBezTo>
                  <a:lnTo>
                    <a:pt x="34862" y="143970"/>
                  </a:lnTo>
                  <a:cubicBezTo>
                    <a:pt x="33528" y="151400"/>
                    <a:pt x="32766" y="159115"/>
                    <a:pt x="32766" y="166926"/>
                  </a:cubicBezTo>
                  <a:cubicBezTo>
                    <a:pt x="32766" y="173403"/>
                    <a:pt x="33338" y="179784"/>
                    <a:pt x="34195" y="185976"/>
                  </a:cubicBezTo>
                  <a:lnTo>
                    <a:pt x="0" y="201216"/>
                  </a:lnTo>
                  <a:lnTo>
                    <a:pt x="24479" y="256175"/>
                  </a:lnTo>
                  <a:lnTo>
                    <a:pt x="56483" y="241887"/>
                  </a:lnTo>
                  <a:cubicBezTo>
                    <a:pt x="64675" y="253508"/>
                    <a:pt x="74581" y="263795"/>
                    <a:pt x="86011" y="272272"/>
                  </a:cubicBezTo>
                  <a:lnTo>
                    <a:pt x="72771" y="306753"/>
                  </a:lnTo>
                  <a:lnTo>
                    <a:pt x="128968" y="328279"/>
                  </a:lnTo>
                  <a:lnTo>
                    <a:pt x="141351" y="295989"/>
                  </a:lnTo>
                  <a:cubicBezTo>
                    <a:pt x="148685" y="297228"/>
                    <a:pt x="156115" y="297990"/>
                    <a:pt x="163735" y="297990"/>
                  </a:cubicBezTo>
                  <a:cubicBezTo>
                    <a:pt x="171355" y="297990"/>
                    <a:pt x="178880" y="297323"/>
                    <a:pt x="186214" y="295989"/>
                  </a:cubicBezTo>
                  <a:lnTo>
                    <a:pt x="201739" y="329232"/>
                  </a:lnTo>
                  <a:lnTo>
                    <a:pt x="256318" y="303800"/>
                  </a:lnTo>
                  <a:lnTo>
                    <a:pt x="241554" y="272272"/>
                  </a:lnTo>
                  <a:cubicBezTo>
                    <a:pt x="251174" y="265128"/>
                    <a:pt x="259747" y="256746"/>
                    <a:pt x="267081" y="247412"/>
                  </a:cubicBezTo>
                  <a:lnTo>
                    <a:pt x="302038" y="261509"/>
                  </a:lnTo>
                  <a:cubicBezTo>
                    <a:pt x="302038" y="261509"/>
                    <a:pt x="302609" y="261699"/>
                    <a:pt x="302895" y="261699"/>
                  </a:cubicBezTo>
                  <a:cubicBezTo>
                    <a:pt x="303752" y="261699"/>
                    <a:pt x="304610" y="261223"/>
                    <a:pt x="304895" y="260366"/>
                  </a:cubicBezTo>
                  <a:lnTo>
                    <a:pt x="327470" y="204549"/>
                  </a:lnTo>
                  <a:cubicBezTo>
                    <a:pt x="327946" y="203406"/>
                    <a:pt x="327470" y="202168"/>
                    <a:pt x="326231" y="201692"/>
                  </a:cubicBezTo>
                  <a:lnTo>
                    <a:pt x="293084" y="188262"/>
                  </a:lnTo>
                  <a:cubicBezTo>
                    <a:pt x="294227" y="181308"/>
                    <a:pt x="294894" y="174165"/>
                    <a:pt x="294894" y="166830"/>
                  </a:cubicBezTo>
                  <a:cubicBezTo>
                    <a:pt x="294894" y="161020"/>
                    <a:pt x="294513" y="155210"/>
                    <a:pt x="293751" y="149590"/>
                  </a:cubicBezTo>
                  <a:lnTo>
                    <a:pt x="328898" y="134350"/>
                  </a:lnTo>
                  <a:cubicBezTo>
                    <a:pt x="330041" y="133874"/>
                    <a:pt x="330518" y="132636"/>
                    <a:pt x="330041" y="131493"/>
                  </a:cubicBezTo>
                  <a:close/>
                  <a:moveTo>
                    <a:pt x="225362" y="244840"/>
                  </a:moveTo>
                  <a:cubicBezTo>
                    <a:pt x="223552" y="246269"/>
                    <a:pt x="221647" y="247793"/>
                    <a:pt x="219742" y="249031"/>
                  </a:cubicBezTo>
                  <a:cubicBezTo>
                    <a:pt x="210884" y="255032"/>
                    <a:pt x="200882" y="259604"/>
                    <a:pt x="190214" y="262461"/>
                  </a:cubicBezTo>
                  <a:cubicBezTo>
                    <a:pt x="181832" y="264747"/>
                    <a:pt x="172974" y="266081"/>
                    <a:pt x="163925" y="266081"/>
                  </a:cubicBezTo>
                  <a:cubicBezTo>
                    <a:pt x="154876" y="266081"/>
                    <a:pt x="146018" y="264747"/>
                    <a:pt x="137636" y="262461"/>
                  </a:cubicBezTo>
                  <a:cubicBezTo>
                    <a:pt x="126968" y="259509"/>
                    <a:pt x="116967" y="255032"/>
                    <a:pt x="108109" y="248936"/>
                  </a:cubicBezTo>
                  <a:cubicBezTo>
                    <a:pt x="106204" y="247602"/>
                    <a:pt x="104394" y="246174"/>
                    <a:pt x="102584" y="244840"/>
                  </a:cubicBezTo>
                  <a:cubicBezTo>
                    <a:pt x="79153" y="226552"/>
                    <a:pt x="64008" y="198072"/>
                    <a:pt x="64008" y="166164"/>
                  </a:cubicBezTo>
                  <a:cubicBezTo>
                    <a:pt x="64008" y="111014"/>
                    <a:pt x="108871" y="66151"/>
                    <a:pt x="164020" y="66151"/>
                  </a:cubicBezTo>
                  <a:cubicBezTo>
                    <a:pt x="219170" y="66151"/>
                    <a:pt x="264033" y="111014"/>
                    <a:pt x="264033" y="166164"/>
                  </a:cubicBezTo>
                  <a:cubicBezTo>
                    <a:pt x="264033" y="198072"/>
                    <a:pt x="248888" y="226552"/>
                    <a:pt x="225552" y="24484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40D4DC76-943D-E2B4-85EF-1BE89A8F7BDB}"/>
                </a:ext>
              </a:extLst>
            </p:cNvPr>
            <p:cNvSpPr/>
            <p:nvPr/>
          </p:nvSpPr>
          <p:spPr>
            <a:xfrm>
              <a:off x="12678960" y="5029537"/>
              <a:ext cx="243935" cy="245771"/>
            </a:xfrm>
            <a:custGeom>
              <a:avLst/>
              <a:gdLst>
                <a:gd name="connsiteX0" fmla="*/ 216503 w 243935"/>
                <a:gd name="connsiteY0" fmla="*/ 148236 h 245771"/>
                <a:gd name="connsiteX1" fmla="*/ 243935 w 243935"/>
                <a:gd name="connsiteY1" fmla="*/ 148236 h 245771"/>
                <a:gd name="connsiteX2" fmla="*/ 243935 w 243935"/>
                <a:gd name="connsiteY2" fmla="*/ 103754 h 245771"/>
                <a:gd name="connsiteX3" fmla="*/ 217837 w 243935"/>
                <a:gd name="connsiteY3" fmla="*/ 103754 h 245771"/>
                <a:gd name="connsiteX4" fmla="*/ 212789 w 243935"/>
                <a:gd name="connsiteY4" fmla="*/ 86990 h 245771"/>
                <a:gd name="connsiteX5" fmla="*/ 207073 w 243935"/>
                <a:gd name="connsiteY5" fmla="*/ 75370 h 245771"/>
                <a:gd name="connsiteX6" fmla="*/ 226981 w 243935"/>
                <a:gd name="connsiteY6" fmla="*/ 55177 h 245771"/>
                <a:gd name="connsiteX7" fmla="*/ 226981 w 243935"/>
                <a:gd name="connsiteY7" fmla="*/ 53176 h 245771"/>
                <a:gd name="connsiteX8" fmla="*/ 195263 w 243935"/>
                <a:gd name="connsiteY8" fmla="*/ 22030 h 245771"/>
                <a:gd name="connsiteX9" fmla="*/ 194215 w 243935"/>
                <a:gd name="connsiteY9" fmla="*/ 21649 h 245771"/>
                <a:gd name="connsiteX10" fmla="*/ 193167 w 243935"/>
                <a:gd name="connsiteY10" fmla="*/ 22125 h 245771"/>
                <a:gd name="connsiteX11" fmla="*/ 174212 w 243935"/>
                <a:gd name="connsiteY11" fmla="*/ 41365 h 245771"/>
                <a:gd name="connsiteX12" fmla="*/ 148876 w 243935"/>
                <a:gd name="connsiteY12" fmla="*/ 30221 h 245771"/>
                <a:gd name="connsiteX13" fmla="*/ 148590 w 243935"/>
                <a:gd name="connsiteY13" fmla="*/ 1456 h 245771"/>
                <a:gd name="connsiteX14" fmla="*/ 147161 w 243935"/>
                <a:gd name="connsiteY14" fmla="*/ 27 h 245771"/>
                <a:gd name="connsiteX15" fmla="*/ 102679 w 243935"/>
                <a:gd name="connsiteY15" fmla="*/ 408 h 245771"/>
                <a:gd name="connsiteX16" fmla="*/ 101251 w 243935"/>
                <a:gd name="connsiteY16" fmla="*/ 1837 h 245771"/>
                <a:gd name="connsiteX17" fmla="*/ 101441 w 243935"/>
                <a:gd name="connsiteY17" fmla="*/ 29078 h 245771"/>
                <a:gd name="connsiteX18" fmla="*/ 86582 w 243935"/>
                <a:gd name="connsiteY18" fmla="*/ 33650 h 245771"/>
                <a:gd name="connsiteX19" fmla="*/ 74962 w 243935"/>
                <a:gd name="connsiteY19" fmla="*/ 39365 h 245771"/>
                <a:gd name="connsiteX20" fmla="*/ 54197 w 243935"/>
                <a:gd name="connsiteY20" fmla="*/ 19267 h 245771"/>
                <a:gd name="connsiteX21" fmla="*/ 52197 w 243935"/>
                <a:gd name="connsiteY21" fmla="*/ 19267 h 245771"/>
                <a:gd name="connsiteX22" fmla="*/ 21241 w 243935"/>
                <a:gd name="connsiteY22" fmla="*/ 51271 h 245771"/>
                <a:gd name="connsiteX23" fmla="*/ 21241 w 243935"/>
                <a:gd name="connsiteY23" fmla="*/ 53272 h 245771"/>
                <a:gd name="connsiteX24" fmla="*/ 40767 w 243935"/>
                <a:gd name="connsiteY24" fmla="*/ 72131 h 245771"/>
                <a:gd name="connsiteX25" fmla="*/ 30099 w 243935"/>
                <a:gd name="connsiteY25" fmla="*/ 95848 h 245771"/>
                <a:gd name="connsiteX26" fmla="*/ 1429 w 243935"/>
                <a:gd name="connsiteY26" fmla="*/ 95848 h 245771"/>
                <a:gd name="connsiteX27" fmla="*/ 0 w 243935"/>
                <a:gd name="connsiteY27" fmla="*/ 97277 h 245771"/>
                <a:gd name="connsiteX28" fmla="*/ 0 w 243935"/>
                <a:gd name="connsiteY28" fmla="*/ 141759 h 245771"/>
                <a:gd name="connsiteX29" fmla="*/ 1429 w 243935"/>
                <a:gd name="connsiteY29" fmla="*/ 143188 h 245771"/>
                <a:gd name="connsiteX30" fmla="*/ 28099 w 243935"/>
                <a:gd name="connsiteY30" fmla="*/ 143188 h 245771"/>
                <a:gd name="connsiteX31" fmla="*/ 33052 w 243935"/>
                <a:gd name="connsiteY31" fmla="*/ 159666 h 245771"/>
                <a:gd name="connsiteX32" fmla="*/ 38576 w 243935"/>
                <a:gd name="connsiteY32" fmla="*/ 171001 h 245771"/>
                <a:gd name="connsiteX33" fmla="*/ 19050 w 243935"/>
                <a:gd name="connsiteY33" fmla="*/ 191194 h 245771"/>
                <a:gd name="connsiteX34" fmla="*/ 19050 w 243935"/>
                <a:gd name="connsiteY34" fmla="*/ 193194 h 245771"/>
                <a:gd name="connsiteX35" fmla="*/ 51054 w 243935"/>
                <a:gd name="connsiteY35" fmla="*/ 224150 h 245771"/>
                <a:gd name="connsiteX36" fmla="*/ 52102 w 243935"/>
                <a:gd name="connsiteY36" fmla="*/ 224531 h 245771"/>
                <a:gd name="connsiteX37" fmla="*/ 53150 w 243935"/>
                <a:gd name="connsiteY37" fmla="*/ 224055 h 245771"/>
                <a:gd name="connsiteX38" fmla="*/ 71342 w 243935"/>
                <a:gd name="connsiteY38" fmla="*/ 205195 h 245771"/>
                <a:gd name="connsiteX39" fmla="*/ 97346 w 243935"/>
                <a:gd name="connsiteY39" fmla="*/ 216625 h 245771"/>
                <a:gd name="connsiteX40" fmla="*/ 97822 w 243935"/>
                <a:gd name="connsiteY40" fmla="*/ 244343 h 245771"/>
                <a:gd name="connsiteX41" fmla="*/ 98298 w 243935"/>
                <a:gd name="connsiteY41" fmla="*/ 245391 h 245771"/>
                <a:gd name="connsiteX42" fmla="*/ 99346 w 243935"/>
                <a:gd name="connsiteY42" fmla="*/ 245772 h 245771"/>
                <a:gd name="connsiteX43" fmla="*/ 99346 w 243935"/>
                <a:gd name="connsiteY43" fmla="*/ 245772 h 245771"/>
                <a:gd name="connsiteX44" fmla="*/ 143827 w 243935"/>
                <a:gd name="connsiteY44" fmla="*/ 245010 h 245771"/>
                <a:gd name="connsiteX45" fmla="*/ 144875 w 243935"/>
                <a:gd name="connsiteY45" fmla="*/ 244534 h 245771"/>
                <a:gd name="connsiteX46" fmla="*/ 145256 w 243935"/>
                <a:gd name="connsiteY46" fmla="*/ 243486 h 245771"/>
                <a:gd name="connsiteX47" fmla="*/ 144780 w 243935"/>
                <a:gd name="connsiteY47" fmla="*/ 217483 h 245771"/>
                <a:gd name="connsiteX48" fmla="*/ 159258 w 243935"/>
                <a:gd name="connsiteY48" fmla="*/ 213006 h 245771"/>
                <a:gd name="connsiteX49" fmla="*/ 172784 w 243935"/>
                <a:gd name="connsiteY49" fmla="*/ 206148 h 245771"/>
                <a:gd name="connsiteX50" fmla="*/ 192977 w 243935"/>
                <a:gd name="connsiteY50" fmla="*/ 225007 h 245771"/>
                <a:gd name="connsiteX51" fmla="*/ 193929 w 243935"/>
                <a:gd name="connsiteY51" fmla="*/ 225388 h 245771"/>
                <a:gd name="connsiteX52" fmla="*/ 193929 w 243935"/>
                <a:gd name="connsiteY52" fmla="*/ 225388 h 245771"/>
                <a:gd name="connsiteX53" fmla="*/ 194977 w 243935"/>
                <a:gd name="connsiteY53" fmla="*/ 224912 h 245771"/>
                <a:gd name="connsiteX54" fmla="*/ 225362 w 243935"/>
                <a:gd name="connsiteY54" fmla="*/ 192337 h 245771"/>
                <a:gd name="connsiteX55" fmla="*/ 225742 w 243935"/>
                <a:gd name="connsiteY55" fmla="*/ 191289 h 245771"/>
                <a:gd name="connsiteX56" fmla="*/ 225266 w 243935"/>
                <a:gd name="connsiteY56" fmla="*/ 190241 h 245771"/>
                <a:gd name="connsiteX57" fmla="*/ 206216 w 243935"/>
                <a:gd name="connsiteY57" fmla="*/ 172429 h 245771"/>
                <a:gd name="connsiteX58" fmla="*/ 212122 w 243935"/>
                <a:gd name="connsiteY58" fmla="*/ 160904 h 245771"/>
                <a:gd name="connsiteX59" fmla="*/ 216408 w 243935"/>
                <a:gd name="connsiteY59" fmla="*/ 148045 h 245771"/>
                <a:gd name="connsiteX60" fmla="*/ 188595 w 243935"/>
                <a:gd name="connsiteY60" fmla="*/ 151093 h 245771"/>
                <a:gd name="connsiteX61" fmla="*/ 182213 w 243935"/>
                <a:gd name="connsiteY61" fmla="*/ 162523 h 245771"/>
                <a:gd name="connsiteX62" fmla="*/ 179737 w 243935"/>
                <a:gd name="connsiteY62" fmla="*/ 165952 h 245771"/>
                <a:gd name="connsiteX63" fmla="*/ 177832 w 243935"/>
                <a:gd name="connsiteY63" fmla="*/ 168524 h 245771"/>
                <a:gd name="connsiteX64" fmla="*/ 165544 w 243935"/>
                <a:gd name="connsiteY64" fmla="*/ 180811 h 245771"/>
                <a:gd name="connsiteX65" fmla="*/ 161354 w 243935"/>
                <a:gd name="connsiteY65" fmla="*/ 183955 h 245771"/>
                <a:gd name="connsiteX66" fmla="*/ 121063 w 243935"/>
                <a:gd name="connsiteY66" fmla="*/ 196242 h 245771"/>
                <a:gd name="connsiteX67" fmla="*/ 77438 w 243935"/>
                <a:gd name="connsiteY67" fmla="*/ 181478 h 245771"/>
                <a:gd name="connsiteX68" fmla="*/ 73438 w 243935"/>
                <a:gd name="connsiteY68" fmla="*/ 178240 h 245771"/>
                <a:gd name="connsiteX69" fmla="*/ 48577 w 243935"/>
                <a:gd name="connsiteY69" fmla="*/ 123757 h 245771"/>
                <a:gd name="connsiteX70" fmla="*/ 120967 w 243935"/>
                <a:gd name="connsiteY70" fmla="*/ 51367 h 245771"/>
                <a:gd name="connsiteX71" fmla="*/ 143065 w 243935"/>
                <a:gd name="connsiteY71" fmla="*/ 54891 h 245771"/>
                <a:gd name="connsiteX72" fmla="*/ 188881 w 243935"/>
                <a:gd name="connsiteY72" fmla="*/ 96515 h 245771"/>
                <a:gd name="connsiteX73" fmla="*/ 188404 w 243935"/>
                <a:gd name="connsiteY73" fmla="*/ 151093 h 245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243935" h="245771">
                  <a:moveTo>
                    <a:pt x="216503" y="148236"/>
                  </a:moveTo>
                  <a:lnTo>
                    <a:pt x="243935" y="148236"/>
                  </a:lnTo>
                  <a:lnTo>
                    <a:pt x="243935" y="103754"/>
                  </a:lnTo>
                  <a:lnTo>
                    <a:pt x="217837" y="103754"/>
                  </a:lnTo>
                  <a:cubicBezTo>
                    <a:pt x="216694" y="98039"/>
                    <a:pt x="214979" y="92419"/>
                    <a:pt x="212789" y="86990"/>
                  </a:cubicBezTo>
                  <a:cubicBezTo>
                    <a:pt x="211169" y="82894"/>
                    <a:pt x="209169" y="79084"/>
                    <a:pt x="207073" y="75370"/>
                  </a:cubicBezTo>
                  <a:lnTo>
                    <a:pt x="226981" y="55177"/>
                  </a:lnTo>
                  <a:cubicBezTo>
                    <a:pt x="227552" y="54605"/>
                    <a:pt x="227552" y="53653"/>
                    <a:pt x="226981" y="53176"/>
                  </a:cubicBezTo>
                  <a:lnTo>
                    <a:pt x="195263" y="22030"/>
                  </a:lnTo>
                  <a:cubicBezTo>
                    <a:pt x="195263" y="22030"/>
                    <a:pt x="194596" y="21649"/>
                    <a:pt x="194215" y="21649"/>
                  </a:cubicBezTo>
                  <a:cubicBezTo>
                    <a:pt x="193739" y="21553"/>
                    <a:pt x="193453" y="21839"/>
                    <a:pt x="193167" y="22125"/>
                  </a:cubicBezTo>
                  <a:lnTo>
                    <a:pt x="174212" y="41365"/>
                  </a:lnTo>
                  <a:cubicBezTo>
                    <a:pt x="166306" y="36508"/>
                    <a:pt x="157829" y="32698"/>
                    <a:pt x="148876" y="30221"/>
                  </a:cubicBezTo>
                  <a:lnTo>
                    <a:pt x="148590" y="1456"/>
                  </a:lnTo>
                  <a:cubicBezTo>
                    <a:pt x="148590" y="694"/>
                    <a:pt x="148019" y="-164"/>
                    <a:pt x="147161" y="27"/>
                  </a:cubicBezTo>
                  <a:lnTo>
                    <a:pt x="102679" y="408"/>
                  </a:lnTo>
                  <a:cubicBezTo>
                    <a:pt x="101917" y="408"/>
                    <a:pt x="101251" y="1075"/>
                    <a:pt x="101251" y="1837"/>
                  </a:cubicBezTo>
                  <a:lnTo>
                    <a:pt x="101441" y="29078"/>
                  </a:lnTo>
                  <a:cubicBezTo>
                    <a:pt x="96488" y="30221"/>
                    <a:pt x="91440" y="31650"/>
                    <a:pt x="86582" y="33650"/>
                  </a:cubicBezTo>
                  <a:cubicBezTo>
                    <a:pt x="82487" y="35269"/>
                    <a:pt x="78677" y="37270"/>
                    <a:pt x="74962" y="39365"/>
                  </a:cubicBezTo>
                  <a:lnTo>
                    <a:pt x="54197" y="19267"/>
                  </a:lnTo>
                  <a:cubicBezTo>
                    <a:pt x="53626" y="18696"/>
                    <a:pt x="52673" y="18696"/>
                    <a:pt x="52197" y="19267"/>
                  </a:cubicBezTo>
                  <a:lnTo>
                    <a:pt x="21241" y="51271"/>
                  </a:lnTo>
                  <a:cubicBezTo>
                    <a:pt x="20669" y="51843"/>
                    <a:pt x="20669" y="52795"/>
                    <a:pt x="21241" y="53272"/>
                  </a:cubicBezTo>
                  <a:lnTo>
                    <a:pt x="40767" y="72131"/>
                  </a:lnTo>
                  <a:cubicBezTo>
                    <a:pt x="36195" y="79561"/>
                    <a:pt x="32575" y="87466"/>
                    <a:pt x="30099" y="95848"/>
                  </a:cubicBezTo>
                  <a:lnTo>
                    <a:pt x="1429" y="95848"/>
                  </a:lnTo>
                  <a:cubicBezTo>
                    <a:pt x="667" y="95848"/>
                    <a:pt x="0" y="96515"/>
                    <a:pt x="0" y="97277"/>
                  </a:cubicBezTo>
                  <a:lnTo>
                    <a:pt x="0" y="141759"/>
                  </a:lnTo>
                  <a:cubicBezTo>
                    <a:pt x="0" y="142521"/>
                    <a:pt x="667" y="143188"/>
                    <a:pt x="1429" y="143188"/>
                  </a:cubicBezTo>
                  <a:lnTo>
                    <a:pt x="28099" y="143188"/>
                  </a:lnTo>
                  <a:cubicBezTo>
                    <a:pt x="29242" y="148712"/>
                    <a:pt x="30861" y="154237"/>
                    <a:pt x="33052" y="159666"/>
                  </a:cubicBezTo>
                  <a:cubicBezTo>
                    <a:pt x="34671" y="163666"/>
                    <a:pt x="36576" y="167381"/>
                    <a:pt x="38576" y="171001"/>
                  </a:cubicBezTo>
                  <a:lnTo>
                    <a:pt x="19050" y="191194"/>
                  </a:lnTo>
                  <a:cubicBezTo>
                    <a:pt x="18479" y="191765"/>
                    <a:pt x="18479" y="192718"/>
                    <a:pt x="19050" y="193194"/>
                  </a:cubicBezTo>
                  <a:lnTo>
                    <a:pt x="51054" y="224150"/>
                  </a:lnTo>
                  <a:cubicBezTo>
                    <a:pt x="51054" y="224150"/>
                    <a:pt x="51721" y="224531"/>
                    <a:pt x="52102" y="224531"/>
                  </a:cubicBezTo>
                  <a:cubicBezTo>
                    <a:pt x="52483" y="224531"/>
                    <a:pt x="52864" y="224341"/>
                    <a:pt x="53150" y="224055"/>
                  </a:cubicBezTo>
                  <a:lnTo>
                    <a:pt x="71342" y="205195"/>
                  </a:lnTo>
                  <a:cubicBezTo>
                    <a:pt x="79439" y="210244"/>
                    <a:pt x="88202" y="214054"/>
                    <a:pt x="97346" y="216625"/>
                  </a:cubicBezTo>
                  <a:lnTo>
                    <a:pt x="97822" y="244343"/>
                  </a:lnTo>
                  <a:cubicBezTo>
                    <a:pt x="97822" y="244343"/>
                    <a:pt x="98012" y="245105"/>
                    <a:pt x="98298" y="245391"/>
                  </a:cubicBezTo>
                  <a:cubicBezTo>
                    <a:pt x="98584" y="245677"/>
                    <a:pt x="98965" y="245772"/>
                    <a:pt x="99346" y="245772"/>
                  </a:cubicBezTo>
                  <a:lnTo>
                    <a:pt x="99346" y="245772"/>
                  </a:lnTo>
                  <a:lnTo>
                    <a:pt x="143827" y="245010"/>
                  </a:lnTo>
                  <a:cubicBezTo>
                    <a:pt x="143827" y="245010"/>
                    <a:pt x="144590" y="244819"/>
                    <a:pt x="144875" y="244534"/>
                  </a:cubicBezTo>
                  <a:cubicBezTo>
                    <a:pt x="145161" y="244248"/>
                    <a:pt x="145256" y="243867"/>
                    <a:pt x="145256" y="243486"/>
                  </a:cubicBezTo>
                  <a:lnTo>
                    <a:pt x="144780" y="217483"/>
                  </a:lnTo>
                  <a:cubicBezTo>
                    <a:pt x="149638" y="216340"/>
                    <a:pt x="154496" y="214911"/>
                    <a:pt x="159258" y="213006"/>
                  </a:cubicBezTo>
                  <a:cubicBezTo>
                    <a:pt x="164021" y="211101"/>
                    <a:pt x="168497" y="208720"/>
                    <a:pt x="172784" y="206148"/>
                  </a:cubicBezTo>
                  <a:lnTo>
                    <a:pt x="192977" y="225007"/>
                  </a:lnTo>
                  <a:cubicBezTo>
                    <a:pt x="192977" y="225007"/>
                    <a:pt x="193643" y="225388"/>
                    <a:pt x="193929" y="225388"/>
                  </a:cubicBezTo>
                  <a:lnTo>
                    <a:pt x="193929" y="225388"/>
                  </a:lnTo>
                  <a:cubicBezTo>
                    <a:pt x="193929" y="225388"/>
                    <a:pt x="194691" y="225198"/>
                    <a:pt x="194977" y="224912"/>
                  </a:cubicBezTo>
                  <a:lnTo>
                    <a:pt x="225362" y="192337"/>
                  </a:lnTo>
                  <a:cubicBezTo>
                    <a:pt x="225362" y="192337"/>
                    <a:pt x="225742" y="191670"/>
                    <a:pt x="225742" y="191289"/>
                  </a:cubicBezTo>
                  <a:cubicBezTo>
                    <a:pt x="225742" y="190908"/>
                    <a:pt x="225552" y="190527"/>
                    <a:pt x="225266" y="190241"/>
                  </a:cubicBezTo>
                  <a:lnTo>
                    <a:pt x="206216" y="172429"/>
                  </a:lnTo>
                  <a:cubicBezTo>
                    <a:pt x="208407" y="168715"/>
                    <a:pt x="210407" y="164905"/>
                    <a:pt x="212122" y="160904"/>
                  </a:cubicBezTo>
                  <a:cubicBezTo>
                    <a:pt x="213931" y="156713"/>
                    <a:pt x="215265" y="152332"/>
                    <a:pt x="216408" y="148045"/>
                  </a:cubicBezTo>
                  <a:close/>
                  <a:moveTo>
                    <a:pt x="188595" y="151093"/>
                  </a:moveTo>
                  <a:cubicBezTo>
                    <a:pt x="186881" y="155189"/>
                    <a:pt x="184690" y="158904"/>
                    <a:pt x="182213" y="162523"/>
                  </a:cubicBezTo>
                  <a:cubicBezTo>
                    <a:pt x="181451" y="163762"/>
                    <a:pt x="180594" y="164809"/>
                    <a:pt x="179737" y="165952"/>
                  </a:cubicBezTo>
                  <a:cubicBezTo>
                    <a:pt x="179070" y="166810"/>
                    <a:pt x="178498" y="167762"/>
                    <a:pt x="177832" y="168524"/>
                  </a:cubicBezTo>
                  <a:cubicBezTo>
                    <a:pt x="174212" y="173096"/>
                    <a:pt x="170117" y="177192"/>
                    <a:pt x="165544" y="180811"/>
                  </a:cubicBezTo>
                  <a:cubicBezTo>
                    <a:pt x="164211" y="181859"/>
                    <a:pt x="162782" y="183002"/>
                    <a:pt x="161354" y="183955"/>
                  </a:cubicBezTo>
                  <a:cubicBezTo>
                    <a:pt x="149828" y="191670"/>
                    <a:pt x="136017" y="196242"/>
                    <a:pt x="121063" y="196242"/>
                  </a:cubicBezTo>
                  <a:cubicBezTo>
                    <a:pt x="104680" y="196242"/>
                    <a:pt x="89630" y="190717"/>
                    <a:pt x="77438" y="181478"/>
                  </a:cubicBezTo>
                  <a:cubicBezTo>
                    <a:pt x="76105" y="180430"/>
                    <a:pt x="74771" y="179383"/>
                    <a:pt x="73438" y="178240"/>
                  </a:cubicBezTo>
                  <a:cubicBezTo>
                    <a:pt x="58293" y="165000"/>
                    <a:pt x="48577" y="145474"/>
                    <a:pt x="48577" y="123757"/>
                  </a:cubicBezTo>
                  <a:cubicBezTo>
                    <a:pt x="48577" y="83847"/>
                    <a:pt x="81058" y="51367"/>
                    <a:pt x="120967" y="51367"/>
                  </a:cubicBezTo>
                  <a:cubicBezTo>
                    <a:pt x="128683" y="51367"/>
                    <a:pt x="136112" y="52605"/>
                    <a:pt x="143065" y="54891"/>
                  </a:cubicBezTo>
                  <a:cubicBezTo>
                    <a:pt x="163163" y="60892"/>
                    <a:pt x="180404" y="75560"/>
                    <a:pt x="188881" y="96515"/>
                  </a:cubicBezTo>
                  <a:cubicBezTo>
                    <a:pt x="196025" y="114136"/>
                    <a:pt x="195834" y="133567"/>
                    <a:pt x="188404" y="1510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F19FD655-2CFF-3C20-91B9-99A902B4E230}"/>
              </a:ext>
            </a:extLst>
          </p:cNvPr>
          <p:cNvSpPr txBox="1"/>
          <p:nvPr/>
        </p:nvSpPr>
        <p:spPr>
          <a:xfrm>
            <a:off x="8938169" y="3951786"/>
            <a:ext cx="1524509" cy="350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1200">
                <a:latin typeface="+mn-lt"/>
              </a:rPr>
              <a:t>Global make-or-bu</a:t>
            </a:r>
            <a:r>
              <a:rPr lang="en-US" sz="1200"/>
              <a:t>y strategy</a:t>
            </a:r>
            <a:endParaRPr lang="en-US" sz="1200">
              <a:latin typeface="+mn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EDFEDEA-380E-A242-C9C1-4E0F1D6E24BD}"/>
              </a:ext>
            </a:extLst>
          </p:cNvPr>
          <p:cNvSpPr txBox="1"/>
          <p:nvPr/>
        </p:nvSpPr>
        <p:spPr>
          <a:xfrm>
            <a:off x="8938169" y="4642213"/>
            <a:ext cx="1653619" cy="350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1200"/>
              <a:t>Regulatory framework</a:t>
            </a:r>
            <a:endParaRPr lang="en-US" sz="1200">
              <a:latin typeface="+mn-lt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4E8643F-9DCC-3D3F-0D80-90E57C769779}"/>
              </a:ext>
            </a:extLst>
          </p:cNvPr>
          <p:cNvGrpSpPr/>
          <p:nvPr/>
        </p:nvGrpSpPr>
        <p:grpSpPr>
          <a:xfrm>
            <a:off x="8434151" y="4601812"/>
            <a:ext cx="354977" cy="444508"/>
            <a:chOff x="11763156" y="4848644"/>
            <a:chExt cx="776118" cy="971867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EFF5215-5896-3D36-43B6-15DFFE960895}"/>
                </a:ext>
              </a:extLst>
            </p:cNvPr>
            <p:cNvSpPr/>
            <p:nvPr/>
          </p:nvSpPr>
          <p:spPr>
            <a:xfrm>
              <a:off x="11763156" y="4855934"/>
              <a:ext cx="776118" cy="964577"/>
            </a:xfrm>
            <a:custGeom>
              <a:avLst/>
              <a:gdLst>
                <a:gd name="connsiteX0" fmla="*/ 107881 w 776118"/>
                <a:gd name="connsiteY0" fmla="*/ 964577 h 964577"/>
                <a:gd name="connsiteX1" fmla="*/ 101976 w 776118"/>
                <a:gd name="connsiteY1" fmla="*/ 962482 h 964577"/>
                <a:gd name="connsiteX2" fmla="*/ 98451 w 776118"/>
                <a:gd name="connsiteY2" fmla="*/ 956100 h 964577"/>
                <a:gd name="connsiteX3" fmla="*/ 58 w 776118"/>
                <a:gd name="connsiteY3" fmla="*/ 85229 h 964577"/>
                <a:gd name="connsiteX4" fmla="*/ 8440 w 776118"/>
                <a:gd name="connsiteY4" fmla="*/ 74657 h 964577"/>
                <a:gd name="connsiteX5" fmla="*/ 186843 w 776118"/>
                <a:gd name="connsiteY5" fmla="*/ 54464 h 964577"/>
                <a:gd name="connsiteX6" fmla="*/ 197416 w 776118"/>
                <a:gd name="connsiteY6" fmla="*/ 62846 h 964577"/>
                <a:gd name="connsiteX7" fmla="*/ 189034 w 776118"/>
                <a:gd name="connsiteY7" fmla="*/ 73418 h 964577"/>
                <a:gd name="connsiteX8" fmla="*/ 20156 w 776118"/>
                <a:gd name="connsiteY8" fmla="*/ 92468 h 964577"/>
                <a:gd name="connsiteX9" fmla="*/ 116454 w 776118"/>
                <a:gd name="connsiteY9" fmla="*/ 944480 h 964577"/>
                <a:gd name="connsiteX10" fmla="*/ 756057 w 776118"/>
                <a:gd name="connsiteY10" fmla="*/ 872185 h 964577"/>
                <a:gd name="connsiteX11" fmla="*/ 659760 w 776118"/>
                <a:gd name="connsiteY11" fmla="*/ 20174 h 964577"/>
                <a:gd name="connsiteX12" fmla="*/ 490881 w 776118"/>
                <a:gd name="connsiteY12" fmla="*/ 39224 h 964577"/>
                <a:gd name="connsiteX13" fmla="*/ 480308 w 776118"/>
                <a:gd name="connsiteY13" fmla="*/ 30842 h 964577"/>
                <a:gd name="connsiteX14" fmla="*/ 488691 w 776118"/>
                <a:gd name="connsiteY14" fmla="*/ 20269 h 964577"/>
                <a:gd name="connsiteX15" fmla="*/ 667094 w 776118"/>
                <a:gd name="connsiteY15" fmla="*/ 76 h 964577"/>
                <a:gd name="connsiteX16" fmla="*/ 677667 w 776118"/>
                <a:gd name="connsiteY16" fmla="*/ 8458 h 964577"/>
                <a:gd name="connsiteX17" fmla="*/ 776060 w 776118"/>
                <a:gd name="connsiteY17" fmla="*/ 879424 h 964577"/>
                <a:gd name="connsiteX18" fmla="*/ 774060 w 776118"/>
                <a:gd name="connsiteY18" fmla="*/ 886472 h 964577"/>
                <a:gd name="connsiteX19" fmla="*/ 767678 w 776118"/>
                <a:gd name="connsiteY19" fmla="*/ 889997 h 964577"/>
                <a:gd name="connsiteX20" fmla="*/ 109214 w 776118"/>
                <a:gd name="connsiteY20" fmla="*/ 964387 h 964577"/>
                <a:gd name="connsiteX21" fmla="*/ 108167 w 776118"/>
                <a:gd name="connsiteY21" fmla="*/ 964387 h 964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76118" h="964577">
                  <a:moveTo>
                    <a:pt x="107881" y="964577"/>
                  </a:moveTo>
                  <a:cubicBezTo>
                    <a:pt x="105690" y="964577"/>
                    <a:pt x="103595" y="963815"/>
                    <a:pt x="101976" y="962482"/>
                  </a:cubicBezTo>
                  <a:cubicBezTo>
                    <a:pt x="99975" y="960863"/>
                    <a:pt x="98737" y="958577"/>
                    <a:pt x="98451" y="956100"/>
                  </a:cubicBezTo>
                  <a:lnTo>
                    <a:pt x="58" y="85229"/>
                  </a:lnTo>
                  <a:cubicBezTo>
                    <a:pt x="-514" y="79991"/>
                    <a:pt x="3201" y="75323"/>
                    <a:pt x="8440" y="74657"/>
                  </a:cubicBezTo>
                  <a:lnTo>
                    <a:pt x="186843" y="54464"/>
                  </a:lnTo>
                  <a:cubicBezTo>
                    <a:pt x="191987" y="53892"/>
                    <a:pt x="196749" y="57607"/>
                    <a:pt x="197416" y="62846"/>
                  </a:cubicBezTo>
                  <a:cubicBezTo>
                    <a:pt x="197987" y="68084"/>
                    <a:pt x="194273" y="72752"/>
                    <a:pt x="189034" y="73418"/>
                  </a:cubicBezTo>
                  <a:lnTo>
                    <a:pt x="20156" y="92468"/>
                  </a:lnTo>
                  <a:lnTo>
                    <a:pt x="116454" y="944480"/>
                  </a:lnTo>
                  <a:lnTo>
                    <a:pt x="756057" y="872185"/>
                  </a:lnTo>
                  <a:lnTo>
                    <a:pt x="659760" y="20174"/>
                  </a:lnTo>
                  <a:lnTo>
                    <a:pt x="490881" y="39224"/>
                  </a:lnTo>
                  <a:cubicBezTo>
                    <a:pt x="485642" y="39795"/>
                    <a:pt x="480975" y="36080"/>
                    <a:pt x="480308" y="30842"/>
                  </a:cubicBezTo>
                  <a:cubicBezTo>
                    <a:pt x="479737" y="25603"/>
                    <a:pt x="483452" y="20936"/>
                    <a:pt x="488691" y="20269"/>
                  </a:cubicBezTo>
                  <a:lnTo>
                    <a:pt x="667094" y="76"/>
                  </a:lnTo>
                  <a:cubicBezTo>
                    <a:pt x="672333" y="-591"/>
                    <a:pt x="677000" y="3219"/>
                    <a:pt x="677667" y="8458"/>
                  </a:cubicBezTo>
                  <a:lnTo>
                    <a:pt x="776060" y="879424"/>
                  </a:lnTo>
                  <a:cubicBezTo>
                    <a:pt x="776346" y="881900"/>
                    <a:pt x="775584" y="884472"/>
                    <a:pt x="774060" y="886472"/>
                  </a:cubicBezTo>
                  <a:cubicBezTo>
                    <a:pt x="772440" y="888473"/>
                    <a:pt x="770154" y="889711"/>
                    <a:pt x="767678" y="889997"/>
                  </a:cubicBezTo>
                  <a:lnTo>
                    <a:pt x="109214" y="964387"/>
                  </a:lnTo>
                  <a:cubicBezTo>
                    <a:pt x="109214" y="964387"/>
                    <a:pt x="108453" y="964387"/>
                    <a:pt x="108167" y="96438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9" name="321 Filled form">
              <a:extLst>
                <a:ext uri="{FF2B5EF4-FFF2-40B4-BE49-F238E27FC236}">
                  <a16:creationId xmlns:a16="http://schemas.microsoft.com/office/drawing/2014/main" id="{473049E9-61D2-47AA-57EA-CD3CBD566A89}"/>
                </a:ext>
              </a:extLst>
            </p:cNvPr>
            <p:cNvGrpSpPr/>
            <p:nvPr/>
          </p:nvGrpSpPr>
          <p:grpSpPr>
            <a:xfrm>
              <a:off x="11830498" y="4919484"/>
              <a:ext cx="639625" cy="812635"/>
              <a:chOff x="11830498" y="4919484"/>
              <a:chExt cx="639625" cy="812635"/>
            </a:xfrm>
            <a:solidFill>
              <a:srgbClr val="000000"/>
            </a:solidFill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1A838DD6-D794-5A93-6B3D-886E9237EC01}"/>
                  </a:ext>
                </a:extLst>
              </p:cNvPr>
              <p:cNvSpPr/>
              <p:nvPr/>
            </p:nvSpPr>
            <p:spPr>
              <a:xfrm>
                <a:off x="11830498" y="4919484"/>
                <a:ext cx="639625" cy="812635"/>
              </a:xfrm>
              <a:custGeom>
                <a:avLst/>
                <a:gdLst>
                  <a:gd name="connsiteX0" fmla="*/ 195892 w 639625"/>
                  <a:gd name="connsiteY0" fmla="*/ 812636 h 812635"/>
                  <a:gd name="connsiteX1" fmla="*/ 186557 w 639625"/>
                  <a:gd name="connsiteY1" fmla="*/ 804825 h 812635"/>
                  <a:gd name="connsiteX2" fmla="*/ 170651 w 639625"/>
                  <a:gd name="connsiteY2" fmla="*/ 719100 h 812635"/>
                  <a:gd name="connsiteX3" fmla="*/ 80925 w 639625"/>
                  <a:gd name="connsiteY3" fmla="*/ 715100 h 812635"/>
                  <a:gd name="connsiteX4" fmla="*/ 71877 w 639625"/>
                  <a:gd name="connsiteY4" fmla="*/ 706623 h 812635"/>
                  <a:gd name="connsiteX5" fmla="*/ 58 w 639625"/>
                  <a:gd name="connsiteY5" fmla="*/ 71210 h 812635"/>
                  <a:gd name="connsiteX6" fmla="*/ 8440 w 639625"/>
                  <a:gd name="connsiteY6" fmla="*/ 60637 h 812635"/>
                  <a:gd name="connsiteX7" fmla="*/ 124931 w 639625"/>
                  <a:gd name="connsiteY7" fmla="*/ 47493 h 812635"/>
                  <a:gd name="connsiteX8" fmla="*/ 135504 w 639625"/>
                  <a:gd name="connsiteY8" fmla="*/ 55874 h 812635"/>
                  <a:gd name="connsiteX9" fmla="*/ 127122 w 639625"/>
                  <a:gd name="connsiteY9" fmla="*/ 66447 h 812635"/>
                  <a:gd name="connsiteX10" fmla="*/ 20060 w 639625"/>
                  <a:gd name="connsiteY10" fmla="*/ 78544 h 812635"/>
                  <a:gd name="connsiteX11" fmla="*/ 89879 w 639625"/>
                  <a:gd name="connsiteY11" fmla="*/ 696336 h 812635"/>
                  <a:gd name="connsiteX12" fmla="*/ 179033 w 639625"/>
                  <a:gd name="connsiteY12" fmla="*/ 700241 h 812635"/>
                  <a:gd name="connsiteX13" fmla="*/ 187986 w 639625"/>
                  <a:gd name="connsiteY13" fmla="*/ 708051 h 812635"/>
                  <a:gd name="connsiteX14" fmla="*/ 203703 w 639625"/>
                  <a:gd name="connsiteY14" fmla="*/ 792443 h 812635"/>
                  <a:gd name="connsiteX15" fmla="*/ 619659 w 639625"/>
                  <a:gd name="connsiteY15" fmla="*/ 745485 h 812635"/>
                  <a:gd name="connsiteX16" fmla="*/ 537649 w 639625"/>
                  <a:gd name="connsiteY16" fmla="*/ 20060 h 812635"/>
                  <a:gd name="connsiteX17" fmla="*/ 430969 w 639625"/>
                  <a:gd name="connsiteY17" fmla="*/ 32157 h 812635"/>
                  <a:gd name="connsiteX18" fmla="*/ 420396 w 639625"/>
                  <a:gd name="connsiteY18" fmla="*/ 23775 h 812635"/>
                  <a:gd name="connsiteX19" fmla="*/ 428778 w 639625"/>
                  <a:gd name="connsiteY19" fmla="*/ 13203 h 812635"/>
                  <a:gd name="connsiteX20" fmla="*/ 544888 w 639625"/>
                  <a:gd name="connsiteY20" fmla="*/ 58 h 812635"/>
                  <a:gd name="connsiteX21" fmla="*/ 555461 w 639625"/>
                  <a:gd name="connsiteY21" fmla="*/ 8440 h 812635"/>
                  <a:gd name="connsiteX22" fmla="*/ 639567 w 639625"/>
                  <a:gd name="connsiteY22" fmla="*/ 752819 h 812635"/>
                  <a:gd name="connsiteX23" fmla="*/ 637566 w 639625"/>
                  <a:gd name="connsiteY23" fmla="*/ 759867 h 812635"/>
                  <a:gd name="connsiteX24" fmla="*/ 631185 w 639625"/>
                  <a:gd name="connsiteY24" fmla="*/ 763392 h 812635"/>
                  <a:gd name="connsiteX25" fmla="*/ 197035 w 639625"/>
                  <a:gd name="connsiteY25" fmla="*/ 812445 h 812635"/>
                  <a:gd name="connsiteX26" fmla="*/ 195987 w 639625"/>
                  <a:gd name="connsiteY26" fmla="*/ 812445 h 812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639625" h="812635">
                    <a:moveTo>
                      <a:pt x="195892" y="812636"/>
                    </a:moveTo>
                    <a:cubicBezTo>
                      <a:pt x="191320" y="812636"/>
                      <a:pt x="187415" y="809397"/>
                      <a:pt x="186557" y="804825"/>
                    </a:cubicBezTo>
                    <a:lnTo>
                      <a:pt x="170651" y="719100"/>
                    </a:lnTo>
                    <a:lnTo>
                      <a:pt x="80925" y="715100"/>
                    </a:lnTo>
                    <a:cubicBezTo>
                      <a:pt x="76258" y="714909"/>
                      <a:pt x="72448" y="711290"/>
                      <a:pt x="71877" y="706623"/>
                    </a:cubicBezTo>
                    <a:lnTo>
                      <a:pt x="58" y="71210"/>
                    </a:lnTo>
                    <a:cubicBezTo>
                      <a:pt x="-514" y="65971"/>
                      <a:pt x="3201" y="61304"/>
                      <a:pt x="8440" y="60637"/>
                    </a:cubicBezTo>
                    <a:lnTo>
                      <a:pt x="124931" y="47493"/>
                    </a:lnTo>
                    <a:cubicBezTo>
                      <a:pt x="130265" y="47016"/>
                      <a:pt x="134837" y="50636"/>
                      <a:pt x="135504" y="55874"/>
                    </a:cubicBezTo>
                    <a:cubicBezTo>
                      <a:pt x="136075" y="61113"/>
                      <a:pt x="132360" y="65780"/>
                      <a:pt x="127122" y="66447"/>
                    </a:cubicBezTo>
                    <a:lnTo>
                      <a:pt x="20060" y="78544"/>
                    </a:lnTo>
                    <a:lnTo>
                      <a:pt x="89879" y="696336"/>
                    </a:lnTo>
                    <a:lnTo>
                      <a:pt x="179033" y="700241"/>
                    </a:lnTo>
                    <a:cubicBezTo>
                      <a:pt x="183414" y="700431"/>
                      <a:pt x="187129" y="703670"/>
                      <a:pt x="187986" y="708051"/>
                    </a:cubicBezTo>
                    <a:lnTo>
                      <a:pt x="203703" y="792443"/>
                    </a:lnTo>
                    <a:lnTo>
                      <a:pt x="619659" y="745485"/>
                    </a:lnTo>
                    <a:lnTo>
                      <a:pt x="537649" y="20060"/>
                    </a:lnTo>
                    <a:lnTo>
                      <a:pt x="430969" y="32157"/>
                    </a:lnTo>
                    <a:cubicBezTo>
                      <a:pt x="425730" y="32729"/>
                      <a:pt x="421063" y="29014"/>
                      <a:pt x="420396" y="23775"/>
                    </a:cubicBezTo>
                    <a:cubicBezTo>
                      <a:pt x="419825" y="18537"/>
                      <a:pt x="423540" y="13869"/>
                      <a:pt x="428778" y="13203"/>
                    </a:cubicBezTo>
                    <a:lnTo>
                      <a:pt x="544888" y="58"/>
                    </a:lnTo>
                    <a:cubicBezTo>
                      <a:pt x="550032" y="-513"/>
                      <a:pt x="554794" y="3201"/>
                      <a:pt x="555461" y="8440"/>
                    </a:cubicBezTo>
                    <a:lnTo>
                      <a:pt x="639567" y="752819"/>
                    </a:lnTo>
                    <a:cubicBezTo>
                      <a:pt x="639852" y="755295"/>
                      <a:pt x="639090" y="757867"/>
                      <a:pt x="637566" y="759867"/>
                    </a:cubicBezTo>
                    <a:cubicBezTo>
                      <a:pt x="635947" y="761868"/>
                      <a:pt x="633661" y="763106"/>
                      <a:pt x="631185" y="763392"/>
                    </a:cubicBezTo>
                    <a:lnTo>
                      <a:pt x="197035" y="812445"/>
                    </a:lnTo>
                    <a:cubicBezTo>
                      <a:pt x="197035" y="812445"/>
                      <a:pt x="196273" y="812445"/>
                      <a:pt x="195987" y="812445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A7EB045E-7470-AEDF-3A35-1BB4670B725F}"/>
                  </a:ext>
                </a:extLst>
              </p:cNvPr>
              <p:cNvSpPr/>
              <p:nvPr/>
            </p:nvSpPr>
            <p:spPr>
              <a:xfrm>
                <a:off x="11904179" y="5617147"/>
                <a:ext cx="131741" cy="114972"/>
              </a:xfrm>
              <a:custGeom>
                <a:avLst/>
                <a:gdLst>
                  <a:gd name="connsiteX0" fmla="*/ 122211 w 131741"/>
                  <a:gd name="connsiteY0" fmla="*/ 114972 h 114972"/>
                  <a:gd name="connsiteX1" fmla="*/ 116020 w 131741"/>
                  <a:gd name="connsiteY1" fmla="*/ 112686 h 114972"/>
                  <a:gd name="connsiteX2" fmla="*/ 3339 w 131741"/>
                  <a:gd name="connsiteY2" fmla="*/ 16769 h 114972"/>
                  <a:gd name="connsiteX3" fmla="*/ 2291 w 131741"/>
                  <a:gd name="connsiteY3" fmla="*/ 3339 h 114972"/>
                  <a:gd name="connsiteX4" fmla="*/ 15722 w 131741"/>
                  <a:gd name="connsiteY4" fmla="*/ 2291 h 114972"/>
                  <a:gd name="connsiteX5" fmla="*/ 128402 w 131741"/>
                  <a:gd name="connsiteY5" fmla="*/ 98208 h 114972"/>
                  <a:gd name="connsiteX6" fmla="*/ 129450 w 131741"/>
                  <a:gd name="connsiteY6" fmla="*/ 111638 h 114972"/>
                  <a:gd name="connsiteX7" fmla="*/ 122211 w 131741"/>
                  <a:gd name="connsiteY7" fmla="*/ 114972 h 114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1741" h="114972">
                    <a:moveTo>
                      <a:pt x="122211" y="114972"/>
                    </a:moveTo>
                    <a:cubicBezTo>
                      <a:pt x="120020" y="114972"/>
                      <a:pt x="117830" y="114210"/>
                      <a:pt x="116020" y="112686"/>
                    </a:cubicBezTo>
                    <a:lnTo>
                      <a:pt x="3339" y="16769"/>
                    </a:lnTo>
                    <a:cubicBezTo>
                      <a:pt x="-661" y="13340"/>
                      <a:pt x="-1138" y="7340"/>
                      <a:pt x="2291" y="3339"/>
                    </a:cubicBezTo>
                    <a:cubicBezTo>
                      <a:pt x="5720" y="-661"/>
                      <a:pt x="11721" y="-1138"/>
                      <a:pt x="15722" y="2291"/>
                    </a:cubicBezTo>
                    <a:lnTo>
                      <a:pt x="128402" y="98208"/>
                    </a:lnTo>
                    <a:cubicBezTo>
                      <a:pt x="132403" y="101637"/>
                      <a:pt x="132879" y="107638"/>
                      <a:pt x="129450" y="111638"/>
                    </a:cubicBezTo>
                    <a:cubicBezTo>
                      <a:pt x="127545" y="113829"/>
                      <a:pt x="124878" y="114972"/>
                      <a:pt x="122211" y="11497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91816FD3-482F-3C0E-6273-03F3D3103E04}"/>
                </a:ext>
              </a:extLst>
            </p:cNvPr>
            <p:cNvSpPr/>
            <p:nvPr/>
          </p:nvSpPr>
          <p:spPr>
            <a:xfrm>
              <a:off x="11938416" y="4848644"/>
              <a:ext cx="331871" cy="150812"/>
            </a:xfrm>
            <a:custGeom>
              <a:avLst/>
              <a:gdLst>
                <a:gd name="connsiteX0" fmla="*/ 20537 w 331871"/>
                <a:gd name="connsiteY0" fmla="*/ 150813 h 150812"/>
                <a:gd name="connsiteX1" fmla="*/ 14631 w 331871"/>
                <a:gd name="connsiteY1" fmla="*/ 148717 h 150812"/>
                <a:gd name="connsiteX2" fmla="*/ 11107 w 331871"/>
                <a:gd name="connsiteY2" fmla="*/ 142335 h 150812"/>
                <a:gd name="connsiteX3" fmla="*/ 58 w 331871"/>
                <a:gd name="connsiteY3" fmla="*/ 44704 h 150812"/>
                <a:gd name="connsiteX4" fmla="*/ 8440 w 331871"/>
                <a:gd name="connsiteY4" fmla="*/ 34131 h 150812"/>
                <a:gd name="connsiteX5" fmla="*/ 310192 w 331871"/>
                <a:gd name="connsiteY5" fmla="*/ 32 h 150812"/>
                <a:gd name="connsiteX6" fmla="*/ 317241 w 331871"/>
                <a:gd name="connsiteY6" fmla="*/ 2032 h 150812"/>
                <a:gd name="connsiteX7" fmla="*/ 320765 w 331871"/>
                <a:gd name="connsiteY7" fmla="*/ 8414 h 150812"/>
                <a:gd name="connsiteX8" fmla="*/ 331814 w 331871"/>
                <a:gd name="connsiteY8" fmla="*/ 106045 h 150812"/>
                <a:gd name="connsiteX9" fmla="*/ 323432 w 331871"/>
                <a:gd name="connsiteY9" fmla="*/ 116618 h 150812"/>
                <a:gd name="connsiteX10" fmla="*/ 21680 w 331871"/>
                <a:gd name="connsiteY10" fmla="*/ 150717 h 150812"/>
                <a:gd name="connsiteX11" fmla="*/ 20632 w 331871"/>
                <a:gd name="connsiteY11" fmla="*/ 150717 h 150812"/>
                <a:gd name="connsiteX12" fmla="*/ 20061 w 331871"/>
                <a:gd name="connsiteY12" fmla="*/ 52134 h 150812"/>
                <a:gd name="connsiteX13" fmla="*/ 28919 w 331871"/>
                <a:gd name="connsiteY13" fmla="*/ 130810 h 150812"/>
                <a:gd name="connsiteX14" fmla="*/ 311716 w 331871"/>
                <a:gd name="connsiteY14" fmla="*/ 98806 h 150812"/>
                <a:gd name="connsiteX15" fmla="*/ 302858 w 331871"/>
                <a:gd name="connsiteY15" fmla="*/ 20130 h 150812"/>
                <a:gd name="connsiteX16" fmla="*/ 20061 w 331871"/>
                <a:gd name="connsiteY16" fmla="*/ 52134 h 150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1871" h="150812">
                  <a:moveTo>
                    <a:pt x="20537" y="150813"/>
                  </a:moveTo>
                  <a:cubicBezTo>
                    <a:pt x="18346" y="150813"/>
                    <a:pt x="16250" y="150051"/>
                    <a:pt x="14631" y="148717"/>
                  </a:cubicBezTo>
                  <a:cubicBezTo>
                    <a:pt x="12631" y="147098"/>
                    <a:pt x="11393" y="144812"/>
                    <a:pt x="11107" y="142335"/>
                  </a:cubicBezTo>
                  <a:lnTo>
                    <a:pt x="58" y="44704"/>
                  </a:lnTo>
                  <a:cubicBezTo>
                    <a:pt x="-513" y="39465"/>
                    <a:pt x="3201" y="34798"/>
                    <a:pt x="8440" y="34131"/>
                  </a:cubicBezTo>
                  <a:lnTo>
                    <a:pt x="310192" y="32"/>
                  </a:lnTo>
                  <a:cubicBezTo>
                    <a:pt x="312764" y="-159"/>
                    <a:pt x="315240" y="508"/>
                    <a:pt x="317241" y="2032"/>
                  </a:cubicBezTo>
                  <a:cubicBezTo>
                    <a:pt x="319241" y="3651"/>
                    <a:pt x="320479" y="5937"/>
                    <a:pt x="320765" y="8414"/>
                  </a:cubicBezTo>
                  <a:lnTo>
                    <a:pt x="331814" y="106045"/>
                  </a:lnTo>
                  <a:cubicBezTo>
                    <a:pt x="332385" y="111284"/>
                    <a:pt x="328671" y="115951"/>
                    <a:pt x="323432" y="116618"/>
                  </a:cubicBezTo>
                  <a:lnTo>
                    <a:pt x="21680" y="150717"/>
                  </a:lnTo>
                  <a:cubicBezTo>
                    <a:pt x="21680" y="150717"/>
                    <a:pt x="20918" y="150717"/>
                    <a:pt x="20632" y="150717"/>
                  </a:cubicBezTo>
                  <a:close/>
                  <a:moveTo>
                    <a:pt x="20061" y="52134"/>
                  </a:moveTo>
                  <a:lnTo>
                    <a:pt x="28919" y="130810"/>
                  </a:lnTo>
                  <a:lnTo>
                    <a:pt x="311716" y="98806"/>
                  </a:lnTo>
                  <a:lnTo>
                    <a:pt x="302858" y="20130"/>
                  </a:lnTo>
                  <a:lnTo>
                    <a:pt x="20061" y="52134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1E50A800-6B7C-3FDA-DA0A-B106F016F3E2}"/>
                </a:ext>
              </a:extLst>
            </p:cNvPr>
            <p:cNvSpPr/>
            <p:nvPr/>
          </p:nvSpPr>
          <p:spPr>
            <a:xfrm>
              <a:off x="11947084" y="5100935"/>
              <a:ext cx="186710" cy="38062"/>
            </a:xfrm>
            <a:custGeom>
              <a:avLst/>
              <a:gdLst>
                <a:gd name="connsiteX0" fmla="*/ 9488 w 186710"/>
                <a:gd name="connsiteY0" fmla="*/ 38063 h 38062"/>
                <a:gd name="connsiteX1" fmla="*/ 58 w 186710"/>
                <a:gd name="connsiteY1" fmla="*/ 29585 h 38062"/>
                <a:gd name="connsiteX2" fmla="*/ 8440 w 186710"/>
                <a:gd name="connsiteY2" fmla="*/ 19013 h 38062"/>
                <a:gd name="connsiteX3" fmla="*/ 176080 w 186710"/>
                <a:gd name="connsiteY3" fmla="*/ 58 h 38062"/>
                <a:gd name="connsiteX4" fmla="*/ 186653 w 186710"/>
                <a:gd name="connsiteY4" fmla="*/ 8440 h 38062"/>
                <a:gd name="connsiteX5" fmla="*/ 178271 w 186710"/>
                <a:gd name="connsiteY5" fmla="*/ 19013 h 38062"/>
                <a:gd name="connsiteX6" fmla="*/ 10631 w 186710"/>
                <a:gd name="connsiteY6" fmla="*/ 37967 h 38062"/>
                <a:gd name="connsiteX7" fmla="*/ 9583 w 186710"/>
                <a:gd name="connsiteY7" fmla="*/ 37967 h 38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6710" h="38062">
                  <a:moveTo>
                    <a:pt x="9488" y="38063"/>
                  </a:moveTo>
                  <a:cubicBezTo>
                    <a:pt x="4725" y="38063"/>
                    <a:pt x="630" y="34443"/>
                    <a:pt x="58" y="29585"/>
                  </a:cubicBezTo>
                  <a:cubicBezTo>
                    <a:pt x="-513" y="24347"/>
                    <a:pt x="3201" y="19679"/>
                    <a:pt x="8440" y="19013"/>
                  </a:cubicBezTo>
                  <a:lnTo>
                    <a:pt x="176080" y="58"/>
                  </a:lnTo>
                  <a:cubicBezTo>
                    <a:pt x="181319" y="-514"/>
                    <a:pt x="185986" y="3201"/>
                    <a:pt x="186653" y="8440"/>
                  </a:cubicBezTo>
                  <a:cubicBezTo>
                    <a:pt x="187224" y="13679"/>
                    <a:pt x="183510" y="18346"/>
                    <a:pt x="178271" y="19013"/>
                  </a:cubicBezTo>
                  <a:lnTo>
                    <a:pt x="10631" y="37967"/>
                  </a:lnTo>
                  <a:cubicBezTo>
                    <a:pt x="10631" y="37967"/>
                    <a:pt x="9869" y="37967"/>
                    <a:pt x="9583" y="3796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86FD088-B6F7-E8E5-B73B-A80922932B7F}"/>
                </a:ext>
              </a:extLst>
            </p:cNvPr>
            <p:cNvSpPr/>
            <p:nvPr/>
          </p:nvSpPr>
          <p:spPr>
            <a:xfrm>
              <a:off x="11954704" y="5150576"/>
              <a:ext cx="340920" cy="55477"/>
            </a:xfrm>
            <a:custGeom>
              <a:avLst/>
              <a:gdLst>
                <a:gd name="connsiteX0" fmla="*/ 9488 w 340920"/>
                <a:gd name="connsiteY0" fmla="*/ 55478 h 55477"/>
                <a:gd name="connsiteX1" fmla="*/ 58 w 340920"/>
                <a:gd name="connsiteY1" fmla="*/ 47000 h 55477"/>
                <a:gd name="connsiteX2" fmla="*/ 8440 w 340920"/>
                <a:gd name="connsiteY2" fmla="*/ 36428 h 55477"/>
                <a:gd name="connsiteX3" fmla="*/ 330290 w 340920"/>
                <a:gd name="connsiteY3" fmla="*/ 42 h 55477"/>
                <a:gd name="connsiteX4" fmla="*/ 340863 w 340920"/>
                <a:gd name="connsiteY4" fmla="*/ 8424 h 55477"/>
                <a:gd name="connsiteX5" fmla="*/ 332481 w 340920"/>
                <a:gd name="connsiteY5" fmla="*/ 18997 h 55477"/>
                <a:gd name="connsiteX6" fmla="*/ 10631 w 340920"/>
                <a:gd name="connsiteY6" fmla="*/ 55382 h 55477"/>
                <a:gd name="connsiteX7" fmla="*/ 9583 w 340920"/>
                <a:gd name="connsiteY7" fmla="*/ 55382 h 55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0920" h="55477">
                  <a:moveTo>
                    <a:pt x="9488" y="55478"/>
                  </a:moveTo>
                  <a:cubicBezTo>
                    <a:pt x="4725" y="55478"/>
                    <a:pt x="629" y="51858"/>
                    <a:pt x="58" y="47000"/>
                  </a:cubicBezTo>
                  <a:cubicBezTo>
                    <a:pt x="-514" y="41762"/>
                    <a:pt x="3201" y="37094"/>
                    <a:pt x="8440" y="36428"/>
                  </a:cubicBezTo>
                  <a:lnTo>
                    <a:pt x="330290" y="42"/>
                  </a:lnTo>
                  <a:cubicBezTo>
                    <a:pt x="335529" y="-434"/>
                    <a:pt x="340196" y="3185"/>
                    <a:pt x="340863" y="8424"/>
                  </a:cubicBezTo>
                  <a:cubicBezTo>
                    <a:pt x="341434" y="13663"/>
                    <a:pt x="337719" y="18330"/>
                    <a:pt x="332481" y="18997"/>
                  </a:cubicBezTo>
                  <a:lnTo>
                    <a:pt x="10631" y="55382"/>
                  </a:lnTo>
                  <a:cubicBezTo>
                    <a:pt x="10631" y="55382"/>
                    <a:pt x="9869" y="55382"/>
                    <a:pt x="9583" y="5538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F99ED3A4-C7FC-1A70-0223-8ACB003FBEC1}"/>
                </a:ext>
              </a:extLst>
            </p:cNvPr>
            <p:cNvSpPr/>
            <p:nvPr/>
          </p:nvSpPr>
          <p:spPr>
            <a:xfrm>
              <a:off x="11962228" y="5235047"/>
              <a:ext cx="186710" cy="38062"/>
            </a:xfrm>
            <a:custGeom>
              <a:avLst/>
              <a:gdLst>
                <a:gd name="connsiteX0" fmla="*/ 9488 w 186710"/>
                <a:gd name="connsiteY0" fmla="*/ 38063 h 38062"/>
                <a:gd name="connsiteX1" fmla="*/ 58 w 186710"/>
                <a:gd name="connsiteY1" fmla="*/ 29586 h 38062"/>
                <a:gd name="connsiteX2" fmla="*/ 8440 w 186710"/>
                <a:gd name="connsiteY2" fmla="*/ 19013 h 38062"/>
                <a:gd name="connsiteX3" fmla="*/ 176080 w 186710"/>
                <a:gd name="connsiteY3" fmla="*/ 58 h 38062"/>
                <a:gd name="connsiteX4" fmla="*/ 186653 w 186710"/>
                <a:gd name="connsiteY4" fmla="*/ 8440 h 38062"/>
                <a:gd name="connsiteX5" fmla="*/ 178271 w 186710"/>
                <a:gd name="connsiteY5" fmla="*/ 19013 h 38062"/>
                <a:gd name="connsiteX6" fmla="*/ 10631 w 186710"/>
                <a:gd name="connsiteY6" fmla="*/ 37968 h 38062"/>
                <a:gd name="connsiteX7" fmla="*/ 9583 w 186710"/>
                <a:gd name="connsiteY7" fmla="*/ 37968 h 38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6710" h="38062">
                  <a:moveTo>
                    <a:pt x="9488" y="38063"/>
                  </a:moveTo>
                  <a:cubicBezTo>
                    <a:pt x="4725" y="38063"/>
                    <a:pt x="630" y="34443"/>
                    <a:pt x="58" y="29586"/>
                  </a:cubicBezTo>
                  <a:cubicBezTo>
                    <a:pt x="-513" y="24347"/>
                    <a:pt x="3201" y="19680"/>
                    <a:pt x="8440" y="19013"/>
                  </a:cubicBezTo>
                  <a:lnTo>
                    <a:pt x="176080" y="58"/>
                  </a:lnTo>
                  <a:cubicBezTo>
                    <a:pt x="181224" y="-513"/>
                    <a:pt x="185986" y="3201"/>
                    <a:pt x="186653" y="8440"/>
                  </a:cubicBezTo>
                  <a:cubicBezTo>
                    <a:pt x="187224" y="13679"/>
                    <a:pt x="183509" y="18346"/>
                    <a:pt x="178271" y="19013"/>
                  </a:cubicBezTo>
                  <a:lnTo>
                    <a:pt x="10631" y="37968"/>
                  </a:lnTo>
                  <a:cubicBezTo>
                    <a:pt x="10631" y="37968"/>
                    <a:pt x="9869" y="37968"/>
                    <a:pt x="9583" y="3796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6E0509FC-AAD4-7142-9B6C-C1B18E04A877}"/>
                </a:ext>
              </a:extLst>
            </p:cNvPr>
            <p:cNvSpPr/>
            <p:nvPr/>
          </p:nvSpPr>
          <p:spPr>
            <a:xfrm>
              <a:off x="11969849" y="5284672"/>
              <a:ext cx="340920" cy="55493"/>
            </a:xfrm>
            <a:custGeom>
              <a:avLst/>
              <a:gdLst>
                <a:gd name="connsiteX0" fmla="*/ 9488 w 340920"/>
                <a:gd name="connsiteY0" fmla="*/ 55493 h 55493"/>
                <a:gd name="connsiteX1" fmla="*/ 58 w 340920"/>
                <a:gd name="connsiteY1" fmla="*/ 47016 h 55493"/>
                <a:gd name="connsiteX2" fmla="*/ 8440 w 340920"/>
                <a:gd name="connsiteY2" fmla="*/ 36443 h 55493"/>
                <a:gd name="connsiteX3" fmla="*/ 330290 w 340920"/>
                <a:gd name="connsiteY3" fmla="*/ 58 h 55493"/>
                <a:gd name="connsiteX4" fmla="*/ 340862 w 340920"/>
                <a:gd name="connsiteY4" fmla="*/ 8440 h 55493"/>
                <a:gd name="connsiteX5" fmla="*/ 332480 w 340920"/>
                <a:gd name="connsiteY5" fmla="*/ 19013 h 55493"/>
                <a:gd name="connsiteX6" fmla="*/ 10631 w 340920"/>
                <a:gd name="connsiteY6" fmla="*/ 55398 h 55493"/>
                <a:gd name="connsiteX7" fmla="*/ 9583 w 340920"/>
                <a:gd name="connsiteY7" fmla="*/ 55398 h 55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0920" h="55493">
                  <a:moveTo>
                    <a:pt x="9488" y="55493"/>
                  </a:moveTo>
                  <a:cubicBezTo>
                    <a:pt x="4725" y="55493"/>
                    <a:pt x="629" y="51874"/>
                    <a:pt x="58" y="47016"/>
                  </a:cubicBezTo>
                  <a:cubicBezTo>
                    <a:pt x="-514" y="41778"/>
                    <a:pt x="3201" y="37110"/>
                    <a:pt x="8440" y="36443"/>
                  </a:cubicBezTo>
                  <a:lnTo>
                    <a:pt x="330290" y="58"/>
                  </a:lnTo>
                  <a:cubicBezTo>
                    <a:pt x="335528" y="-513"/>
                    <a:pt x="340196" y="3201"/>
                    <a:pt x="340862" y="8440"/>
                  </a:cubicBezTo>
                  <a:cubicBezTo>
                    <a:pt x="341434" y="13679"/>
                    <a:pt x="337719" y="18346"/>
                    <a:pt x="332480" y="19013"/>
                  </a:cubicBezTo>
                  <a:lnTo>
                    <a:pt x="10631" y="55398"/>
                  </a:lnTo>
                  <a:cubicBezTo>
                    <a:pt x="10631" y="55398"/>
                    <a:pt x="9869" y="55398"/>
                    <a:pt x="9583" y="5539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200DEF0C-03F3-0790-CA8D-216752B8975B}"/>
                </a:ext>
              </a:extLst>
            </p:cNvPr>
            <p:cNvSpPr/>
            <p:nvPr/>
          </p:nvSpPr>
          <p:spPr>
            <a:xfrm>
              <a:off x="12145625" y="5319479"/>
              <a:ext cx="229397" cy="188041"/>
            </a:xfrm>
            <a:custGeom>
              <a:avLst/>
              <a:gdLst>
                <a:gd name="connsiteX0" fmla="*/ 86600 w 229397"/>
                <a:gd name="connsiteY0" fmla="*/ 188041 h 188041"/>
                <a:gd name="connsiteX1" fmla="*/ 79170 w 229397"/>
                <a:gd name="connsiteY1" fmla="*/ 185469 h 188041"/>
                <a:gd name="connsiteX2" fmla="*/ 4494 w 229397"/>
                <a:gd name="connsiteY2" fmla="*/ 126033 h 188041"/>
                <a:gd name="connsiteX3" fmla="*/ 2589 w 229397"/>
                <a:gd name="connsiteY3" fmla="*/ 109269 h 188041"/>
                <a:gd name="connsiteX4" fmla="*/ 19353 w 229397"/>
                <a:gd name="connsiteY4" fmla="*/ 107364 h 188041"/>
                <a:gd name="connsiteX5" fmla="*/ 84695 w 229397"/>
                <a:gd name="connsiteY5" fmla="*/ 159371 h 188041"/>
                <a:gd name="connsiteX6" fmla="*/ 208139 w 229397"/>
                <a:gd name="connsiteY6" fmla="*/ 4494 h 188041"/>
                <a:gd name="connsiteX7" fmla="*/ 224903 w 229397"/>
                <a:gd name="connsiteY7" fmla="*/ 2589 h 188041"/>
                <a:gd name="connsiteX8" fmla="*/ 226808 w 229397"/>
                <a:gd name="connsiteY8" fmla="*/ 19353 h 188041"/>
                <a:gd name="connsiteX9" fmla="*/ 95934 w 229397"/>
                <a:gd name="connsiteY9" fmla="*/ 183564 h 188041"/>
                <a:gd name="connsiteX10" fmla="*/ 86600 w 229397"/>
                <a:gd name="connsiteY10" fmla="*/ 188041 h 188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9397" h="188041">
                  <a:moveTo>
                    <a:pt x="86600" y="188041"/>
                  </a:moveTo>
                  <a:cubicBezTo>
                    <a:pt x="84028" y="188041"/>
                    <a:pt x="81361" y="187184"/>
                    <a:pt x="79170" y="185469"/>
                  </a:cubicBezTo>
                  <a:lnTo>
                    <a:pt x="4494" y="126033"/>
                  </a:lnTo>
                  <a:cubicBezTo>
                    <a:pt x="-649" y="121938"/>
                    <a:pt x="-1506" y="114413"/>
                    <a:pt x="2589" y="109269"/>
                  </a:cubicBezTo>
                  <a:cubicBezTo>
                    <a:pt x="6685" y="104126"/>
                    <a:pt x="14115" y="103269"/>
                    <a:pt x="19353" y="107364"/>
                  </a:cubicBezTo>
                  <a:lnTo>
                    <a:pt x="84695" y="159371"/>
                  </a:lnTo>
                  <a:lnTo>
                    <a:pt x="208139" y="4494"/>
                  </a:lnTo>
                  <a:cubicBezTo>
                    <a:pt x="212235" y="-649"/>
                    <a:pt x="219759" y="-1506"/>
                    <a:pt x="224903" y="2589"/>
                  </a:cubicBezTo>
                  <a:cubicBezTo>
                    <a:pt x="230046" y="6685"/>
                    <a:pt x="230904" y="14210"/>
                    <a:pt x="226808" y="19353"/>
                  </a:cubicBezTo>
                  <a:lnTo>
                    <a:pt x="95934" y="183564"/>
                  </a:lnTo>
                  <a:cubicBezTo>
                    <a:pt x="93553" y="186517"/>
                    <a:pt x="90124" y="188041"/>
                    <a:pt x="86600" y="18804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F4C75FAE-B10A-C1EB-CC72-514C3C150B14}"/>
              </a:ext>
            </a:extLst>
          </p:cNvPr>
          <p:cNvSpPr txBox="1"/>
          <p:nvPr/>
        </p:nvSpPr>
        <p:spPr>
          <a:xfrm>
            <a:off x="9654785" y="5278722"/>
            <a:ext cx="1653619" cy="350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1200"/>
              <a:t>a</a:t>
            </a:r>
            <a:r>
              <a:rPr lang="en-US" sz="1200">
                <a:latin typeface="+mn-lt"/>
              </a:rPr>
              <a:t>nd more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66CFC7-7E7F-8FB9-DF8C-BFAF51C581BF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l="64860" t="4161" b="13667"/>
          <a:stretch/>
        </p:blipFill>
        <p:spPr>
          <a:xfrm>
            <a:off x="0" y="-1"/>
            <a:ext cx="2932782" cy="685800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429145DC-B45F-C737-479F-CE567F478FB3}"/>
              </a:ext>
            </a:extLst>
          </p:cNvPr>
          <p:cNvSpPr txBox="1"/>
          <p:nvPr/>
        </p:nvSpPr>
        <p:spPr>
          <a:xfrm>
            <a:off x="667625" y="3026286"/>
            <a:ext cx="1783587" cy="17851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4400" b="1">
                <a:gradFill>
                  <a:gsLst>
                    <a:gs pos="0">
                      <a:srgbClr val="365DEE"/>
                    </a:gs>
                    <a:gs pos="100000">
                      <a:srgbClr val="B71550"/>
                    </a:gs>
                  </a:gsLst>
                  <a:lin ang="0" scaled="1"/>
                </a:gradFill>
                <a:latin typeface="+mn-lt"/>
              </a:rPr>
              <a:t>TMS</a:t>
            </a:r>
            <a:endParaRPr lang="en-US" sz="3600" b="1">
              <a:gradFill>
                <a:gsLst>
                  <a:gs pos="0">
                    <a:srgbClr val="365DEE"/>
                  </a:gs>
                  <a:gs pos="100000">
                    <a:srgbClr val="B71550"/>
                  </a:gs>
                </a:gsLst>
                <a:lin ang="0" scaled="1"/>
              </a:gradFill>
              <a:latin typeface="+mn-lt"/>
            </a:endParaRPr>
          </a:p>
          <a:p>
            <a:pPr algn="ctr"/>
            <a:r>
              <a:rPr lang="en-US" sz="3600" b="1"/>
              <a:t>global trends</a:t>
            </a:r>
            <a:endParaRPr lang="en-US" sz="3600" b="1">
              <a:latin typeface="+mn-lt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2E5D0F3-C951-94D5-23ED-FF123B214B7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TMS TRENDS - INTRODUC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9B5F18-7B7A-DADC-9762-B0BE9C404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MS development trends are divided into performance, integration and sustainability considerations; multiple factors to take into accou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28C126-1587-9AE1-987F-E6FA4FDC57E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1384" y="6529464"/>
            <a:ext cx="580287" cy="123111"/>
          </a:xfrm>
        </p:spPr>
        <p:txBody>
          <a:bodyPr/>
          <a:lstStyle/>
          <a:p>
            <a:r>
              <a:rPr lang="en-US"/>
              <a:t>Source: FEV</a:t>
            </a:r>
          </a:p>
        </p:txBody>
      </p:sp>
    </p:spTree>
    <p:extLst>
      <p:ext uri="{BB962C8B-B14F-4D97-AF65-F5344CB8AC3E}">
        <p14:creationId xmlns:p14="http://schemas.microsoft.com/office/powerpoint/2010/main" val="154312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CB375C0D-2190-9F0E-DACC-14FCE94209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53" imgH="353" progId="TCLayout.ActiveDocument.1">
                  <p:embed/>
                </p:oleObj>
              </mc:Choice>
              <mc:Fallback>
                <p:oleObj name="think-cell Slide" r:id="rId11" imgW="353" imgH="353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375C0D-2190-9F0E-DACC-14FCE9420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FED5CE7-A695-E7BE-6A62-4A95D880B638}"/>
              </a:ext>
            </a:extLst>
          </p:cNvPr>
          <p:cNvSpPr/>
          <p:nvPr/>
        </p:nvSpPr>
        <p:spPr>
          <a:xfrm>
            <a:off x="550862" y="1700213"/>
            <a:ext cx="11088542" cy="4608512"/>
          </a:xfrm>
          <a:prstGeom prst="rect">
            <a:avLst/>
          </a:prstGeom>
          <a:solidFill>
            <a:srgbClr val="CCE7EC">
              <a:alpha val="44000"/>
            </a:srgb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TextBox1601506254">
            <a:extLst>
              <a:ext uri="{FF2B5EF4-FFF2-40B4-BE49-F238E27FC236}">
                <a16:creationId xmlns:a16="http://schemas.microsoft.com/office/drawing/2014/main" id="{9104484A-E9DD-F136-56D9-BC4D1C802873}"/>
              </a:ext>
            </a:extLst>
          </p:cNvPr>
          <p:cNvSpPr txBox="1"/>
          <p:nvPr/>
        </p:nvSpPr>
        <p:spPr>
          <a:xfrm>
            <a:off x="1148840" y="2264141"/>
            <a:ext cx="499480" cy="1957361"/>
          </a:xfrm>
          <a:prstGeom prst="roundRect">
            <a:avLst>
              <a:gd name="adj" fmla="val 10172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/>
          </a:p>
          <a:p>
            <a:endParaRPr lang="en-US" err="1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7F8FB5D-257A-8842-58CA-03057105DF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Poppins" panose="00000500000000000000" pitchFamily="2" charset="0"/>
              </a:rPr>
              <a:t>TMs clustering – EXPLAN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0FE3E7-1ECD-7782-13E8-59E6AB5830D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Source: FEV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1FDF791-0BAD-DF17-EC24-DD0889A52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Efficiency level is mainly determined through heat exchanges and re-use possibilities, while integration is defined by the level of TMS centraliz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22ABB9-A5FB-01A0-73BC-BB65DACB6A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C208DEE4-9385-EAAE-F812-DBE5B02635F5}"/>
              </a:ext>
            </a:extLst>
          </p:cNvPr>
          <p:cNvSpPr txBox="1"/>
          <p:nvPr/>
        </p:nvSpPr>
        <p:spPr>
          <a:xfrm rot="10800000">
            <a:off x="1183137" y="2176135"/>
            <a:ext cx="430887" cy="2190523"/>
          </a:xfrm>
          <a:prstGeom prst="rect">
            <a:avLst/>
          </a:prstGeom>
        </p:spPr>
        <p:txBody>
          <a:bodyPr vert="vert" wrap="square" lIns="0" tIns="0" rIns="0" bIns="0" rtlCol="0">
            <a:spAutoFit/>
          </a:bodyPr>
          <a:lstStyle/>
          <a:p>
            <a:pPr algn="ctr"/>
            <a:r>
              <a:rPr lang="en-US" sz="1400" b="1">
                <a:latin typeface="+mn-lt"/>
              </a:rPr>
              <a:t>Exemplary ranking criteria</a:t>
            </a: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40D8B13D-BFCC-74D9-499F-302FC5EBED0D}"/>
              </a:ext>
            </a:extLst>
          </p:cNvPr>
          <p:cNvGrpSpPr/>
          <p:nvPr/>
        </p:nvGrpSpPr>
        <p:grpSpPr>
          <a:xfrm rot="10800000">
            <a:off x="11008863" y="3227933"/>
            <a:ext cx="499480" cy="2190523"/>
            <a:chOff x="9041512" y="2357729"/>
            <a:chExt cx="499480" cy="2190523"/>
          </a:xfrm>
        </p:grpSpPr>
        <p:sp>
          <p:nvSpPr>
            <p:cNvPr id="94" name="TextBox1601506254">
              <a:extLst>
                <a:ext uri="{FF2B5EF4-FFF2-40B4-BE49-F238E27FC236}">
                  <a16:creationId xmlns:a16="http://schemas.microsoft.com/office/drawing/2014/main" id="{E0E7D14F-8839-3AC6-2569-7EFA365F95C7}"/>
                </a:ext>
              </a:extLst>
            </p:cNvPr>
            <p:cNvSpPr txBox="1"/>
            <p:nvPr/>
          </p:nvSpPr>
          <p:spPr>
            <a:xfrm>
              <a:off x="9041512" y="2474310"/>
              <a:ext cx="499480" cy="1957361"/>
            </a:xfrm>
            <a:prstGeom prst="roundRect">
              <a:avLst>
                <a:gd name="adj" fmla="val 10172"/>
              </a:avLst>
            </a:prstGeom>
            <a:solidFill>
              <a:srgbClr val="FFFFFF"/>
            </a:solidFill>
            <a:ln w="3175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5400000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108000" tIns="108000" rIns="108000" bIns="108000" rtlCol="0">
              <a:noAutofit/>
            </a:bodyPr>
            <a:lstStyle>
              <a:lvl1pPr lvl="0" indent="0" defTabSz="1083747">
                <a:spcBef>
                  <a:spcPts val="1200"/>
                </a:spcBef>
                <a:buFont typeface="Arial" panose="020B0604020202020204" pitchFamily="34" charset="0"/>
                <a:buNone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1pPr>
              <a:lvl2pPr marL="216000" lvl="1" indent="-216000" defTabSz="1083747">
                <a:spcBef>
                  <a:spcPts val="1200"/>
                </a:spcBef>
                <a:buClr>
                  <a:schemeClr val="accent2"/>
                </a:buClr>
                <a:buSzPct val="100000"/>
                <a:buFont typeface="FEV" panose="02000509000000000000" pitchFamily="49" charset="0"/>
                <a:buChar char="•"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2pPr>
              <a:lvl3pPr marL="432000" lvl="2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3pPr>
              <a:lvl4pPr marL="648000" lvl="3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4pPr>
              <a:lvl5pPr marL="864000" lvl="4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5pPr>
              <a:lvl6pPr marL="2683196" indent="0" defTabSz="1083747">
                <a:spcBef>
                  <a:spcPts val="711"/>
                </a:spcBef>
                <a:buClrTx/>
                <a:buFont typeface="Wingdings" panose="05000000000000000000" pitchFamily="2" charset="2"/>
                <a:buNone/>
                <a:defRPr lang="en-US" sz="16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defRPr>
              </a:lvl6pPr>
              <a:lvl7pPr marL="3522177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7pPr>
              <a:lvl8pPr marL="4064051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8pPr>
              <a:lvl9pPr marL="4605924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9pPr>
            </a:lstStyle>
            <a:p>
              <a:endParaRPr lang="en-US"/>
            </a:p>
            <a:p>
              <a:endParaRPr lang="en-US" err="1"/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63F5AF21-6C80-0A5D-2A5C-5CBB2C2AD415}"/>
                </a:ext>
              </a:extLst>
            </p:cNvPr>
            <p:cNvSpPr txBox="1"/>
            <p:nvPr/>
          </p:nvSpPr>
          <p:spPr>
            <a:xfrm rot="10800000">
              <a:off x="9075809" y="2357729"/>
              <a:ext cx="430887" cy="2190523"/>
            </a:xfrm>
            <a:prstGeom prst="rect">
              <a:avLst/>
            </a:prstGeom>
          </p:spPr>
          <p:txBody>
            <a:bodyPr vert="vert" wrap="square" lIns="0" tIns="0" rIns="0" bIns="0" rtlCol="0">
              <a:spAutoFit/>
            </a:bodyPr>
            <a:lstStyle/>
            <a:p>
              <a:pPr algn="ctr"/>
              <a:r>
                <a:rPr lang="en-US" sz="1400" b="1">
                  <a:latin typeface="+mn-lt"/>
                </a:rPr>
                <a:t>Exemplary ranking criteria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4B206B39-B9D4-28F8-5F4D-9FBE3561B1F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030153" y="3404341"/>
            <a:ext cx="329671" cy="317461"/>
          </a:xfrm>
          <a:prstGeom prst="rect">
            <a:avLst/>
          </a:prstGeom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id="{EC3ECAD3-EA4A-4F52-C663-DFED0FBBF0A3}"/>
              </a:ext>
            </a:extLst>
          </p:cNvPr>
          <p:cNvSpPr txBox="1"/>
          <p:nvPr/>
        </p:nvSpPr>
        <p:spPr>
          <a:xfrm>
            <a:off x="2546355" y="3470739"/>
            <a:ext cx="2095673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200">
                <a:latin typeface="+mn-lt"/>
              </a:rPr>
              <a:t>Presence of a heat pump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6411B82-FD60-8AEE-FE0C-9FA7B45DA810}"/>
              </a:ext>
            </a:extLst>
          </p:cNvPr>
          <p:cNvSpPr txBox="1"/>
          <p:nvPr/>
        </p:nvSpPr>
        <p:spPr>
          <a:xfrm>
            <a:off x="2546355" y="3028850"/>
            <a:ext cx="232943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200"/>
              <a:t>Integration of multiple EDUs</a:t>
            </a:r>
            <a:endParaRPr lang="en-US" sz="1200">
              <a:latin typeface="+mn-lt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365E80BD-6DE0-882D-83FC-1AAF53BE4E2E}"/>
              </a:ext>
            </a:extLst>
          </p:cNvPr>
          <p:cNvSpPr txBox="1"/>
          <p:nvPr/>
        </p:nvSpPr>
        <p:spPr>
          <a:xfrm>
            <a:off x="2546354" y="2145072"/>
            <a:ext cx="4607353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200" dirty="0">
                <a:latin typeface="+mn-lt"/>
              </a:rPr>
              <a:t>Advanced heat exchange possibilities (e.g., chillers, LCCs)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6AF5355B-F62A-ECF2-CBF1-04E4FE2F7687}"/>
              </a:ext>
            </a:extLst>
          </p:cNvPr>
          <p:cNvSpPr txBox="1"/>
          <p:nvPr/>
        </p:nvSpPr>
        <p:spPr>
          <a:xfrm>
            <a:off x="7363945" y="3414535"/>
            <a:ext cx="2885723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/>
            <a:r>
              <a:rPr lang="en-US" sz="1200">
                <a:latin typeface="+mn-lt"/>
              </a:rPr>
              <a:t>Merge of EDU and PE circuits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01228D99-57F9-BE85-55B6-E34AEC2F264A}"/>
              </a:ext>
            </a:extLst>
          </p:cNvPr>
          <p:cNvSpPr txBox="1"/>
          <p:nvPr/>
        </p:nvSpPr>
        <p:spPr>
          <a:xfrm>
            <a:off x="6848867" y="4229581"/>
            <a:ext cx="340080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/>
            <a:r>
              <a:rPr lang="en-US" sz="1200">
                <a:latin typeface="+mn-lt"/>
              </a:rPr>
              <a:t>Centralized thermal management module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72930CF5-6DB3-53F0-6DBB-4F46583040DE}"/>
              </a:ext>
            </a:extLst>
          </p:cNvPr>
          <p:cNvSpPr txBox="1"/>
          <p:nvPr/>
        </p:nvSpPr>
        <p:spPr>
          <a:xfrm>
            <a:off x="5746518" y="4637104"/>
            <a:ext cx="450315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/>
            <a:r>
              <a:rPr lang="en-US" sz="1200">
                <a:latin typeface="+mn-lt"/>
              </a:rPr>
              <a:t>Integration of brake resistor circuits with others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D5C94411-B224-F8EC-2E83-E8030E0BB5ED}"/>
              </a:ext>
            </a:extLst>
          </p:cNvPr>
          <p:cNvSpPr txBox="1"/>
          <p:nvPr/>
        </p:nvSpPr>
        <p:spPr>
          <a:xfrm>
            <a:off x="2546354" y="3912628"/>
            <a:ext cx="2885723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200">
                <a:latin typeface="+mn-lt"/>
              </a:rPr>
              <a:t>Re-use of waste heat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04CD82E9-B7D3-4B26-EDAF-4D57562C8040}"/>
              </a:ext>
            </a:extLst>
          </p:cNvPr>
          <p:cNvSpPr txBox="1"/>
          <p:nvPr/>
        </p:nvSpPr>
        <p:spPr>
          <a:xfrm>
            <a:off x="2546354" y="2586961"/>
            <a:ext cx="2885723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200">
                <a:latin typeface="+mn-lt"/>
              </a:rPr>
              <a:t>Limited utilization of PTC heaters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77462FC6-BAFB-F450-E639-B8D34A1B58A4}"/>
              </a:ext>
            </a:extLst>
          </p:cNvPr>
          <p:cNvSpPr txBox="1"/>
          <p:nvPr/>
        </p:nvSpPr>
        <p:spPr>
          <a:xfrm>
            <a:off x="7695202" y="3822058"/>
            <a:ext cx="255446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/>
            <a:r>
              <a:rPr lang="en-US" sz="1200"/>
              <a:t>Utilization of multi-way valves</a:t>
            </a:r>
            <a:endParaRPr lang="en-US" sz="1200">
              <a:latin typeface="+mn-lt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4D0A5E36-B1C9-BBDB-D375-E9E94DC5A1B2}"/>
              </a:ext>
            </a:extLst>
          </p:cNvPr>
          <p:cNvSpPr txBox="1"/>
          <p:nvPr/>
        </p:nvSpPr>
        <p:spPr>
          <a:xfrm>
            <a:off x="4542665" y="5044626"/>
            <a:ext cx="5707003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/>
            <a:r>
              <a:rPr lang="en-US" sz="1200"/>
              <a:t>Merge of cabin and battery refrigerant circuits</a:t>
            </a:r>
            <a:endParaRPr lang="en-US" sz="1200">
              <a:latin typeface="+mn-lt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21C8D43F-161C-5552-9610-9222B0A5E7ED}"/>
              </a:ext>
            </a:extLst>
          </p:cNvPr>
          <p:cNvSpPr txBox="1"/>
          <p:nvPr/>
        </p:nvSpPr>
        <p:spPr>
          <a:xfrm>
            <a:off x="2546354" y="4354519"/>
            <a:ext cx="2885723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200">
                <a:latin typeface="+mn-lt"/>
              </a:rPr>
              <a:t>…</a:t>
            </a: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AFEF0A29-8E64-C7E8-2F42-6E98FE099A67}"/>
              </a:ext>
            </a:extLst>
          </p:cNvPr>
          <p:cNvGrpSpPr/>
          <p:nvPr/>
        </p:nvGrpSpPr>
        <p:grpSpPr>
          <a:xfrm rot="10800000">
            <a:off x="2003187" y="2156925"/>
            <a:ext cx="396002" cy="160959"/>
            <a:chOff x="4615181" y="4439461"/>
            <a:chExt cx="3299787" cy="1619365"/>
          </a:xfrm>
        </p:grpSpPr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D39A5E77-9FB4-50F3-74CC-CEB4385FEA92}"/>
                </a:ext>
              </a:extLst>
            </p:cNvPr>
            <p:cNvSpPr/>
            <p:nvPr/>
          </p:nvSpPr>
          <p:spPr>
            <a:xfrm>
              <a:off x="4615181" y="4439461"/>
              <a:ext cx="3299787" cy="1619365"/>
            </a:xfrm>
            <a:prstGeom prst="rect">
              <a:avLst/>
            </a:prstGeom>
            <a:gradFill>
              <a:gsLst>
                <a:gs pos="0">
                  <a:srgbClr val="1C5EF0"/>
                </a:gs>
                <a:gs pos="100000">
                  <a:schemeClr val="tx2"/>
                </a:gs>
              </a:gsLst>
              <a:lin ang="10800000" scaled="0"/>
            </a:gradFill>
            <a:ln w="6350">
              <a:solidFill>
                <a:schemeClr val="bg2"/>
              </a:solidFill>
            </a:ln>
          </p:spPr>
          <p:txBody>
            <a:bodyPr vert="horz" lIns="108109" tIns="108109" rIns="108109" bIns="108109" rtlCol="0" anchor="ctr">
              <a:noAutofit/>
            </a:bodyPr>
            <a:lstStyle/>
            <a:p>
              <a:pPr algn="ctr" defTabSz="1083747">
                <a:spcBef>
                  <a:spcPts val="1200"/>
                </a:spcBef>
              </a:pPr>
              <a:endParaRPr lang="en-US" sz="1600"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C84481D6-C0D4-9D36-B4E8-E5AA9C5433C7}"/>
                </a:ext>
              </a:extLst>
            </p:cNvPr>
            <p:cNvGrpSpPr/>
            <p:nvPr/>
          </p:nvGrpSpPr>
          <p:grpSpPr>
            <a:xfrm>
              <a:off x="6599813" y="4639165"/>
              <a:ext cx="201252" cy="1219980"/>
              <a:chOff x="2255217" y="1832923"/>
              <a:chExt cx="431172" cy="1713939"/>
            </a:xfrm>
          </p:grpSpPr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E84E47CD-D10A-4B17-D9F0-F76D9890EE67}"/>
                  </a:ext>
                </a:extLst>
              </p:cNvPr>
              <p:cNvCxnSpPr/>
              <p:nvPr/>
            </p:nvCxnSpPr>
            <p:spPr>
              <a:xfrm>
                <a:off x="2255220" y="1832923"/>
                <a:ext cx="431169" cy="43117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6B1333F7-E158-E12C-3DDB-C18A26D0E3F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2255218" y="2260513"/>
                <a:ext cx="431170" cy="431169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94DE666E-E28C-BCD8-E0EF-EFCCBC435272}"/>
                  </a:ext>
                </a:extLst>
              </p:cNvPr>
              <p:cNvCxnSpPr/>
              <p:nvPr/>
            </p:nvCxnSpPr>
            <p:spPr>
              <a:xfrm>
                <a:off x="2255219" y="2688101"/>
                <a:ext cx="431169" cy="43117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>
                <a:extLst>
                  <a:ext uri="{FF2B5EF4-FFF2-40B4-BE49-F238E27FC236}">
                    <a16:creationId xmlns:a16="http://schemas.microsoft.com/office/drawing/2014/main" id="{BCE0404C-8D73-DDCC-8197-67D402E2FD2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2255217" y="3115692"/>
                <a:ext cx="431170" cy="431169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C66FAB0E-43D0-E052-1905-41880200E277}"/>
                </a:ext>
              </a:extLst>
            </p:cNvPr>
            <p:cNvGrpSpPr/>
            <p:nvPr/>
          </p:nvGrpSpPr>
          <p:grpSpPr>
            <a:xfrm>
              <a:off x="7017332" y="4639165"/>
              <a:ext cx="201252" cy="1219980"/>
              <a:chOff x="2255217" y="1832923"/>
              <a:chExt cx="431172" cy="1713939"/>
            </a:xfrm>
          </p:grpSpPr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3ECE2E26-7DAC-3A91-CEA6-610114F15FED}"/>
                  </a:ext>
                </a:extLst>
              </p:cNvPr>
              <p:cNvCxnSpPr/>
              <p:nvPr/>
            </p:nvCxnSpPr>
            <p:spPr>
              <a:xfrm>
                <a:off x="2255220" y="1832923"/>
                <a:ext cx="431169" cy="43117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631A4038-082F-C284-2204-DC8F7B9A03E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2255218" y="2260513"/>
                <a:ext cx="431170" cy="431169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97E23E62-0166-7086-1A53-1A22FAE5F70C}"/>
                  </a:ext>
                </a:extLst>
              </p:cNvPr>
              <p:cNvCxnSpPr/>
              <p:nvPr/>
            </p:nvCxnSpPr>
            <p:spPr>
              <a:xfrm>
                <a:off x="2255219" y="2688101"/>
                <a:ext cx="431169" cy="43117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D237286A-7387-6A2C-C80B-5AACEDA02FE8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2255217" y="3115692"/>
                <a:ext cx="431170" cy="431169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1550A36E-5299-F943-2BEC-F8E61D5F3076}"/>
                </a:ext>
              </a:extLst>
            </p:cNvPr>
            <p:cNvGrpSpPr/>
            <p:nvPr/>
          </p:nvGrpSpPr>
          <p:grpSpPr>
            <a:xfrm>
              <a:off x="7434853" y="4639165"/>
              <a:ext cx="201252" cy="1219980"/>
              <a:chOff x="2255217" y="1832923"/>
              <a:chExt cx="431172" cy="1713939"/>
            </a:xfrm>
          </p:grpSpPr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CAE71ADF-50C2-AFE8-F334-286A0CF5B7CF}"/>
                  </a:ext>
                </a:extLst>
              </p:cNvPr>
              <p:cNvCxnSpPr/>
              <p:nvPr/>
            </p:nvCxnSpPr>
            <p:spPr>
              <a:xfrm>
                <a:off x="2255220" y="1832923"/>
                <a:ext cx="431169" cy="43117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>
                <a:extLst>
                  <a:ext uri="{FF2B5EF4-FFF2-40B4-BE49-F238E27FC236}">
                    <a16:creationId xmlns:a16="http://schemas.microsoft.com/office/drawing/2014/main" id="{A3B29CA9-D985-79E6-D464-622646DA5F87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2255218" y="2260513"/>
                <a:ext cx="431170" cy="431169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072F2F3A-1F12-BD02-4A3D-E7AC5C401FFE}"/>
                  </a:ext>
                </a:extLst>
              </p:cNvPr>
              <p:cNvCxnSpPr/>
              <p:nvPr/>
            </p:nvCxnSpPr>
            <p:spPr>
              <a:xfrm>
                <a:off x="2255219" y="2688101"/>
                <a:ext cx="431169" cy="43117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CD161A6D-7D28-230B-8B08-B791FB03FD2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2255217" y="3115692"/>
                <a:ext cx="431170" cy="431169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14BECC9C-422B-8DDD-68C0-EBF8146F58F2}"/>
                </a:ext>
              </a:extLst>
            </p:cNvPr>
            <p:cNvGrpSpPr/>
            <p:nvPr/>
          </p:nvGrpSpPr>
          <p:grpSpPr>
            <a:xfrm>
              <a:off x="5764775" y="4639165"/>
              <a:ext cx="201252" cy="1219980"/>
              <a:chOff x="2255217" y="1832923"/>
              <a:chExt cx="431172" cy="1713939"/>
            </a:xfrm>
          </p:grpSpPr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56E6F8CC-CA0C-EFF9-1A3D-F325C177BAA6}"/>
                  </a:ext>
                </a:extLst>
              </p:cNvPr>
              <p:cNvCxnSpPr/>
              <p:nvPr/>
            </p:nvCxnSpPr>
            <p:spPr>
              <a:xfrm>
                <a:off x="2255220" y="1832923"/>
                <a:ext cx="431169" cy="43117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F61CC594-2AED-104A-8240-678223FDEC3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2255218" y="2260513"/>
                <a:ext cx="431170" cy="431169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05DD037D-C8FA-B35D-0C56-D12A898D047A}"/>
                  </a:ext>
                </a:extLst>
              </p:cNvPr>
              <p:cNvCxnSpPr/>
              <p:nvPr/>
            </p:nvCxnSpPr>
            <p:spPr>
              <a:xfrm>
                <a:off x="2255219" y="2688101"/>
                <a:ext cx="431169" cy="43117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>
                <a:extLst>
                  <a:ext uri="{FF2B5EF4-FFF2-40B4-BE49-F238E27FC236}">
                    <a16:creationId xmlns:a16="http://schemas.microsoft.com/office/drawing/2014/main" id="{CE4F5CE1-513A-FBF6-9B5D-549CB0AE234B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2255217" y="3115692"/>
                <a:ext cx="431170" cy="431169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402B6AFB-E108-F8E0-A104-091468E6F8DB}"/>
                </a:ext>
              </a:extLst>
            </p:cNvPr>
            <p:cNvGrpSpPr/>
            <p:nvPr/>
          </p:nvGrpSpPr>
          <p:grpSpPr>
            <a:xfrm>
              <a:off x="6182294" y="4639165"/>
              <a:ext cx="201252" cy="1219980"/>
              <a:chOff x="2255217" y="1832923"/>
              <a:chExt cx="431172" cy="1713939"/>
            </a:xfrm>
          </p:grpSpPr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F34EDE57-BBAB-A5AB-A9F7-12BEBA158FDC}"/>
                  </a:ext>
                </a:extLst>
              </p:cNvPr>
              <p:cNvCxnSpPr/>
              <p:nvPr/>
            </p:nvCxnSpPr>
            <p:spPr>
              <a:xfrm>
                <a:off x="2255220" y="1832923"/>
                <a:ext cx="431169" cy="43117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55D44065-E802-5E40-243F-481F2FE91F1B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2255218" y="2260513"/>
                <a:ext cx="431170" cy="431169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82E8113E-9771-9780-E42F-0D174AA3E2B2}"/>
                  </a:ext>
                </a:extLst>
              </p:cNvPr>
              <p:cNvCxnSpPr/>
              <p:nvPr/>
            </p:nvCxnSpPr>
            <p:spPr>
              <a:xfrm>
                <a:off x="2255219" y="2688101"/>
                <a:ext cx="431169" cy="43117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A0D89F0C-9D0C-EF2A-7101-99A77F7F2C4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2255217" y="3115692"/>
                <a:ext cx="431170" cy="431169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1D0020F9-0A42-0CB6-8034-070C2FAD6533}"/>
                </a:ext>
              </a:extLst>
            </p:cNvPr>
            <p:cNvGrpSpPr/>
            <p:nvPr/>
          </p:nvGrpSpPr>
          <p:grpSpPr>
            <a:xfrm>
              <a:off x="5347256" y="4639165"/>
              <a:ext cx="201252" cy="1219980"/>
              <a:chOff x="2255217" y="1832923"/>
              <a:chExt cx="431172" cy="1713939"/>
            </a:xfrm>
          </p:grpSpPr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DCFCFCFD-0FFF-21F0-969B-366FA2C0BFB0}"/>
                  </a:ext>
                </a:extLst>
              </p:cNvPr>
              <p:cNvCxnSpPr/>
              <p:nvPr/>
            </p:nvCxnSpPr>
            <p:spPr>
              <a:xfrm>
                <a:off x="2255220" y="1832923"/>
                <a:ext cx="431169" cy="43117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1CDF968B-242B-EDA8-E838-6AB84E07F20E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2255218" y="2260513"/>
                <a:ext cx="431170" cy="431169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45B8C845-7D83-3F76-A4A8-1D0E45C5CA1D}"/>
                  </a:ext>
                </a:extLst>
              </p:cNvPr>
              <p:cNvCxnSpPr/>
              <p:nvPr/>
            </p:nvCxnSpPr>
            <p:spPr>
              <a:xfrm>
                <a:off x="2255219" y="2688101"/>
                <a:ext cx="431169" cy="43117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43C13E67-456E-81BB-056B-7E7ABDCBB882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2255217" y="3115692"/>
                <a:ext cx="431170" cy="431169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22989A1B-B6F8-3D0B-D1A6-6B2199AE910F}"/>
                </a:ext>
              </a:extLst>
            </p:cNvPr>
            <p:cNvGrpSpPr/>
            <p:nvPr/>
          </p:nvGrpSpPr>
          <p:grpSpPr>
            <a:xfrm>
              <a:off x="4929737" y="4639165"/>
              <a:ext cx="201252" cy="1219980"/>
              <a:chOff x="2255217" y="1832923"/>
              <a:chExt cx="431172" cy="1713939"/>
            </a:xfrm>
          </p:grpSpPr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A0495A0C-3024-0696-D479-93A6F57C5B08}"/>
                  </a:ext>
                </a:extLst>
              </p:cNvPr>
              <p:cNvCxnSpPr/>
              <p:nvPr/>
            </p:nvCxnSpPr>
            <p:spPr>
              <a:xfrm>
                <a:off x="2255220" y="1832923"/>
                <a:ext cx="431169" cy="43117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C3AE6021-6DB1-01C0-A2D2-EBEB5A88E7B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2255218" y="2260513"/>
                <a:ext cx="431170" cy="431169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C688C860-05A2-FB54-AF20-B044BD57C8E6}"/>
                  </a:ext>
                </a:extLst>
              </p:cNvPr>
              <p:cNvCxnSpPr/>
              <p:nvPr/>
            </p:nvCxnSpPr>
            <p:spPr>
              <a:xfrm>
                <a:off x="2255219" y="2688101"/>
                <a:ext cx="431169" cy="431170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217ED958-243C-777D-7620-F5D591FCE7A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2255217" y="3115692"/>
                <a:ext cx="431170" cy="431169"/>
              </a:xfrm>
              <a:prstGeom prst="line">
                <a:avLst/>
              </a:prstGeom>
              <a:ln w="31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59" name="718 thermometer">
            <a:extLst>
              <a:ext uri="{FF2B5EF4-FFF2-40B4-BE49-F238E27FC236}">
                <a16:creationId xmlns:a16="http://schemas.microsoft.com/office/drawing/2014/main" id="{714122C8-F328-A687-D01D-A539C7B9036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977721" y="2456039"/>
            <a:ext cx="434535" cy="434535"/>
          </a:xfrm>
          <a:prstGeom prst="rect">
            <a:avLst/>
          </a:prstGeom>
        </p:spPr>
      </p:pic>
      <p:grpSp>
        <p:nvGrpSpPr>
          <p:cNvPr id="162" name="Group 161">
            <a:extLst>
              <a:ext uri="{FF2B5EF4-FFF2-40B4-BE49-F238E27FC236}">
                <a16:creationId xmlns:a16="http://schemas.microsoft.com/office/drawing/2014/main" id="{EEF34873-D830-5A4A-4748-DC9515673659}"/>
              </a:ext>
            </a:extLst>
          </p:cNvPr>
          <p:cNvGrpSpPr/>
          <p:nvPr/>
        </p:nvGrpSpPr>
        <p:grpSpPr>
          <a:xfrm>
            <a:off x="1886052" y="2908342"/>
            <a:ext cx="565402" cy="425682"/>
            <a:chOff x="1886052" y="2900038"/>
            <a:chExt cx="565402" cy="425682"/>
          </a:xfrm>
        </p:grpSpPr>
        <p:pic>
          <p:nvPicPr>
            <p:cNvPr id="160" name="624 electric motor">
              <a:extLst>
                <a:ext uri="{FF2B5EF4-FFF2-40B4-BE49-F238E27FC236}">
                  <a16:creationId xmlns:a16="http://schemas.microsoft.com/office/drawing/2014/main" id="{C08947E9-99F7-6374-5CBF-D0B62F8B971F}"/>
                </a:ext>
              </a:extLst>
            </p:cNvPr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122907" y="2997173"/>
              <a:ext cx="328547" cy="328547"/>
            </a:xfrm>
            <a:prstGeom prst="rect">
              <a:avLst/>
            </a:prstGeom>
          </p:spPr>
        </p:pic>
        <p:pic>
          <p:nvPicPr>
            <p:cNvPr id="161" name="624 electric motor">
              <a:extLst>
                <a:ext uri="{FF2B5EF4-FFF2-40B4-BE49-F238E27FC236}">
                  <a16:creationId xmlns:a16="http://schemas.microsoft.com/office/drawing/2014/main" id="{A3193A33-803E-D68F-9902-118C2DF808E7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886052" y="2900038"/>
              <a:ext cx="328547" cy="328547"/>
            </a:xfrm>
            <a:prstGeom prst="rect">
              <a:avLst/>
            </a:prstGeom>
          </p:spPr>
        </p:pic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762B7BF9-BCA7-6CCC-679B-410F4AB65F1D}"/>
              </a:ext>
            </a:extLst>
          </p:cNvPr>
          <p:cNvGrpSpPr/>
          <p:nvPr/>
        </p:nvGrpSpPr>
        <p:grpSpPr>
          <a:xfrm>
            <a:off x="2022848" y="3830538"/>
            <a:ext cx="328548" cy="348866"/>
            <a:chOff x="1166375" y="4141189"/>
            <a:chExt cx="998124" cy="1059846"/>
          </a:xfrm>
        </p:grpSpPr>
        <p:pic>
          <p:nvPicPr>
            <p:cNvPr id="163" name="718 thermometer">
              <a:extLst>
                <a:ext uri="{FF2B5EF4-FFF2-40B4-BE49-F238E27FC236}">
                  <a16:creationId xmlns:a16="http://schemas.microsoft.com/office/drawing/2014/main" id="{F74D5571-4916-ED3C-9438-516A6D79194C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229796" y="4235471"/>
              <a:ext cx="871283" cy="871283"/>
            </a:xfrm>
            <a:prstGeom prst="rect">
              <a:avLst/>
            </a:prstGeom>
          </p:spPr>
        </p:pic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959A3912-F17E-9895-B7CD-3006FFEE934A}"/>
                </a:ext>
              </a:extLst>
            </p:cNvPr>
            <p:cNvGrpSpPr/>
            <p:nvPr/>
          </p:nvGrpSpPr>
          <p:grpSpPr>
            <a:xfrm>
              <a:off x="1166375" y="4141189"/>
              <a:ext cx="998124" cy="1059846"/>
              <a:chOff x="1166375" y="4141189"/>
              <a:chExt cx="998124" cy="1059846"/>
            </a:xfrm>
          </p:grpSpPr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ECE614ED-CD24-BE69-993D-FA96DE93A1B5}"/>
                  </a:ext>
                </a:extLst>
              </p:cNvPr>
              <p:cNvSpPr/>
              <p:nvPr/>
            </p:nvSpPr>
            <p:spPr>
              <a:xfrm>
                <a:off x="1480799" y="4317711"/>
                <a:ext cx="683700" cy="855511"/>
              </a:xfrm>
              <a:custGeom>
                <a:avLst/>
                <a:gdLst>
                  <a:gd name="connsiteX0" fmla="*/ 184590 w 683700"/>
                  <a:gd name="connsiteY0" fmla="*/ 855512 h 855511"/>
                  <a:gd name="connsiteX1" fmla="*/ 7711 w 683700"/>
                  <a:gd name="connsiteY1" fmla="*/ 823222 h 855511"/>
                  <a:gd name="connsiteX2" fmla="*/ 758 w 683700"/>
                  <a:gd name="connsiteY2" fmla="*/ 807887 h 855511"/>
                  <a:gd name="connsiteX3" fmla="*/ 16093 w 683700"/>
                  <a:gd name="connsiteY3" fmla="*/ 800933 h 855511"/>
                  <a:gd name="connsiteX4" fmla="*/ 184590 w 683700"/>
                  <a:gd name="connsiteY4" fmla="*/ 831604 h 855511"/>
                  <a:gd name="connsiteX5" fmla="*/ 659793 w 683700"/>
                  <a:gd name="connsiteY5" fmla="*/ 356402 h 855511"/>
                  <a:gd name="connsiteX6" fmla="*/ 520632 w 683700"/>
                  <a:gd name="connsiteY6" fmla="*/ 20360 h 855511"/>
                  <a:gd name="connsiteX7" fmla="*/ 520632 w 683700"/>
                  <a:gd name="connsiteY7" fmla="*/ 3500 h 855511"/>
                  <a:gd name="connsiteX8" fmla="*/ 537492 w 683700"/>
                  <a:gd name="connsiteY8" fmla="*/ 3500 h 855511"/>
                  <a:gd name="connsiteX9" fmla="*/ 683700 w 683700"/>
                  <a:gd name="connsiteY9" fmla="*/ 356402 h 855511"/>
                  <a:gd name="connsiteX10" fmla="*/ 184686 w 683700"/>
                  <a:gd name="connsiteY10" fmla="*/ 855416 h 855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83700" h="855511">
                    <a:moveTo>
                      <a:pt x="184590" y="855512"/>
                    </a:moveTo>
                    <a:cubicBezTo>
                      <a:pt x="123726" y="855512"/>
                      <a:pt x="64194" y="844653"/>
                      <a:pt x="7711" y="823222"/>
                    </a:cubicBezTo>
                    <a:cubicBezTo>
                      <a:pt x="1520" y="820841"/>
                      <a:pt x="-1528" y="813983"/>
                      <a:pt x="758" y="807887"/>
                    </a:cubicBezTo>
                    <a:cubicBezTo>
                      <a:pt x="3044" y="801791"/>
                      <a:pt x="9902" y="798647"/>
                      <a:pt x="16093" y="800933"/>
                    </a:cubicBezTo>
                    <a:cubicBezTo>
                      <a:pt x="69814" y="821317"/>
                      <a:pt x="126488" y="831604"/>
                      <a:pt x="184590" y="831604"/>
                    </a:cubicBezTo>
                    <a:cubicBezTo>
                      <a:pt x="446623" y="831604"/>
                      <a:pt x="659793" y="618434"/>
                      <a:pt x="659793" y="356402"/>
                    </a:cubicBezTo>
                    <a:cubicBezTo>
                      <a:pt x="659793" y="229433"/>
                      <a:pt x="610358" y="110085"/>
                      <a:pt x="520632" y="20360"/>
                    </a:cubicBezTo>
                    <a:cubicBezTo>
                      <a:pt x="515965" y="15692"/>
                      <a:pt x="515965" y="8168"/>
                      <a:pt x="520632" y="3500"/>
                    </a:cubicBezTo>
                    <a:cubicBezTo>
                      <a:pt x="525300" y="-1167"/>
                      <a:pt x="532824" y="-1167"/>
                      <a:pt x="537492" y="3500"/>
                    </a:cubicBezTo>
                    <a:cubicBezTo>
                      <a:pt x="631789" y="97798"/>
                      <a:pt x="683700" y="223052"/>
                      <a:pt x="683700" y="356402"/>
                    </a:cubicBezTo>
                    <a:cubicBezTo>
                      <a:pt x="683700" y="631579"/>
                      <a:pt x="459863" y="855416"/>
                      <a:pt x="184686" y="855416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729FC0F8-D8F5-B54F-3FAE-4C9FAE48A257}"/>
                  </a:ext>
                </a:extLst>
              </p:cNvPr>
              <p:cNvSpPr/>
              <p:nvPr/>
            </p:nvSpPr>
            <p:spPr>
              <a:xfrm>
                <a:off x="1166375" y="4175098"/>
                <a:ext cx="671996" cy="855440"/>
              </a:xfrm>
              <a:custGeom>
                <a:avLst/>
                <a:gdLst>
                  <a:gd name="connsiteX0" fmla="*/ 154591 w 671996"/>
                  <a:gd name="connsiteY0" fmla="*/ 855440 h 855440"/>
                  <a:gd name="connsiteX1" fmla="*/ 146209 w 671996"/>
                  <a:gd name="connsiteY1" fmla="*/ 851916 h 855440"/>
                  <a:gd name="connsiteX2" fmla="*/ 0 w 671996"/>
                  <a:gd name="connsiteY2" fmla="*/ 499015 h 855440"/>
                  <a:gd name="connsiteX3" fmla="*/ 499015 w 671996"/>
                  <a:gd name="connsiteY3" fmla="*/ 0 h 855440"/>
                  <a:gd name="connsiteX4" fmla="*/ 663988 w 671996"/>
                  <a:gd name="connsiteY4" fmla="*/ 27908 h 855440"/>
                  <a:gd name="connsiteX5" fmla="*/ 671322 w 671996"/>
                  <a:gd name="connsiteY5" fmla="*/ 43053 h 855440"/>
                  <a:gd name="connsiteX6" fmla="*/ 656177 w 671996"/>
                  <a:gd name="connsiteY6" fmla="*/ 50387 h 855440"/>
                  <a:gd name="connsiteX7" fmla="*/ 499015 w 671996"/>
                  <a:gd name="connsiteY7" fmla="*/ 23813 h 855440"/>
                  <a:gd name="connsiteX8" fmla="*/ 23813 w 671996"/>
                  <a:gd name="connsiteY8" fmla="*/ 499015 h 855440"/>
                  <a:gd name="connsiteX9" fmla="*/ 162973 w 671996"/>
                  <a:gd name="connsiteY9" fmla="*/ 835057 h 855440"/>
                  <a:gd name="connsiteX10" fmla="*/ 162973 w 671996"/>
                  <a:gd name="connsiteY10" fmla="*/ 851916 h 855440"/>
                  <a:gd name="connsiteX11" fmla="*/ 154591 w 671996"/>
                  <a:gd name="connsiteY11" fmla="*/ 855440 h 85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71996" h="855440">
                    <a:moveTo>
                      <a:pt x="154591" y="855440"/>
                    </a:moveTo>
                    <a:cubicBezTo>
                      <a:pt x="151543" y="855440"/>
                      <a:pt x="148495" y="854297"/>
                      <a:pt x="146209" y="851916"/>
                    </a:cubicBezTo>
                    <a:cubicBezTo>
                      <a:pt x="51911" y="757619"/>
                      <a:pt x="0" y="632365"/>
                      <a:pt x="0" y="499015"/>
                    </a:cubicBezTo>
                    <a:cubicBezTo>
                      <a:pt x="0" y="223838"/>
                      <a:pt x="223838" y="0"/>
                      <a:pt x="499015" y="0"/>
                    </a:cubicBezTo>
                    <a:cubicBezTo>
                      <a:pt x="555593" y="0"/>
                      <a:pt x="611124" y="9430"/>
                      <a:pt x="663988" y="27908"/>
                    </a:cubicBezTo>
                    <a:cubicBezTo>
                      <a:pt x="670179" y="30099"/>
                      <a:pt x="673513" y="36862"/>
                      <a:pt x="671322" y="43053"/>
                    </a:cubicBezTo>
                    <a:cubicBezTo>
                      <a:pt x="669131" y="49244"/>
                      <a:pt x="662369" y="52578"/>
                      <a:pt x="656177" y="50387"/>
                    </a:cubicBezTo>
                    <a:cubicBezTo>
                      <a:pt x="605790" y="32766"/>
                      <a:pt x="552926" y="23813"/>
                      <a:pt x="499015" y="23813"/>
                    </a:cubicBezTo>
                    <a:cubicBezTo>
                      <a:pt x="236982" y="23813"/>
                      <a:pt x="23813" y="236982"/>
                      <a:pt x="23813" y="499015"/>
                    </a:cubicBezTo>
                    <a:cubicBezTo>
                      <a:pt x="23813" y="625983"/>
                      <a:pt x="73247" y="745331"/>
                      <a:pt x="162973" y="835057"/>
                    </a:cubicBezTo>
                    <a:cubicBezTo>
                      <a:pt x="167640" y="839724"/>
                      <a:pt x="167640" y="847249"/>
                      <a:pt x="162973" y="851916"/>
                    </a:cubicBezTo>
                    <a:cubicBezTo>
                      <a:pt x="160687" y="854202"/>
                      <a:pt x="157639" y="855440"/>
                      <a:pt x="154591" y="855440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C35DE4B2-80D7-1695-EF71-055801111389}"/>
                  </a:ext>
                </a:extLst>
              </p:cNvPr>
              <p:cNvSpPr/>
              <p:nvPr/>
            </p:nvSpPr>
            <p:spPr>
              <a:xfrm>
                <a:off x="1748543" y="4141189"/>
                <a:ext cx="174688" cy="123920"/>
              </a:xfrm>
              <a:custGeom>
                <a:avLst/>
                <a:gdLst>
                  <a:gd name="connsiteX0" fmla="*/ 0 w 174688"/>
                  <a:gd name="connsiteY0" fmla="*/ 123920 h 123920"/>
                  <a:gd name="connsiteX1" fmla="*/ 174689 w 174688"/>
                  <a:gd name="connsiteY1" fmla="*/ 120015 h 123920"/>
                  <a:gd name="connsiteX2" fmla="*/ 47720 w 174688"/>
                  <a:gd name="connsiteY2" fmla="*/ 0 h 123920"/>
                  <a:gd name="connsiteX3" fmla="*/ 0 w 174688"/>
                  <a:gd name="connsiteY3" fmla="*/ 123920 h 123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4688" h="123920">
                    <a:moveTo>
                      <a:pt x="0" y="123920"/>
                    </a:moveTo>
                    <a:lnTo>
                      <a:pt x="174689" y="120015"/>
                    </a:lnTo>
                    <a:lnTo>
                      <a:pt x="47720" y="0"/>
                    </a:lnTo>
                    <a:lnTo>
                      <a:pt x="0" y="12392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FD53A300-9D53-855D-4CBB-C560B32EDE51}"/>
                  </a:ext>
                </a:extLst>
              </p:cNvPr>
              <p:cNvSpPr/>
              <p:nvPr/>
            </p:nvSpPr>
            <p:spPr>
              <a:xfrm>
                <a:off x="1373925" y="5072067"/>
                <a:ext cx="172878" cy="128968"/>
              </a:xfrm>
              <a:custGeom>
                <a:avLst/>
                <a:gdLst>
                  <a:gd name="connsiteX0" fmla="*/ 172879 w 172878"/>
                  <a:gd name="connsiteY0" fmla="*/ 0 h 128968"/>
                  <a:gd name="connsiteX1" fmla="*/ 0 w 172878"/>
                  <a:gd name="connsiteY1" fmla="*/ 25717 h 128968"/>
                  <a:gd name="connsiteX2" fmla="*/ 141065 w 172878"/>
                  <a:gd name="connsiteY2" fmla="*/ 128969 h 128968"/>
                  <a:gd name="connsiteX3" fmla="*/ 172879 w 172878"/>
                  <a:gd name="connsiteY3" fmla="*/ 0 h 128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878" h="128968">
                    <a:moveTo>
                      <a:pt x="172879" y="0"/>
                    </a:moveTo>
                    <a:lnTo>
                      <a:pt x="0" y="25717"/>
                    </a:lnTo>
                    <a:lnTo>
                      <a:pt x="141065" y="128969"/>
                    </a:lnTo>
                    <a:lnTo>
                      <a:pt x="172879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51F189EE-C753-8416-C3A0-9825A3F074D7}"/>
              </a:ext>
            </a:extLst>
          </p:cNvPr>
          <p:cNvGrpSpPr/>
          <p:nvPr/>
        </p:nvGrpSpPr>
        <p:grpSpPr>
          <a:xfrm>
            <a:off x="10328316" y="3342594"/>
            <a:ext cx="558784" cy="328547"/>
            <a:chOff x="10272667" y="3333914"/>
            <a:chExt cx="558784" cy="328547"/>
          </a:xfrm>
        </p:grpSpPr>
        <p:pic>
          <p:nvPicPr>
            <p:cNvPr id="177" name="624 electric motor">
              <a:extLst>
                <a:ext uri="{FF2B5EF4-FFF2-40B4-BE49-F238E27FC236}">
                  <a16:creationId xmlns:a16="http://schemas.microsoft.com/office/drawing/2014/main" id="{F137B58E-2C37-C48B-6934-18C4B4711AA7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0272667" y="3333914"/>
              <a:ext cx="328547" cy="328547"/>
            </a:xfrm>
            <a:prstGeom prst="rect">
              <a:avLst/>
            </a:prstGeom>
          </p:spPr>
        </p:pic>
        <p:pic>
          <p:nvPicPr>
            <p:cNvPr id="178" name="626 DCAC inverter">
              <a:extLst>
                <a:ext uri="{FF2B5EF4-FFF2-40B4-BE49-F238E27FC236}">
                  <a16:creationId xmlns:a16="http://schemas.microsoft.com/office/drawing/2014/main" id="{3FB7A6D7-3636-38EE-BD10-490F1A13182B}"/>
                </a:ext>
              </a:extLst>
            </p:cNvPr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10607187" y="3386055"/>
              <a:ext cx="224264" cy="224264"/>
            </a:xfrm>
            <a:prstGeom prst="rect">
              <a:avLst/>
            </a:prstGeom>
          </p:spPr>
        </p:pic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FF5BDAB9-4C86-DBB9-B73E-365F11999C50}"/>
              </a:ext>
            </a:extLst>
          </p:cNvPr>
          <p:cNvGrpSpPr/>
          <p:nvPr/>
        </p:nvGrpSpPr>
        <p:grpSpPr>
          <a:xfrm rot="5400000">
            <a:off x="10502872" y="3754570"/>
            <a:ext cx="209672" cy="319643"/>
            <a:chOff x="6625410" y="5601727"/>
            <a:chExt cx="209672" cy="319643"/>
          </a:xfrm>
        </p:grpSpPr>
        <p:grpSp>
          <p:nvGrpSpPr>
            <p:cNvPr id="181" name="Group 180">
              <a:extLst>
                <a:ext uri="{FF2B5EF4-FFF2-40B4-BE49-F238E27FC236}">
                  <a16:creationId xmlns:a16="http://schemas.microsoft.com/office/drawing/2014/main" id="{A50F3CB5-49DA-ECDC-F179-FCF624B6A2DE}"/>
                </a:ext>
              </a:extLst>
            </p:cNvPr>
            <p:cNvGrpSpPr/>
            <p:nvPr/>
          </p:nvGrpSpPr>
          <p:grpSpPr>
            <a:xfrm rot="5400000">
              <a:off x="6561604" y="5665533"/>
              <a:ext cx="319643" cy="192031"/>
              <a:chOff x="8689780" y="4411235"/>
              <a:chExt cx="315697" cy="172340"/>
            </a:xfrm>
          </p:grpSpPr>
          <p:sp>
            <p:nvSpPr>
              <p:cNvPr id="183" name="Isosceles Triangle 182">
                <a:extLst>
                  <a:ext uri="{FF2B5EF4-FFF2-40B4-BE49-F238E27FC236}">
                    <a16:creationId xmlns:a16="http://schemas.microsoft.com/office/drawing/2014/main" id="{E3673203-FC0D-563E-8674-26F9BF81F5A0}"/>
                  </a:ext>
                </a:extLst>
              </p:cNvPr>
              <p:cNvSpPr/>
              <p:nvPr/>
            </p:nvSpPr>
            <p:spPr>
              <a:xfrm rot="5400000">
                <a:off x="8689780" y="4411235"/>
                <a:ext cx="156507" cy="156507"/>
              </a:xfrm>
              <a:prstGeom prst="triangle">
                <a:avLst/>
              </a:prstGeom>
              <a:noFill/>
              <a:ln w="6350">
                <a:solidFill>
                  <a:schemeClr val="tx1"/>
                </a:solidFill>
              </a:ln>
            </p:spPr>
            <p:txBody>
              <a:bodyPr vert="horz" lIns="108109" tIns="108109" rIns="108109" bIns="108109" rtlCol="0" anchor="ctr">
                <a:noAutofit/>
              </a:bodyPr>
              <a:lstStyle/>
              <a:p>
                <a:pPr algn="ctr" defTabSz="1083747">
                  <a:spcBef>
                    <a:spcPts val="1200"/>
                  </a:spcBef>
                </a:pPr>
                <a:endParaRPr lang="en-US" sz="1600"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  <p:sp>
            <p:nvSpPr>
              <p:cNvPr id="184" name="Isosceles Triangle 183">
                <a:extLst>
                  <a:ext uri="{FF2B5EF4-FFF2-40B4-BE49-F238E27FC236}">
                    <a16:creationId xmlns:a16="http://schemas.microsoft.com/office/drawing/2014/main" id="{141A1216-C0C0-01FB-F69F-43EBF04F658D}"/>
                  </a:ext>
                </a:extLst>
              </p:cNvPr>
              <p:cNvSpPr/>
              <p:nvPr/>
            </p:nvSpPr>
            <p:spPr>
              <a:xfrm rot="16200000">
                <a:off x="8848970" y="4411235"/>
                <a:ext cx="156507" cy="156507"/>
              </a:xfrm>
              <a:prstGeom prst="triangle">
                <a:avLst/>
              </a:prstGeom>
              <a:noFill/>
              <a:ln w="6350">
                <a:solidFill>
                  <a:schemeClr val="tx1"/>
                </a:solidFill>
              </a:ln>
            </p:spPr>
            <p:txBody>
              <a:bodyPr vert="horz" lIns="108109" tIns="108109" rIns="108109" bIns="108109" rtlCol="0" anchor="ctr">
                <a:noAutofit/>
              </a:bodyPr>
              <a:lstStyle/>
              <a:p>
                <a:pPr algn="ctr" defTabSz="1083747">
                  <a:spcBef>
                    <a:spcPts val="1200"/>
                  </a:spcBef>
                </a:pPr>
                <a:endParaRPr lang="en-US" sz="1600"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  <p:sp>
            <p:nvSpPr>
              <p:cNvPr id="185" name="Isosceles Triangle 184">
                <a:extLst>
                  <a:ext uri="{FF2B5EF4-FFF2-40B4-BE49-F238E27FC236}">
                    <a16:creationId xmlns:a16="http://schemas.microsoft.com/office/drawing/2014/main" id="{C0997102-A039-77F9-50E1-EF58F85AC4F4}"/>
                  </a:ext>
                </a:extLst>
              </p:cNvPr>
              <p:cNvSpPr/>
              <p:nvPr/>
            </p:nvSpPr>
            <p:spPr>
              <a:xfrm>
                <a:off x="8692107" y="4504645"/>
                <a:ext cx="309958" cy="78930"/>
              </a:xfrm>
              <a:prstGeom prst="triangle">
                <a:avLst/>
              </a:prstGeom>
              <a:noFill/>
              <a:ln w="6350">
                <a:solidFill>
                  <a:schemeClr val="tx2"/>
                </a:solidFill>
              </a:ln>
            </p:spPr>
            <p:txBody>
              <a:bodyPr vert="horz" lIns="108109" tIns="108109" rIns="108109" bIns="108109" rtlCol="0" anchor="ctr">
                <a:noAutofit/>
              </a:bodyPr>
              <a:lstStyle/>
              <a:p>
                <a:pPr algn="ctr" defTabSz="1083747">
                  <a:spcBef>
                    <a:spcPts val="1200"/>
                  </a:spcBef>
                </a:pPr>
                <a:endParaRPr lang="en-US" sz="1600"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</p:grpSp>
        <p:sp>
          <p:nvSpPr>
            <p:cNvPr id="182" name="Isosceles Triangle 181">
              <a:extLst>
                <a:ext uri="{FF2B5EF4-FFF2-40B4-BE49-F238E27FC236}">
                  <a16:creationId xmlns:a16="http://schemas.microsoft.com/office/drawing/2014/main" id="{B7733490-C8F5-3F81-A48A-15D7A98181FE}"/>
                </a:ext>
              </a:extLst>
            </p:cNvPr>
            <p:cNvSpPr/>
            <p:nvPr/>
          </p:nvSpPr>
          <p:spPr>
            <a:xfrm rot="16200000">
              <a:off x="6634192" y="5716863"/>
              <a:ext cx="313832" cy="87948"/>
            </a:xfrm>
            <a:prstGeom prst="triangle">
              <a:avLst/>
            </a:prstGeom>
            <a:noFill/>
            <a:ln w="6350">
              <a:solidFill>
                <a:schemeClr val="tx2"/>
              </a:solidFill>
            </a:ln>
          </p:spPr>
          <p:txBody>
            <a:bodyPr vert="horz" lIns="108109" tIns="108109" rIns="108109" bIns="108109" rtlCol="0" anchor="ctr">
              <a:noAutofit/>
            </a:bodyPr>
            <a:lstStyle/>
            <a:p>
              <a:pPr algn="ctr" defTabSz="1083747">
                <a:spcBef>
                  <a:spcPts val="1200"/>
                </a:spcBef>
              </a:pPr>
              <a:endParaRPr lang="en-US" sz="1600"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18D02555-BD1D-9C1B-4F18-F2F7BD22E5DF}"/>
              </a:ext>
            </a:extLst>
          </p:cNvPr>
          <p:cNvGrpSpPr/>
          <p:nvPr/>
        </p:nvGrpSpPr>
        <p:grpSpPr>
          <a:xfrm rot="5400000">
            <a:off x="10447248" y="4150953"/>
            <a:ext cx="318202" cy="341925"/>
            <a:chOff x="2347658" y="3774873"/>
            <a:chExt cx="722363" cy="776220"/>
          </a:xfrm>
        </p:grpSpPr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4B8444E1-BE03-34F5-4447-D804D0F84032}"/>
                </a:ext>
              </a:extLst>
            </p:cNvPr>
            <p:cNvGrpSpPr/>
            <p:nvPr/>
          </p:nvGrpSpPr>
          <p:grpSpPr>
            <a:xfrm>
              <a:off x="2456973" y="3774873"/>
              <a:ext cx="495663" cy="776220"/>
              <a:chOff x="2323221" y="4022447"/>
              <a:chExt cx="495663" cy="776220"/>
            </a:xfrm>
          </p:grpSpPr>
          <p:sp>
            <p:nvSpPr>
              <p:cNvPr id="197" name="Rectangle 196">
                <a:extLst>
                  <a:ext uri="{FF2B5EF4-FFF2-40B4-BE49-F238E27FC236}">
                    <a16:creationId xmlns:a16="http://schemas.microsoft.com/office/drawing/2014/main" id="{7B8164DE-06D5-419F-8504-A9C09F21B7A0}"/>
                  </a:ext>
                </a:extLst>
              </p:cNvPr>
              <p:cNvSpPr/>
              <p:nvPr/>
            </p:nvSpPr>
            <p:spPr>
              <a:xfrm>
                <a:off x="2323221" y="4022447"/>
                <a:ext cx="495663" cy="776220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txBody>
              <a:bodyPr vert="horz" lIns="108109" tIns="108109" rIns="108109" bIns="108109" rtlCol="0" anchor="ctr">
                <a:noAutofit/>
              </a:bodyPr>
              <a:lstStyle/>
              <a:p>
                <a:pPr algn="ctr" defTabSz="1083747">
                  <a:spcBef>
                    <a:spcPts val="1200"/>
                  </a:spcBef>
                </a:pPr>
                <a:endParaRPr lang="en-US" sz="1600">
                  <a:latin typeface="Poppins" panose="00000500000000000000" pitchFamily="2" charset="0"/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  <p:sp>
            <p:nvSpPr>
              <p:cNvPr id="198" name="Oval 67">
                <a:extLst>
                  <a:ext uri="{FF2B5EF4-FFF2-40B4-BE49-F238E27FC236}">
                    <a16:creationId xmlns:a16="http://schemas.microsoft.com/office/drawing/2014/main" id="{1BDB7D0C-326E-BB46-BFA9-F97D1DB2EC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98133" y="4053448"/>
                <a:ext cx="145839" cy="145839"/>
              </a:xfrm>
              <a:prstGeom prst="ellipse">
                <a:avLst/>
              </a:prstGeom>
              <a:noFill/>
              <a:ln w="6350" algn="ctr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Poppins" panose="00000500000000000000" pitchFamily="2" charset="0"/>
                </a:endParaRPr>
              </a:p>
            </p:txBody>
          </p:sp>
          <p:sp>
            <p:nvSpPr>
              <p:cNvPr id="199" name="Line 68">
                <a:extLst>
                  <a:ext uri="{FF2B5EF4-FFF2-40B4-BE49-F238E27FC236}">
                    <a16:creationId xmlns:a16="http://schemas.microsoft.com/office/drawing/2014/main" id="{BD8713EA-B324-5C49-EBBD-A79F280A95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501350" y="4053448"/>
                <a:ext cx="72920" cy="96511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200">
                  <a:latin typeface="Poppins" panose="00000500000000000000" pitchFamily="2" charset="0"/>
                </a:endParaRPr>
              </a:p>
            </p:txBody>
          </p:sp>
          <p:sp>
            <p:nvSpPr>
              <p:cNvPr id="200" name="Line 69">
                <a:extLst>
                  <a:ext uri="{FF2B5EF4-FFF2-40B4-BE49-F238E27FC236}">
                    <a16:creationId xmlns:a16="http://schemas.microsoft.com/office/drawing/2014/main" id="{1A3EA71F-CF0A-C0CA-C598-4DF90D8D53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68908" y="4052376"/>
                <a:ext cx="72920" cy="97583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200">
                  <a:latin typeface="Poppins" panose="00000500000000000000" pitchFamily="2" charset="0"/>
                </a:endParaRPr>
              </a:p>
            </p:txBody>
          </p:sp>
          <p:grpSp>
            <p:nvGrpSpPr>
              <p:cNvPr id="201" name="Group 200">
                <a:extLst>
                  <a:ext uri="{FF2B5EF4-FFF2-40B4-BE49-F238E27FC236}">
                    <a16:creationId xmlns:a16="http://schemas.microsoft.com/office/drawing/2014/main" id="{37B73DD8-B9EE-18CC-5C14-EEBDA9F9BF16}"/>
                  </a:ext>
                </a:extLst>
              </p:cNvPr>
              <p:cNvGrpSpPr/>
              <p:nvPr/>
            </p:nvGrpSpPr>
            <p:grpSpPr>
              <a:xfrm rot="10800000">
                <a:off x="2498133" y="4628154"/>
                <a:ext cx="145839" cy="146911"/>
                <a:chOff x="2498133" y="4628154"/>
                <a:chExt cx="145839" cy="146911"/>
              </a:xfrm>
            </p:grpSpPr>
            <p:sp>
              <p:nvSpPr>
                <p:cNvPr id="203" name="Oval 67">
                  <a:extLst>
                    <a:ext uri="{FF2B5EF4-FFF2-40B4-BE49-F238E27FC236}">
                      <a16:creationId xmlns:a16="http://schemas.microsoft.com/office/drawing/2014/main" id="{B0CE3E44-4009-50CE-9E2F-32A005888E2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13500000">
                  <a:off x="2498133" y="4629226"/>
                  <a:ext cx="145839" cy="145839"/>
                </a:xfrm>
                <a:prstGeom prst="ellipse">
                  <a:avLst/>
                </a:prstGeom>
                <a:noFill/>
                <a:ln w="6350" algn="ctr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200">
                    <a:latin typeface="Poppins" panose="00000500000000000000" pitchFamily="2" charset="0"/>
                  </a:endParaRPr>
                </a:p>
              </p:txBody>
            </p:sp>
            <p:sp>
              <p:nvSpPr>
                <p:cNvPr id="204" name="Line 68">
                  <a:extLst>
                    <a:ext uri="{FF2B5EF4-FFF2-40B4-BE49-F238E27FC236}">
                      <a16:creationId xmlns:a16="http://schemas.microsoft.com/office/drawing/2014/main" id="{974ED0C8-50E7-A2E1-8B8F-EDEC16CF728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2501350" y="4629226"/>
                  <a:ext cx="72920" cy="96511"/>
                </a:xfrm>
                <a:prstGeom prst="line">
                  <a:avLst/>
                </a:prstGeom>
                <a:noFill/>
                <a:ln w="63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200">
                    <a:latin typeface="Poppins" panose="00000500000000000000" pitchFamily="2" charset="0"/>
                  </a:endParaRPr>
                </a:p>
              </p:txBody>
            </p:sp>
            <p:sp>
              <p:nvSpPr>
                <p:cNvPr id="205" name="Line 69">
                  <a:extLst>
                    <a:ext uri="{FF2B5EF4-FFF2-40B4-BE49-F238E27FC236}">
                      <a16:creationId xmlns:a16="http://schemas.microsoft.com/office/drawing/2014/main" id="{99E6DA02-3C1B-AED3-E4FF-091F87AC157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568908" y="4628154"/>
                  <a:ext cx="72920" cy="97583"/>
                </a:xfrm>
                <a:prstGeom prst="line">
                  <a:avLst/>
                </a:prstGeom>
                <a:noFill/>
                <a:ln w="635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200">
                    <a:latin typeface="Poppins" panose="00000500000000000000" pitchFamily="2" charset="0"/>
                  </a:endParaRPr>
                </a:p>
              </p:txBody>
            </p:sp>
          </p:grpSp>
          <p:sp>
            <p:nvSpPr>
              <p:cNvPr id="202" name="Oval 201">
                <a:extLst>
                  <a:ext uri="{FF2B5EF4-FFF2-40B4-BE49-F238E27FC236}">
                    <a16:creationId xmlns:a16="http://schemas.microsoft.com/office/drawing/2014/main" id="{E00D7CA0-CB30-7314-F997-1DD1ADF8E73E}"/>
                  </a:ext>
                </a:extLst>
              </p:cNvPr>
              <p:cNvSpPr/>
              <p:nvPr/>
            </p:nvSpPr>
            <p:spPr>
              <a:xfrm>
                <a:off x="2387410" y="4226915"/>
                <a:ext cx="367284" cy="367284"/>
              </a:xfrm>
              <a:prstGeom prst="ellipse">
                <a:avLst/>
              </a:prstGeom>
              <a:noFill/>
              <a:ln w="6350">
                <a:solidFill>
                  <a:schemeClr val="tx1"/>
                </a:solidFill>
              </a:ln>
            </p:spPr>
            <p:txBody>
              <a:bodyPr vert="horz" lIns="108109" tIns="108109" rIns="108109" bIns="108109" rtlCol="0" anchor="ctr">
                <a:noAutofit/>
              </a:bodyPr>
              <a:lstStyle/>
              <a:p>
                <a:pPr algn="ctr" defTabSz="1083747">
                  <a:spcBef>
                    <a:spcPts val="1200"/>
                  </a:spcBef>
                </a:pPr>
                <a:endParaRPr lang="en-US" sz="1600">
                  <a:latin typeface="Poppins" panose="00000500000000000000" pitchFamily="2" charset="0"/>
                  <a:cs typeface="Segoe UI" panose="020B0502040204020203" pitchFamily="34" charset="0"/>
                  <a:sym typeface="Segoe UI" panose="020B0502040204020203" pitchFamily="34" charset="0"/>
                </a:endParaRPr>
              </a:p>
            </p:txBody>
          </p:sp>
        </p:grpSp>
        <p:grpSp>
          <p:nvGrpSpPr>
            <p:cNvPr id="206" name="Group 205">
              <a:extLst>
                <a:ext uri="{FF2B5EF4-FFF2-40B4-BE49-F238E27FC236}">
                  <a16:creationId xmlns:a16="http://schemas.microsoft.com/office/drawing/2014/main" id="{DFF46412-0199-AF46-84C5-CDF0D658C650}"/>
                </a:ext>
              </a:extLst>
            </p:cNvPr>
            <p:cNvGrpSpPr/>
            <p:nvPr/>
          </p:nvGrpSpPr>
          <p:grpSpPr>
            <a:xfrm>
              <a:off x="2348087" y="3823905"/>
              <a:ext cx="721934" cy="686585"/>
              <a:chOff x="2214335" y="3671505"/>
              <a:chExt cx="721934" cy="686585"/>
            </a:xfrm>
          </p:grpSpPr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F4E5475B-5F35-FA50-709E-02F3085CD0DC}"/>
                  </a:ext>
                </a:extLst>
              </p:cNvPr>
              <p:cNvSpPr/>
              <p:nvPr/>
            </p:nvSpPr>
            <p:spPr>
              <a:xfrm>
                <a:off x="2214335" y="4001373"/>
                <a:ext cx="356717" cy="356717"/>
              </a:xfrm>
              <a:prstGeom prst="arc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Poppins" panose="00000500000000000000" pitchFamily="2" charset="0"/>
                </a:endParaRPr>
              </a:p>
            </p:txBody>
          </p:sp>
          <p:sp>
            <p:nvSpPr>
              <p:cNvPr id="208" name="Arc 207">
                <a:extLst>
                  <a:ext uri="{FF2B5EF4-FFF2-40B4-BE49-F238E27FC236}">
                    <a16:creationId xmlns:a16="http://schemas.microsoft.com/office/drawing/2014/main" id="{F217091D-0428-3ECF-96AA-DEEC8DF64FA6}"/>
                  </a:ext>
                </a:extLst>
              </p:cNvPr>
              <p:cNvSpPr/>
              <p:nvPr/>
            </p:nvSpPr>
            <p:spPr>
              <a:xfrm rot="11098902">
                <a:off x="2579552" y="3671505"/>
                <a:ext cx="356717" cy="356717"/>
              </a:xfrm>
              <a:prstGeom prst="arc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Poppins" panose="00000500000000000000" pitchFamily="2" charset="0"/>
                </a:endParaRPr>
              </a:p>
            </p:txBody>
          </p:sp>
        </p:grpSp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E6E61E68-3CC5-CD46-FE2E-73515E8557E7}"/>
                </a:ext>
              </a:extLst>
            </p:cNvPr>
            <p:cNvGrpSpPr/>
            <p:nvPr/>
          </p:nvGrpSpPr>
          <p:grpSpPr>
            <a:xfrm rot="13030477">
              <a:off x="2347658" y="3813897"/>
              <a:ext cx="721934" cy="686585"/>
              <a:chOff x="2214335" y="3671505"/>
              <a:chExt cx="721934" cy="686585"/>
            </a:xfrm>
          </p:grpSpPr>
          <p:sp>
            <p:nvSpPr>
              <p:cNvPr id="210" name="Arc 209">
                <a:extLst>
                  <a:ext uri="{FF2B5EF4-FFF2-40B4-BE49-F238E27FC236}">
                    <a16:creationId xmlns:a16="http://schemas.microsoft.com/office/drawing/2014/main" id="{9F83EAEC-2D8F-C898-8C73-6F79698427A7}"/>
                  </a:ext>
                </a:extLst>
              </p:cNvPr>
              <p:cNvSpPr/>
              <p:nvPr/>
            </p:nvSpPr>
            <p:spPr>
              <a:xfrm>
                <a:off x="2214335" y="4001373"/>
                <a:ext cx="356717" cy="356717"/>
              </a:xfrm>
              <a:prstGeom prst="arc">
                <a:avLst/>
              </a:prstGeom>
              <a:ln w="63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Poppins" panose="00000500000000000000" pitchFamily="2" charset="0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96346A07-A68A-D9C4-1747-7EA009F542DB}"/>
                  </a:ext>
                </a:extLst>
              </p:cNvPr>
              <p:cNvSpPr/>
              <p:nvPr/>
            </p:nvSpPr>
            <p:spPr>
              <a:xfrm rot="11098902">
                <a:off x="2579552" y="3671505"/>
                <a:ext cx="356717" cy="356717"/>
              </a:xfrm>
              <a:prstGeom prst="arc">
                <a:avLst/>
              </a:prstGeom>
              <a:ln w="63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Poppins" panose="00000500000000000000" pitchFamily="2" charset="0"/>
                </a:endParaRPr>
              </a:p>
            </p:txBody>
          </p:sp>
        </p:grpSp>
      </p:grpSp>
      <p:pic>
        <p:nvPicPr>
          <p:cNvPr id="213" name="612 pedal">
            <a:extLst>
              <a:ext uri="{FF2B5EF4-FFF2-40B4-BE49-F238E27FC236}">
                <a16:creationId xmlns:a16="http://schemas.microsoft.com/office/drawing/2014/main" id="{9635B163-E139-9033-E80B-A4FBD094459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400312" y="4583738"/>
            <a:ext cx="398608" cy="288788"/>
          </a:xfrm>
          <a:prstGeom prst="rect">
            <a:avLst/>
          </a:prstGeom>
        </p:spPr>
      </p:pic>
      <p:pic>
        <p:nvPicPr>
          <p:cNvPr id="214" name="717 snowflake">
            <a:extLst>
              <a:ext uri="{FF2B5EF4-FFF2-40B4-BE49-F238E27FC236}">
                <a16:creationId xmlns:a16="http://schemas.microsoft.com/office/drawing/2014/main" id="{8C13F79E-4FBB-6E89-5AE1-2A4CCDB07BD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0390162" y="4931713"/>
            <a:ext cx="422634" cy="422634"/>
          </a:xfrm>
          <a:prstGeom prst="rect">
            <a:avLst/>
          </a:prstGeom>
        </p:spPr>
      </p:pic>
      <p:sp>
        <p:nvSpPr>
          <p:cNvPr id="215" name="TextBox 214">
            <a:extLst>
              <a:ext uri="{FF2B5EF4-FFF2-40B4-BE49-F238E27FC236}">
                <a16:creationId xmlns:a16="http://schemas.microsoft.com/office/drawing/2014/main" id="{4AFC33BC-55F3-51A1-56E6-62490EFF728A}"/>
              </a:ext>
            </a:extLst>
          </p:cNvPr>
          <p:cNvSpPr txBox="1"/>
          <p:nvPr/>
        </p:nvSpPr>
        <p:spPr>
          <a:xfrm>
            <a:off x="4542665" y="5405833"/>
            <a:ext cx="5707003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/>
            <a:r>
              <a:rPr lang="en-US" sz="1200"/>
              <a:t>…</a:t>
            </a:r>
            <a:endParaRPr lang="en-US" sz="1200">
              <a:latin typeface="+mn-lt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D5CFDE-C4A0-C085-E5DB-4A4505FE8177}"/>
              </a:ext>
            </a:extLst>
          </p:cNvPr>
          <p:cNvCxnSpPr>
            <a:cxnSpLocks/>
          </p:cNvCxnSpPr>
          <p:nvPr/>
        </p:nvCxnSpPr>
        <p:spPr>
          <a:xfrm flipV="1">
            <a:off x="946863" y="1700213"/>
            <a:ext cx="10694275" cy="4181646"/>
          </a:xfrm>
          <a:prstGeom prst="line">
            <a:avLst/>
          </a:prstGeom>
          <a:ln w="130175">
            <a:solidFill>
              <a:schemeClr val="bg1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FC180478-83BE-1D07-9D4A-74A70D200B5E}"/>
              </a:ext>
            </a:extLst>
          </p:cNvPr>
          <p:cNvSpPr/>
          <p:nvPr/>
        </p:nvSpPr>
        <p:spPr>
          <a:xfrm>
            <a:off x="550862" y="5791200"/>
            <a:ext cx="496740" cy="51752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C77DF6E-4341-1D3B-A770-7F4C02059AB6}"/>
              </a:ext>
            </a:extLst>
          </p:cNvPr>
          <p:cNvGrpSpPr/>
          <p:nvPr/>
        </p:nvGrpSpPr>
        <p:grpSpPr>
          <a:xfrm>
            <a:off x="973063" y="5913451"/>
            <a:ext cx="10666341" cy="396001"/>
            <a:chOff x="1128094" y="5845718"/>
            <a:chExt cx="10511310" cy="396001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A934DB9-5711-4B28-83FD-395A601E14C4}"/>
                </a:ext>
              </a:extLst>
            </p:cNvPr>
            <p:cNvSpPr/>
            <p:nvPr/>
          </p:nvSpPr>
          <p:spPr>
            <a:xfrm>
              <a:off x="1128094" y="5845718"/>
              <a:ext cx="10511310" cy="396001"/>
            </a:xfrm>
            <a:prstGeom prst="roundRect">
              <a:avLst>
                <a:gd name="adj" fmla="val 12830"/>
              </a:avLst>
            </a:prstGeom>
            <a:solidFill>
              <a:schemeClr val="accent2"/>
            </a:solidFill>
            <a:ln w="6350">
              <a:noFill/>
            </a:ln>
          </p:spPr>
          <p:txBody>
            <a:bodyPr lIns="0" tIns="0" rIns="0" bIns="0" rtlCol="0" anchor="b"/>
            <a:lstStyle/>
            <a:p>
              <a:pPr algn="ctr"/>
              <a:r>
                <a:rPr lang="en-US" sz="1050" b="1">
                  <a:solidFill>
                    <a:schemeClr val="bg1"/>
                  </a:solidFill>
                  <a:latin typeface="Poppins" panose="00000500000000000000" pitchFamily="2" charset="0"/>
                </a:rPr>
                <a:t>Integration level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8DCBAB9-E893-1D91-F168-3D06EE6FD13B}"/>
                </a:ext>
              </a:extLst>
            </p:cNvPr>
            <p:cNvSpPr txBox="1"/>
            <p:nvPr/>
          </p:nvSpPr>
          <p:spPr>
            <a:xfrm>
              <a:off x="1227373" y="5866286"/>
              <a:ext cx="3276232" cy="176860"/>
            </a:xfrm>
            <a:prstGeom prst="roundRect">
              <a:avLst>
                <a:gd name="adj" fmla="val 28726"/>
              </a:avLst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No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B022939-0B4F-5789-04A4-DA0C3D209FD5}"/>
                </a:ext>
              </a:extLst>
            </p:cNvPr>
            <p:cNvSpPr txBox="1"/>
            <p:nvPr/>
          </p:nvSpPr>
          <p:spPr>
            <a:xfrm>
              <a:off x="4745632" y="5866286"/>
              <a:ext cx="3276232" cy="176860"/>
            </a:xfrm>
            <a:prstGeom prst="roundRect">
              <a:avLst>
                <a:gd name="adj" fmla="val 28726"/>
              </a:avLst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Partially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983307E-A7D5-F252-8646-9716BF60FA4A}"/>
                </a:ext>
              </a:extLst>
            </p:cNvPr>
            <p:cNvSpPr txBox="1"/>
            <p:nvPr/>
          </p:nvSpPr>
          <p:spPr>
            <a:xfrm>
              <a:off x="8263889" y="5866286"/>
              <a:ext cx="3276232" cy="176860"/>
            </a:xfrm>
            <a:prstGeom prst="roundRect">
              <a:avLst>
                <a:gd name="adj" fmla="val 28726"/>
              </a:avLst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Highly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9345E9C-F977-B6B3-EB8A-7EDA66E775B1}"/>
                </a:ext>
              </a:extLst>
            </p:cNvPr>
            <p:cNvCxnSpPr/>
            <p:nvPr/>
          </p:nvCxnSpPr>
          <p:spPr>
            <a:xfrm>
              <a:off x="4930701" y="6040162"/>
              <a:ext cx="2906095" cy="0"/>
            </a:xfrm>
            <a:prstGeom prst="line">
              <a:avLst/>
            </a:prstGeom>
            <a:ln w="9525">
              <a:solidFill>
                <a:schemeClr val="bg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58CE6FC-DE2A-483B-34F6-A9515443E4F6}"/>
              </a:ext>
            </a:extLst>
          </p:cNvPr>
          <p:cNvGrpSpPr/>
          <p:nvPr/>
        </p:nvGrpSpPr>
        <p:grpSpPr>
          <a:xfrm>
            <a:off x="550863" y="1700213"/>
            <a:ext cx="506869" cy="4186346"/>
            <a:chOff x="627063" y="1700214"/>
            <a:chExt cx="506869" cy="4076278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AD3F23F3-A366-F871-2F0A-7E927CEB61F4}"/>
                </a:ext>
              </a:extLst>
            </p:cNvPr>
            <p:cNvSpPr/>
            <p:nvPr/>
          </p:nvSpPr>
          <p:spPr>
            <a:xfrm>
              <a:off x="627063" y="1704790"/>
              <a:ext cx="396000" cy="4071702"/>
            </a:xfrm>
            <a:prstGeom prst="roundRect">
              <a:avLst>
                <a:gd name="adj" fmla="val 12830"/>
              </a:avLst>
            </a:prstGeom>
            <a:solidFill>
              <a:schemeClr val="accent2"/>
            </a:solidFill>
            <a:ln w="6350">
              <a:noFill/>
            </a:ln>
          </p:spPr>
          <p:txBody>
            <a:bodyPr vert="vert270" lIns="0" tIns="0" rIns="0" bIns="0" rtlCol="0" anchor="t"/>
            <a:lstStyle/>
            <a:p>
              <a:pPr algn="ctr"/>
              <a:r>
                <a:rPr lang="en-US" sz="1050" b="1">
                  <a:solidFill>
                    <a:schemeClr val="bg1"/>
                  </a:solidFill>
                  <a:latin typeface="Poppins" panose="00000500000000000000" pitchFamily="2" charset="0"/>
                </a:rPr>
                <a:t>Number or functions &amp; Efficiency level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EC450CF-21D7-B4F6-A29E-4AA3480390AA}"/>
                </a:ext>
              </a:extLst>
            </p:cNvPr>
            <p:cNvCxnSpPr>
              <a:cxnSpLocks/>
            </p:cNvCxnSpPr>
            <p:nvPr/>
          </p:nvCxnSpPr>
          <p:spPr>
            <a:xfrm>
              <a:off x="829040" y="2443587"/>
              <a:ext cx="0" cy="2595534"/>
            </a:xfrm>
            <a:prstGeom prst="line">
              <a:avLst/>
            </a:prstGeom>
            <a:ln w="9525">
              <a:solidFill>
                <a:schemeClr val="bg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05AFCCD-FDC1-9A16-83D4-05457F6EFFB4}"/>
                </a:ext>
              </a:extLst>
            </p:cNvPr>
            <p:cNvSpPr txBox="1"/>
            <p:nvPr/>
          </p:nvSpPr>
          <p:spPr>
            <a:xfrm rot="16200000">
              <a:off x="305781" y="4923550"/>
              <a:ext cx="1259181" cy="3971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Basic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E276099-D84E-BA9D-BF10-B0CF00AA6382}"/>
                </a:ext>
              </a:extLst>
            </p:cNvPr>
            <p:cNvSpPr txBox="1"/>
            <p:nvPr/>
          </p:nvSpPr>
          <p:spPr>
            <a:xfrm rot="16200000">
              <a:off x="216216" y="3547639"/>
              <a:ext cx="1438313" cy="3971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Intermediate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48A69D6-03CB-8A79-7DD8-1DCF0525197F}"/>
                </a:ext>
              </a:extLst>
            </p:cNvPr>
            <p:cNvSpPr txBox="1"/>
            <p:nvPr/>
          </p:nvSpPr>
          <p:spPr>
            <a:xfrm rot="16200000">
              <a:off x="245616" y="2191412"/>
              <a:ext cx="1379514" cy="3971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Advanced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8723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think-cell data - do not delete" hidden="1">
            <a:extLst>
              <a:ext uri="{FF2B5EF4-FFF2-40B4-BE49-F238E27FC236}">
                <a16:creationId xmlns:a16="http://schemas.microsoft.com/office/drawing/2014/main" id="{34175313-311A-844E-3880-EE0CDFDE6B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175313-311A-844E-3880-EE0CDFDE6B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B2EA8341-4256-6505-67C0-DFCB74873725}"/>
              </a:ext>
            </a:extLst>
          </p:cNvPr>
          <p:cNvGrpSpPr/>
          <p:nvPr/>
        </p:nvGrpSpPr>
        <p:grpSpPr>
          <a:xfrm>
            <a:off x="4597300" y="3099788"/>
            <a:ext cx="3487569" cy="1349999"/>
            <a:chOff x="1041031" y="1702800"/>
            <a:chExt cx="2520001" cy="1349999"/>
          </a:xfrm>
        </p:grpSpPr>
        <p:sp>
          <p:nvSpPr>
            <p:cNvPr id="23" name="TextBox740544851">
              <a:extLst>
                <a:ext uri="{FF2B5EF4-FFF2-40B4-BE49-F238E27FC236}">
                  <a16:creationId xmlns:a16="http://schemas.microsoft.com/office/drawing/2014/main" id="{411A5BEF-68A4-7F2C-6EFA-2A3F9BF5D344}"/>
                </a:ext>
              </a:extLst>
            </p:cNvPr>
            <p:cNvSpPr txBox="1">
              <a:spLocks/>
            </p:cNvSpPr>
            <p:nvPr/>
          </p:nvSpPr>
          <p:spPr>
            <a:xfrm>
              <a:off x="1041031" y="1723778"/>
              <a:ext cx="2480838" cy="1329021"/>
            </a:xfrm>
            <a:prstGeom prst="rtTriangle">
              <a:avLst/>
            </a:prstGeom>
            <a:solidFill>
              <a:srgbClr val="99CFD9"/>
            </a:solidFill>
            <a:ln w="3175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5400000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72000" tIns="0" rIns="0" bIns="0" rtlCol="0" anchor="b">
              <a:noAutofit/>
            </a:bodyPr>
            <a:lstStyle>
              <a:lvl1pPr lvl="0" indent="0" defTabSz="1083747">
                <a:spcBef>
                  <a:spcPts val="1200"/>
                </a:spcBef>
                <a:buFont typeface="Arial" panose="020B0604020202020204" pitchFamily="34" charset="0"/>
                <a:buNone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1pPr>
              <a:lvl2pPr marL="216000" lvl="1" indent="-216000" defTabSz="1083747">
                <a:spcBef>
                  <a:spcPts val="1200"/>
                </a:spcBef>
                <a:buClr>
                  <a:schemeClr val="accent2"/>
                </a:buClr>
                <a:buSzPct val="100000"/>
                <a:buFont typeface="FEV" panose="02000509000000000000" pitchFamily="49" charset="0"/>
                <a:buChar char="•"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2pPr>
              <a:lvl3pPr marL="432000" lvl="2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3pPr>
              <a:lvl4pPr marL="648000" lvl="3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4pPr>
              <a:lvl5pPr marL="864000" lvl="4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5pPr>
              <a:lvl6pPr marL="2683196" indent="0" defTabSz="1083747">
                <a:spcBef>
                  <a:spcPts val="711"/>
                </a:spcBef>
                <a:buClrTx/>
                <a:buFont typeface="Wingdings" panose="05000000000000000000" pitchFamily="2" charset="2"/>
                <a:buNone/>
                <a:defRPr lang="en-US" sz="16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defRPr>
              </a:lvl6pPr>
              <a:lvl7pPr marL="3522177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7pPr>
              <a:lvl8pPr marL="4064051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8pPr>
              <a:lvl9pPr marL="4605924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9pPr>
            </a:lstStyle>
            <a:p>
              <a:pPr algn="ctr"/>
              <a:endParaRPr lang="en-US" sz="2000">
                <a:solidFill>
                  <a:schemeClr val="bg1">
                    <a:lumMod val="95000"/>
                  </a:schemeClr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24" name="TextBox740544851">
              <a:extLst>
                <a:ext uri="{FF2B5EF4-FFF2-40B4-BE49-F238E27FC236}">
                  <a16:creationId xmlns:a16="http://schemas.microsoft.com/office/drawing/2014/main" id="{12DE3B37-8BAE-A3FD-C685-923690D7D220}"/>
                </a:ext>
              </a:extLst>
            </p:cNvPr>
            <p:cNvSpPr txBox="1">
              <a:spLocks/>
            </p:cNvSpPr>
            <p:nvPr/>
          </p:nvSpPr>
          <p:spPr>
            <a:xfrm rot="10800000">
              <a:off x="1080194" y="1702800"/>
              <a:ext cx="2480838" cy="1329021"/>
            </a:xfrm>
            <a:prstGeom prst="rtTriangle">
              <a:avLst/>
            </a:prstGeom>
            <a:solidFill>
              <a:srgbClr val="870421"/>
            </a:solidFill>
            <a:ln w="3175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5400000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72000" tIns="0" rIns="0" bIns="0" rtlCol="0" anchor="b">
              <a:noAutofit/>
            </a:bodyPr>
            <a:lstStyle>
              <a:lvl1pPr lvl="0" indent="0" defTabSz="1083747">
                <a:spcBef>
                  <a:spcPts val="1200"/>
                </a:spcBef>
                <a:buFont typeface="Arial" panose="020B0604020202020204" pitchFamily="34" charset="0"/>
                <a:buNone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1pPr>
              <a:lvl2pPr marL="216000" lvl="1" indent="-216000" defTabSz="1083747">
                <a:spcBef>
                  <a:spcPts val="1200"/>
                </a:spcBef>
                <a:buClr>
                  <a:schemeClr val="accent2"/>
                </a:buClr>
                <a:buSzPct val="100000"/>
                <a:buFont typeface="FEV" panose="02000509000000000000" pitchFamily="49" charset="0"/>
                <a:buChar char="•"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2pPr>
              <a:lvl3pPr marL="432000" lvl="2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3pPr>
              <a:lvl4pPr marL="648000" lvl="3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4pPr>
              <a:lvl5pPr marL="864000" lvl="4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5pPr>
              <a:lvl6pPr marL="2683196" indent="0" defTabSz="1083747">
                <a:spcBef>
                  <a:spcPts val="711"/>
                </a:spcBef>
                <a:buClrTx/>
                <a:buFont typeface="Wingdings" panose="05000000000000000000" pitchFamily="2" charset="2"/>
                <a:buNone/>
                <a:defRPr lang="en-US" sz="16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defRPr>
              </a:lvl6pPr>
              <a:lvl7pPr marL="3522177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7pPr>
              <a:lvl8pPr marL="4064051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8pPr>
              <a:lvl9pPr marL="4605924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9pPr>
            </a:lstStyle>
            <a:p>
              <a:pPr algn="ctr"/>
              <a:endParaRPr lang="en-US" sz="2000">
                <a:solidFill>
                  <a:schemeClr val="bg1">
                    <a:lumMod val="95000"/>
                  </a:schemeClr>
                </a:solidFill>
                <a:latin typeface="Poppins" panose="00000500000000000000" pitchFamily="2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2640F39-4338-3E01-A564-23F73DFDF3F8}"/>
              </a:ext>
            </a:extLst>
          </p:cNvPr>
          <p:cNvGrpSpPr/>
          <p:nvPr/>
        </p:nvGrpSpPr>
        <p:grpSpPr>
          <a:xfrm>
            <a:off x="4597300" y="4496776"/>
            <a:ext cx="3487569" cy="1349999"/>
            <a:chOff x="1041031" y="1702800"/>
            <a:chExt cx="2520001" cy="1349999"/>
          </a:xfrm>
        </p:grpSpPr>
        <p:sp>
          <p:nvSpPr>
            <p:cNvPr id="29" name="TextBox740544851">
              <a:extLst>
                <a:ext uri="{FF2B5EF4-FFF2-40B4-BE49-F238E27FC236}">
                  <a16:creationId xmlns:a16="http://schemas.microsoft.com/office/drawing/2014/main" id="{168E2A27-F8CC-FD52-A999-86785C2D9D38}"/>
                </a:ext>
              </a:extLst>
            </p:cNvPr>
            <p:cNvSpPr txBox="1">
              <a:spLocks/>
            </p:cNvSpPr>
            <p:nvPr/>
          </p:nvSpPr>
          <p:spPr>
            <a:xfrm>
              <a:off x="1041031" y="1723778"/>
              <a:ext cx="2480838" cy="1329021"/>
            </a:xfrm>
            <a:prstGeom prst="rtTriangle">
              <a:avLst/>
            </a:prstGeom>
            <a:solidFill>
              <a:srgbClr val="0087A0"/>
            </a:solidFill>
            <a:ln w="3175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5400000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72000" tIns="0" rIns="0" bIns="0" rtlCol="0" anchor="b">
              <a:noAutofit/>
            </a:bodyPr>
            <a:lstStyle>
              <a:lvl1pPr lvl="0" indent="0" defTabSz="1083747">
                <a:spcBef>
                  <a:spcPts val="1200"/>
                </a:spcBef>
                <a:buFont typeface="Arial" panose="020B0604020202020204" pitchFamily="34" charset="0"/>
                <a:buNone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1pPr>
              <a:lvl2pPr marL="216000" lvl="1" indent="-216000" defTabSz="1083747">
                <a:spcBef>
                  <a:spcPts val="1200"/>
                </a:spcBef>
                <a:buClr>
                  <a:schemeClr val="accent2"/>
                </a:buClr>
                <a:buSzPct val="100000"/>
                <a:buFont typeface="FEV" panose="02000509000000000000" pitchFamily="49" charset="0"/>
                <a:buChar char="•"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2pPr>
              <a:lvl3pPr marL="432000" lvl="2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3pPr>
              <a:lvl4pPr marL="648000" lvl="3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4pPr>
              <a:lvl5pPr marL="864000" lvl="4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5pPr>
              <a:lvl6pPr marL="2683196" indent="0" defTabSz="1083747">
                <a:spcBef>
                  <a:spcPts val="711"/>
                </a:spcBef>
                <a:buClrTx/>
                <a:buFont typeface="Wingdings" panose="05000000000000000000" pitchFamily="2" charset="2"/>
                <a:buNone/>
                <a:defRPr lang="en-US" sz="16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defRPr>
              </a:lvl6pPr>
              <a:lvl7pPr marL="3522177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7pPr>
              <a:lvl8pPr marL="4064051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8pPr>
              <a:lvl9pPr marL="4605924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9pPr>
            </a:lstStyle>
            <a:p>
              <a:pPr algn="ctr"/>
              <a:endParaRPr lang="en-US" sz="2000">
                <a:solidFill>
                  <a:schemeClr val="bg1">
                    <a:lumMod val="95000"/>
                  </a:schemeClr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30" name="TextBox740544851">
              <a:extLst>
                <a:ext uri="{FF2B5EF4-FFF2-40B4-BE49-F238E27FC236}">
                  <a16:creationId xmlns:a16="http://schemas.microsoft.com/office/drawing/2014/main" id="{2A101087-7D5E-7D8B-5310-8124D9BF780F}"/>
                </a:ext>
              </a:extLst>
            </p:cNvPr>
            <p:cNvSpPr txBox="1">
              <a:spLocks/>
            </p:cNvSpPr>
            <p:nvPr/>
          </p:nvSpPr>
          <p:spPr>
            <a:xfrm rot="10800000">
              <a:off x="1080194" y="1702800"/>
              <a:ext cx="2480838" cy="1329021"/>
            </a:xfrm>
            <a:prstGeom prst="rtTriangle">
              <a:avLst/>
            </a:prstGeom>
            <a:solidFill>
              <a:srgbClr val="E39BAB"/>
            </a:solidFill>
            <a:ln w="3175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5400000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72000" tIns="0" rIns="0" bIns="0" rtlCol="0" anchor="b">
              <a:noAutofit/>
            </a:bodyPr>
            <a:lstStyle>
              <a:lvl1pPr lvl="0" indent="0" defTabSz="1083747">
                <a:spcBef>
                  <a:spcPts val="1200"/>
                </a:spcBef>
                <a:buFont typeface="Arial" panose="020B0604020202020204" pitchFamily="34" charset="0"/>
                <a:buNone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1pPr>
              <a:lvl2pPr marL="216000" lvl="1" indent="-216000" defTabSz="1083747">
                <a:spcBef>
                  <a:spcPts val="1200"/>
                </a:spcBef>
                <a:buClr>
                  <a:schemeClr val="accent2"/>
                </a:buClr>
                <a:buSzPct val="100000"/>
                <a:buFont typeface="FEV" panose="02000509000000000000" pitchFamily="49" charset="0"/>
                <a:buChar char="•"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2pPr>
              <a:lvl3pPr marL="432000" lvl="2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3pPr>
              <a:lvl4pPr marL="648000" lvl="3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4pPr>
              <a:lvl5pPr marL="864000" lvl="4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5pPr>
              <a:lvl6pPr marL="2683196" indent="0" defTabSz="1083747">
                <a:spcBef>
                  <a:spcPts val="711"/>
                </a:spcBef>
                <a:buClrTx/>
                <a:buFont typeface="Wingdings" panose="05000000000000000000" pitchFamily="2" charset="2"/>
                <a:buNone/>
                <a:defRPr lang="en-US" sz="16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defRPr>
              </a:lvl6pPr>
              <a:lvl7pPr marL="3522177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7pPr>
              <a:lvl8pPr marL="4064051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8pPr>
              <a:lvl9pPr marL="4605924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9pPr>
            </a:lstStyle>
            <a:p>
              <a:pPr algn="ctr"/>
              <a:endParaRPr lang="en-US" sz="2000">
                <a:solidFill>
                  <a:schemeClr val="bg1">
                    <a:lumMod val="95000"/>
                  </a:schemeClr>
                </a:solidFill>
                <a:latin typeface="Poppins" panose="00000500000000000000" pitchFamily="2" charset="0"/>
              </a:endParaRPr>
            </a:p>
          </p:txBody>
        </p:sp>
      </p:grpSp>
      <p:sp>
        <p:nvSpPr>
          <p:cNvPr id="51" name="TextBox740544851">
            <a:extLst>
              <a:ext uri="{FF2B5EF4-FFF2-40B4-BE49-F238E27FC236}">
                <a16:creationId xmlns:a16="http://schemas.microsoft.com/office/drawing/2014/main" id="{D8FE52EF-A74A-0CC9-0382-444DF3A1EFA5}"/>
              </a:ext>
            </a:extLst>
          </p:cNvPr>
          <p:cNvSpPr txBox="1">
            <a:spLocks/>
          </p:cNvSpPr>
          <p:nvPr/>
        </p:nvSpPr>
        <p:spPr>
          <a:xfrm>
            <a:off x="8153569" y="4496775"/>
            <a:ext cx="3487569" cy="1350000"/>
          </a:xfrm>
          <a:prstGeom prst="roundRect">
            <a:avLst>
              <a:gd name="adj" fmla="val 3763"/>
            </a:avLst>
          </a:prstGeom>
          <a:pattFill prst="ltUpDiag">
            <a:fgClr>
              <a:schemeClr val="bg2"/>
            </a:fgClr>
            <a:bgClr>
              <a:schemeClr val="accent1"/>
            </a:bgClr>
          </a:patt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72000" tIns="0" rIns="0" bIns="0" rtlCol="0" anchor="ctr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>
              <a:latin typeface="Poppins" panose="00000500000000000000" pitchFamily="2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F3EA75C-C5B1-03A9-D1E9-F4357FCD16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>
                <a:latin typeface="Poppins" panose="00000500000000000000" pitchFamily="2" charset="0"/>
              </a:rPr>
              <a:t>TMs clustering – PV VS M&amp;HD comparis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C852EF-C9B9-D932-6020-01C7955874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1384" y="6406354"/>
            <a:ext cx="5907066" cy="246221"/>
          </a:xfrm>
        </p:spPr>
        <p:txBody>
          <a:bodyPr/>
          <a:lstStyle/>
          <a:p>
            <a:r>
              <a:rPr lang="en-US">
                <a:latin typeface="Poppins" panose="00000500000000000000" pitchFamily="2" charset="0"/>
              </a:rPr>
              <a:t>CIM: coolant integrated module; RIM: refrigerant integrated module; ITMS: integrated thermal management module</a:t>
            </a:r>
            <a:br>
              <a:rPr lang="en-US">
                <a:latin typeface="Poppins" panose="00000500000000000000" pitchFamily="2" charset="0"/>
              </a:rPr>
            </a:br>
            <a:r>
              <a:rPr lang="en-US">
                <a:latin typeface="Poppins" panose="00000500000000000000" pitchFamily="2" charset="0"/>
              </a:rPr>
              <a:t>Source: FEV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7B3C383-0158-B49B-5D51-BFEE7A0D4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32000"/>
            <a:ext cx="11088542" cy="738000"/>
          </a:xfrm>
        </p:spPr>
        <p:txBody>
          <a:bodyPr vert="horz" rIns="1116000"/>
          <a:lstStyle/>
          <a:p>
            <a:r>
              <a:rPr lang="en-US"/>
              <a:t>Current PV thermal management systems are both more integrated and more efficient than M&amp;HD ones, especially through adoption of ITMS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D8D95E-8C97-6427-C9B0-B7A36F4D0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>
                <a:latin typeface="Poppins" panose="00000500000000000000" pitchFamily="2" charset="0"/>
              </a:rPr>
              <a:pPr/>
              <a:t>15</a:t>
            </a:fld>
            <a:endParaRPr lang="en-US">
              <a:latin typeface="Poppins" panose="00000500000000000000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BD92B8C-66FA-8626-F43C-E57280AD43FB}"/>
              </a:ext>
            </a:extLst>
          </p:cNvPr>
          <p:cNvSpPr txBox="1"/>
          <p:nvPr/>
        </p:nvSpPr>
        <p:spPr>
          <a:xfrm>
            <a:off x="1113032" y="5896992"/>
            <a:ext cx="2376000" cy="180000"/>
          </a:xfrm>
          <a:prstGeom prst="roundRect">
            <a:avLst>
              <a:gd name="adj" fmla="val 28225"/>
            </a:avLst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Poppins" panose="00000500000000000000" pitchFamily="2" charset="0"/>
              </a:rPr>
              <a:t>N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3A7EF8-F06E-6933-6D87-F241E54F1168}"/>
              </a:ext>
            </a:extLst>
          </p:cNvPr>
          <p:cNvSpPr txBox="1"/>
          <p:nvPr/>
        </p:nvSpPr>
        <p:spPr>
          <a:xfrm>
            <a:off x="3664554" y="5896992"/>
            <a:ext cx="2376000" cy="180000"/>
          </a:xfrm>
          <a:prstGeom prst="roundRect">
            <a:avLst>
              <a:gd name="adj" fmla="val 28225"/>
            </a:avLst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Poppins" panose="00000500000000000000" pitchFamily="2" charset="0"/>
              </a:rPr>
              <a:t>Partiall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256B5F-5169-DC90-505A-6EBC831A9080}"/>
              </a:ext>
            </a:extLst>
          </p:cNvPr>
          <p:cNvSpPr txBox="1"/>
          <p:nvPr/>
        </p:nvSpPr>
        <p:spPr>
          <a:xfrm>
            <a:off x="6216076" y="5896992"/>
            <a:ext cx="2376000" cy="180000"/>
          </a:xfrm>
          <a:prstGeom prst="roundRect">
            <a:avLst>
              <a:gd name="adj" fmla="val 28225"/>
            </a:avLst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Poppins" panose="00000500000000000000" pitchFamily="2" charset="0"/>
              </a:rPr>
              <a:t>Highly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5D54FFD-FCD1-FD18-78F4-98343E35CAAB}"/>
              </a:ext>
            </a:extLst>
          </p:cNvPr>
          <p:cNvCxnSpPr/>
          <p:nvPr/>
        </p:nvCxnSpPr>
        <p:spPr>
          <a:xfrm>
            <a:off x="3798771" y="6092724"/>
            <a:ext cx="2107568" cy="0"/>
          </a:xfrm>
          <a:prstGeom prst="line">
            <a:avLst/>
          </a:prstGeom>
          <a:ln w="9525">
            <a:solidFill>
              <a:schemeClr val="bg1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A6567B8-0B22-2518-2D58-D14307CB530F}"/>
              </a:ext>
            </a:extLst>
          </p:cNvPr>
          <p:cNvSpPr/>
          <p:nvPr/>
        </p:nvSpPr>
        <p:spPr>
          <a:xfrm>
            <a:off x="6749027" y="6357188"/>
            <a:ext cx="2013973" cy="180000"/>
          </a:xfrm>
          <a:prstGeom prst="roundRect">
            <a:avLst>
              <a:gd name="adj" fmla="val 28225"/>
            </a:avLst>
          </a:prstGeom>
          <a:gradFill flip="none" rotWithShape="1">
            <a:gsLst>
              <a:gs pos="45000">
                <a:srgbClr val="99CFD9"/>
              </a:gs>
              <a:gs pos="10000">
                <a:srgbClr val="EBF5F7"/>
              </a:gs>
              <a:gs pos="100000">
                <a:srgbClr val="004754"/>
              </a:gs>
              <a:gs pos="77000">
                <a:srgbClr val="005D6E"/>
              </a:gs>
            </a:gsLst>
            <a:lin ang="0" scaled="1"/>
            <a:tileRect/>
          </a:gradFill>
          <a:ln w="6350">
            <a:solidFill>
              <a:schemeClr val="accent1"/>
            </a:solidFill>
          </a:ln>
          <a:effectLst/>
        </p:spPr>
        <p:txBody>
          <a:bodyPr vert="horz" lIns="0" tIns="0" rIns="0" bIns="0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r>
              <a:rPr lang="en-US" sz="800" b="1">
                <a:solidFill>
                  <a:schemeClr val="bg1">
                    <a:lumMod val="95000"/>
                  </a:schemeClr>
                </a:solidFill>
                <a:latin typeface="Poppins" panose="00000500000000000000" pitchFamily="2" charset="0"/>
                <a:cs typeface="Segoe UI" panose="020B0502040204020203" pitchFamily="34" charset="0"/>
                <a:sym typeface="Segoe UI" panose="020B0502040204020203" pitchFamily="34" charset="0"/>
              </a:rPr>
              <a:t>Share of available CV BEV models</a:t>
            </a:r>
            <a:endParaRPr lang="en-US" sz="800" baseline="30000">
              <a:solidFill>
                <a:schemeClr val="bg1">
                  <a:lumMod val="95000"/>
                </a:schemeClr>
              </a:solidFill>
              <a:latin typeface="Poppins" panose="000005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9" name="TextBox740544851">
            <a:extLst>
              <a:ext uri="{FF2B5EF4-FFF2-40B4-BE49-F238E27FC236}">
                <a16:creationId xmlns:a16="http://schemas.microsoft.com/office/drawing/2014/main" id="{71D2768C-E967-B884-3C46-DFDCE35A9908}"/>
              </a:ext>
            </a:extLst>
          </p:cNvPr>
          <p:cNvSpPr txBox="1">
            <a:spLocks/>
          </p:cNvSpPr>
          <p:nvPr/>
        </p:nvSpPr>
        <p:spPr>
          <a:xfrm>
            <a:off x="1041032" y="1702800"/>
            <a:ext cx="3487569" cy="1350000"/>
          </a:xfrm>
          <a:prstGeom prst="roundRect">
            <a:avLst>
              <a:gd name="adj" fmla="val 3763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72000" tIns="0" rIns="0" bIns="0" rtlCol="0" anchor="b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algn="ctr"/>
            <a:endParaRPr lang="en-US" sz="2000">
              <a:solidFill>
                <a:schemeClr val="bg1">
                  <a:lumMod val="95000"/>
                </a:schemeClr>
              </a:solidFill>
              <a:latin typeface="Poppins" panose="00000500000000000000" pitchFamily="2" charset="0"/>
            </a:endParaRPr>
          </a:p>
        </p:txBody>
      </p:sp>
      <p:sp>
        <p:nvSpPr>
          <p:cNvPr id="40" name="TextBox740544851">
            <a:extLst>
              <a:ext uri="{FF2B5EF4-FFF2-40B4-BE49-F238E27FC236}">
                <a16:creationId xmlns:a16="http://schemas.microsoft.com/office/drawing/2014/main" id="{E5648050-71BB-F77A-587E-B3522D372E57}"/>
              </a:ext>
            </a:extLst>
          </p:cNvPr>
          <p:cNvSpPr txBox="1">
            <a:spLocks/>
          </p:cNvSpPr>
          <p:nvPr/>
        </p:nvSpPr>
        <p:spPr>
          <a:xfrm>
            <a:off x="1041032" y="3099787"/>
            <a:ext cx="3487569" cy="1350000"/>
          </a:xfrm>
          <a:prstGeom prst="roundRect">
            <a:avLst>
              <a:gd name="adj" fmla="val 3763"/>
            </a:avLst>
          </a:prstGeom>
          <a:solidFill>
            <a:srgbClr val="007287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72000" tIns="0" rIns="0" bIns="0" rtlCol="0" anchor="b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algn="ctr"/>
            <a:endParaRPr lang="en-US" sz="2000">
              <a:solidFill>
                <a:schemeClr val="bg1">
                  <a:lumMod val="95000"/>
                </a:schemeClr>
              </a:solidFill>
              <a:latin typeface="Poppins" panose="00000500000000000000" pitchFamily="2" charset="0"/>
            </a:endParaRPr>
          </a:p>
        </p:txBody>
      </p:sp>
      <p:sp>
        <p:nvSpPr>
          <p:cNvPr id="41" name="TextBox740544851">
            <a:extLst>
              <a:ext uri="{FF2B5EF4-FFF2-40B4-BE49-F238E27FC236}">
                <a16:creationId xmlns:a16="http://schemas.microsoft.com/office/drawing/2014/main" id="{93FE1988-A6F0-2A51-143D-5B0615D45119}"/>
              </a:ext>
            </a:extLst>
          </p:cNvPr>
          <p:cNvSpPr txBox="1">
            <a:spLocks/>
          </p:cNvSpPr>
          <p:nvPr/>
        </p:nvSpPr>
        <p:spPr>
          <a:xfrm>
            <a:off x="1041032" y="4496775"/>
            <a:ext cx="3487569" cy="1350000"/>
          </a:xfrm>
          <a:prstGeom prst="roundRect">
            <a:avLst>
              <a:gd name="adj" fmla="val 3763"/>
            </a:avLst>
          </a:prstGeom>
          <a:solidFill>
            <a:srgbClr val="004754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72000" tIns="0" rIns="0" bIns="0" rtlCol="0" anchor="b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algn="ctr"/>
            <a:endParaRPr lang="en-US" sz="2000">
              <a:solidFill>
                <a:schemeClr val="bg1">
                  <a:lumMod val="95000"/>
                </a:schemeClr>
              </a:solidFill>
              <a:latin typeface="Poppins" panose="00000500000000000000" pitchFamily="2" charset="0"/>
            </a:endParaRPr>
          </a:p>
        </p:txBody>
      </p:sp>
      <p:sp>
        <p:nvSpPr>
          <p:cNvPr id="42" name="TextBox740544851">
            <a:extLst>
              <a:ext uri="{FF2B5EF4-FFF2-40B4-BE49-F238E27FC236}">
                <a16:creationId xmlns:a16="http://schemas.microsoft.com/office/drawing/2014/main" id="{E2AEC024-CA14-5932-11AF-B64756BFEBC9}"/>
              </a:ext>
            </a:extLst>
          </p:cNvPr>
          <p:cNvSpPr txBox="1">
            <a:spLocks/>
          </p:cNvSpPr>
          <p:nvPr/>
        </p:nvSpPr>
        <p:spPr>
          <a:xfrm>
            <a:off x="4597300" y="1702800"/>
            <a:ext cx="3487569" cy="1350000"/>
          </a:xfrm>
          <a:prstGeom prst="roundRect">
            <a:avLst>
              <a:gd name="adj" fmla="val 3763"/>
            </a:avLst>
          </a:prstGeom>
          <a:solidFill>
            <a:srgbClr val="870421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72000" tIns="0" rIns="0" bIns="0" rtlCol="0" anchor="ctr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>
              <a:latin typeface="Poppins" panose="00000500000000000000" pitchFamily="2" charset="0"/>
            </a:endParaRPr>
          </a:p>
        </p:txBody>
      </p:sp>
      <p:sp>
        <p:nvSpPr>
          <p:cNvPr id="52" name="TextBox740544851">
            <a:extLst>
              <a:ext uri="{FF2B5EF4-FFF2-40B4-BE49-F238E27FC236}">
                <a16:creationId xmlns:a16="http://schemas.microsoft.com/office/drawing/2014/main" id="{F56B8A5E-B175-FBED-AA12-B362874D844F}"/>
              </a:ext>
            </a:extLst>
          </p:cNvPr>
          <p:cNvSpPr txBox="1">
            <a:spLocks/>
          </p:cNvSpPr>
          <p:nvPr/>
        </p:nvSpPr>
        <p:spPr>
          <a:xfrm>
            <a:off x="8153569" y="1702800"/>
            <a:ext cx="3487569" cy="1350000"/>
          </a:xfrm>
          <a:prstGeom prst="roundRect">
            <a:avLst>
              <a:gd name="adj" fmla="val 3763"/>
            </a:avLst>
          </a:prstGeom>
          <a:solidFill>
            <a:srgbClr val="6E031B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72000" tIns="0" rIns="0" bIns="0" rtlCol="0" anchor="b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algn="ctr"/>
            <a:endParaRPr lang="en-US" sz="2000">
              <a:latin typeface="Poppins" panose="00000500000000000000" pitchFamily="2" charset="0"/>
            </a:endParaRPr>
          </a:p>
        </p:txBody>
      </p:sp>
      <p:sp>
        <p:nvSpPr>
          <p:cNvPr id="53" name="TextBox740544851">
            <a:extLst>
              <a:ext uri="{FF2B5EF4-FFF2-40B4-BE49-F238E27FC236}">
                <a16:creationId xmlns:a16="http://schemas.microsoft.com/office/drawing/2014/main" id="{6CBC1039-F1AE-49EA-B699-D8E84E8F77D0}"/>
              </a:ext>
            </a:extLst>
          </p:cNvPr>
          <p:cNvSpPr txBox="1">
            <a:spLocks/>
          </p:cNvSpPr>
          <p:nvPr/>
        </p:nvSpPr>
        <p:spPr>
          <a:xfrm>
            <a:off x="8153569" y="3099787"/>
            <a:ext cx="3487569" cy="1350000"/>
          </a:xfrm>
          <a:prstGeom prst="roundRect">
            <a:avLst>
              <a:gd name="adj" fmla="val 3763"/>
            </a:avLst>
          </a:prstGeom>
          <a:solidFill>
            <a:srgbClr val="E39BAB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72000" tIns="0" rIns="0" bIns="0" rtlCol="0" anchor="ctr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>
              <a:latin typeface="Poppins" panose="00000500000000000000" pitchFamily="2" charset="0"/>
            </a:endParaRPr>
          </a:p>
        </p:txBody>
      </p:sp>
      <p:sp>
        <p:nvSpPr>
          <p:cNvPr id="7182" name="Rectangle: Rounded Corners 7181">
            <a:extLst>
              <a:ext uri="{FF2B5EF4-FFF2-40B4-BE49-F238E27FC236}">
                <a16:creationId xmlns:a16="http://schemas.microsoft.com/office/drawing/2014/main" id="{1B1461B3-AF1C-74E6-19CF-8066EFA96845}"/>
              </a:ext>
            </a:extLst>
          </p:cNvPr>
          <p:cNvSpPr/>
          <p:nvPr/>
        </p:nvSpPr>
        <p:spPr>
          <a:xfrm>
            <a:off x="8881062" y="6364912"/>
            <a:ext cx="2013973" cy="164552"/>
          </a:xfrm>
          <a:prstGeom prst="roundRect">
            <a:avLst>
              <a:gd name="adj" fmla="val 30875"/>
            </a:avLst>
          </a:prstGeom>
          <a:gradFill flip="none" rotWithShape="1">
            <a:gsLst>
              <a:gs pos="45000">
                <a:srgbClr val="E39BAB"/>
              </a:gs>
              <a:gs pos="10000">
                <a:srgbClr val="EBF5F7"/>
              </a:gs>
              <a:gs pos="100000">
                <a:srgbClr val="6E031B"/>
              </a:gs>
              <a:gs pos="77000">
                <a:srgbClr val="870421"/>
              </a:gs>
            </a:gsLst>
            <a:lin ang="0" scaled="1"/>
            <a:tileRect/>
          </a:gradFill>
          <a:ln w="6350">
            <a:solidFill>
              <a:schemeClr val="accent1"/>
            </a:solidFill>
          </a:ln>
          <a:effectLst/>
        </p:spPr>
        <p:txBody>
          <a:bodyPr vert="horz" lIns="0" tIns="0" rIns="0" bIns="0" rtlCol="0" anchor="ctr">
            <a:noAutofit/>
          </a:bodyPr>
          <a:lstStyle/>
          <a:p>
            <a:pPr algn="ctr" defTabSz="1083747">
              <a:spcBef>
                <a:spcPts val="1200"/>
              </a:spcBef>
            </a:pPr>
            <a:r>
              <a:rPr lang="en-US" sz="800" b="1">
                <a:solidFill>
                  <a:schemeClr val="bg1">
                    <a:lumMod val="95000"/>
                  </a:schemeClr>
                </a:solidFill>
                <a:latin typeface="Poppins" panose="00000500000000000000" pitchFamily="2" charset="0"/>
                <a:cs typeface="Segoe UI" panose="020B0502040204020203" pitchFamily="34" charset="0"/>
                <a:sym typeface="Segoe UI" panose="020B0502040204020203" pitchFamily="34" charset="0"/>
              </a:rPr>
              <a:t>Share of available PV BEV models</a:t>
            </a:r>
            <a:endParaRPr lang="en-US" sz="800" baseline="30000">
              <a:solidFill>
                <a:schemeClr val="bg1">
                  <a:lumMod val="95000"/>
                </a:schemeClr>
              </a:solidFill>
              <a:latin typeface="Poppins" panose="000005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D3645E1-B047-C860-E492-8D57C42C5D14}"/>
              </a:ext>
            </a:extLst>
          </p:cNvPr>
          <p:cNvSpPr/>
          <p:nvPr/>
        </p:nvSpPr>
        <p:spPr>
          <a:xfrm>
            <a:off x="973063" y="5913451"/>
            <a:ext cx="10666341" cy="396001"/>
          </a:xfrm>
          <a:prstGeom prst="roundRect">
            <a:avLst>
              <a:gd name="adj" fmla="val 12830"/>
            </a:avLst>
          </a:prstGeom>
          <a:solidFill>
            <a:schemeClr val="accent2"/>
          </a:solidFill>
          <a:ln w="6350">
            <a:noFill/>
          </a:ln>
        </p:spPr>
        <p:txBody>
          <a:bodyPr lIns="0" tIns="0" rIns="0" bIns="0" rtlCol="0" anchor="b"/>
          <a:lstStyle/>
          <a:p>
            <a:pPr algn="ctr"/>
            <a:r>
              <a:rPr lang="en-US" sz="1050" b="1">
                <a:solidFill>
                  <a:schemeClr val="bg1"/>
                </a:solidFill>
                <a:latin typeface="Poppins" panose="00000500000000000000" pitchFamily="2" charset="0"/>
              </a:rPr>
              <a:t>Integration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B7DA1DF-2B70-1FEB-7850-1173ADFE7146}"/>
              </a:ext>
            </a:extLst>
          </p:cNvPr>
          <p:cNvSpPr txBox="1"/>
          <p:nvPr/>
        </p:nvSpPr>
        <p:spPr>
          <a:xfrm>
            <a:off x="1073806" y="5934019"/>
            <a:ext cx="3324553" cy="176860"/>
          </a:xfrm>
          <a:prstGeom prst="roundRect">
            <a:avLst>
              <a:gd name="adj" fmla="val 28726"/>
            </a:avLst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Poppins" panose="00000500000000000000" pitchFamily="2" charset="0"/>
              </a:rPr>
              <a:t>No</a:t>
            </a:r>
            <a:endParaRPr lang="en-US" sz="1100">
              <a:solidFill>
                <a:schemeClr val="bg1"/>
              </a:solidFill>
              <a:latin typeface="Poppins" panose="00000500000000000000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BF8FB56-DBBE-4886-4ACD-3349E7BCDAD4}"/>
              </a:ext>
            </a:extLst>
          </p:cNvPr>
          <p:cNvSpPr txBox="1"/>
          <p:nvPr/>
        </p:nvSpPr>
        <p:spPr>
          <a:xfrm>
            <a:off x="4643956" y="5934019"/>
            <a:ext cx="3324553" cy="176860"/>
          </a:xfrm>
          <a:prstGeom prst="roundRect">
            <a:avLst>
              <a:gd name="adj" fmla="val 28726"/>
            </a:avLst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Poppins" panose="00000500000000000000" pitchFamily="2" charset="0"/>
              </a:rPr>
              <a:t>Partially</a:t>
            </a:r>
            <a:endParaRPr lang="en-US" sz="1100">
              <a:solidFill>
                <a:schemeClr val="bg1"/>
              </a:solidFill>
              <a:latin typeface="Poppins" panose="00000500000000000000" pitchFamily="2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407AF06-A30B-8AB4-35C3-D1F085A006D4}"/>
              </a:ext>
            </a:extLst>
          </p:cNvPr>
          <p:cNvSpPr txBox="1"/>
          <p:nvPr/>
        </p:nvSpPr>
        <p:spPr>
          <a:xfrm>
            <a:off x="8214104" y="5934019"/>
            <a:ext cx="3324553" cy="176860"/>
          </a:xfrm>
          <a:prstGeom prst="roundRect">
            <a:avLst>
              <a:gd name="adj" fmla="val 28726"/>
            </a:avLst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Poppins" panose="00000500000000000000" pitchFamily="2" charset="0"/>
              </a:rPr>
              <a:t>Highly</a:t>
            </a:r>
            <a:endParaRPr lang="en-US" sz="1100">
              <a:solidFill>
                <a:schemeClr val="bg1"/>
              </a:solidFill>
              <a:latin typeface="Poppins" panose="00000500000000000000" pitchFamily="2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4BF5318-6D34-EE6F-A798-020BA27457A6}"/>
              </a:ext>
            </a:extLst>
          </p:cNvPr>
          <p:cNvCxnSpPr/>
          <p:nvPr/>
        </p:nvCxnSpPr>
        <p:spPr>
          <a:xfrm>
            <a:off x="4831755" y="6107895"/>
            <a:ext cx="2948957" cy="0"/>
          </a:xfrm>
          <a:prstGeom prst="line">
            <a:avLst/>
          </a:prstGeom>
          <a:ln w="9525">
            <a:solidFill>
              <a:schemeClr val="bg1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B14242C-CCEE-7DEA-0A7D-470A8EE8186C}"/>
              </a:ext>
            </a:extLst>
          </p:cNvPr>
          <p:cNvGrpSpPr/>
          <p:nvPr/>
        </p:nvGrpSpPr>
        <p:grpSpPr>
          <a:xfrm>
            <a:off x="550863" y="1700213"/>
            <a:ext cx="506869" cy="4186346"/>
            <a:chOff x="627063" y="1700214"/>
            <a:chExt cx="506869" cy="4076278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F5B5FA1B-1B09-DE1D-522E-0FF7965B7AC0}"/>
                </a:ext>
              </a:extLst>
            </p:cNvPr>
            <p:cNvSpPr/>
            <p:nvPr/>
          </p:nvSpPr>
          <p:spPr>
            <a:xfrm>
              <a:off x="627063" y="1704790"/>
              <a:ext cx="396000" cy="4071702"/>
            </a:xfrm>
            <a:prstGeom prst="roundRect">
              <a:avLst>
                <a:gd name="adj" fmla="val 12830"/>
              </a:avLst>
            </a:prstGeom>
            <a:solidFill>
              <a:schemeClr val="accent2"/>
            </a:solidFill>
            <a:ln w="6350">
              <a:noFill/>
            </a:ln>
          </p:spPr>
          <p:txBody>
            <a:bodyPr vert="vert270" lIns="0" tIns="0" rIns="0" bIns="0" rtlCol="0" anchor="t"/>
            <a:lstStyle/>
            <a:p>
              <a:pPr algn="ctr"/>
              <a:r>
                <a:rPr lang="en-US" sz="1050" b="1">
                  <a:solidFill>
                    <a:schemeClr val="bg1"/>
                  </a:solidFill>
                  <a:latin typeface="Poppins" panose="00000500000000000000" pitchFamily="2" charset="0"/>
                </a:rPr>
                <a:t>Number or functions &amp; Efficiency level</a:t>
              </a: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DAC2324E-6CB6-2578-02D6-C75310285FB9}"/>
                </a:ext>
              </a:extLst>
            </p:cNvPr>
            <p:cNvCxnSpPr>
              <a:cxnSpLocks/>
            </p:cNvCxnSpPr>
            <p:nvPr/>
          </p:nvCxnSpPr>
          <p:spPr>
            <a:xfrm>
              <a:off x="829040" y="2443587"/>
              <a:ext cx="0" cy="2595534"/>
            </a:xfrm>
            <a:prstGeom prst="line">
              <a:avLst/>
            </a:prstGeom>
            <a:ln w="9525">
              <a:solidFill>
                <a:schemeClr val="bg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43CEA74-173E-43F9-9698-29D7C322D287}"/>
                </a:ext>
              </a:extLst>
            </p:cNvPr>
            <p:cNvSpPr txBox="1"/>
            <p:nvPr/>
          </p:nvSpPr>
          <p:spPr>
            <a:xfrm rot="16200000">
              <a:off x="305781" y="4923550"/>
              <a:ext cx="1259181" cy="3971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Basic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B55DD0D-BFEC-5877-76BE-7EE2BB0F1A19}"/>
                </a:ext>
              </a:extLst>
            </p:cNvPr>
            <p:cNvSpPr txBox="1"/>
            <p:nvPr/>
          </p:nvSpPr>
          <p:spPr>
            <a:xfrm rot="16200000">
              <a:off x="216216" y="3547639"/>
              <a:ext cx="1438313" cy="3971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Intermediate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7CBC8B4-E8D3-B562-1393-A97D65BF9F24}"/>
                </a:ext>
              </a:extLst>
            </p:cNvPr>
            <p:cNvSpPr txBox="1"/>
            <p:nvPr/>
          </p:nvSpPr>
          <p:spPr>
            <a:xfrm rot="16200000">
              <a:off x="245616" y="2191412"/>
              <a:ext cx="1379514" cy="3971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Advanced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8517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3369F7-3226-CAC5-3959-575DECD560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61BFE5D3-3F23-D66C-968F-91D05E6FB3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515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BFE5D3-3F23-D66C-968F-91D05E6FB3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A8EEE2D9-2815-081F-23FF-6C3B6808F4BD}"/>
              </a:ext>
            </a:extLst>
          </p:cNvPr>
          <p:cNvSpPr/>
          <p:nvPr/>
        </p:nvSpPr>
        <p:spPr>
          <a:xfrm>
            <a:off x="973062" y="4003675"/>
            <a:ext cx="4310137" cy="1882884"/>
          </a:xfrm>
          <a:prstGeom prst="roundRect">
            <a:avLst>
              <a:gd name="adj" fmla="val 2698"/>
            </a:avLst>
          </a:prstGeom>
          <a:solidFill>
            <a:schemeClr val="bg1">
              <a:lumMod val="85000"/>
              <a:alpha val="35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5EA815D-E667-65D9-A5DF-D4D3C103B5C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>
                <a:latin typeface="Poppins" panose="00000500000000000000" pitchFamily="2" charset="0"/>
              </a:rPr>
              <a:t>TMs TRENDS – 2030 and 2035 development pat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80B02F-EDF0-11D9-863A-174C54394D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Source: FEV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092B18-B9D9-62C9-268F-6887A9E3FF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M&amp;HDs are expected to reach an intermediate to advanced TMS performance by 2030, and partial to high level of integration by 203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992BB7-3B70-138A-D9B3-4DDF924C3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16</a:t>
            </a:fld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FD36167-4D2E-5908-971C-014461B75BBA}"/>
              </a:ext>
            </a:extLst>
          </p:cNvPr>
          <p:cNvGrpSpPr/>
          <p:nvPr/>
        </p:nvGrpSpPr>
        <p:grpSpPr>
          <a:xfrm>
            <a:off x="973063" y="5913451"/>
            <a:ext cx="10666341" cy="396001"/>
            <a:chOff x="1128094" y="5845718"/>
            <a:chExt cx="10511310" cy="396001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CB8A5CA1-D70D-0325-BB74-ADAA1A35D0ED}"/>
                </a:ext>
              </a:extLst>
            </p:cNvPr>
            <p:cNvSpPr/>
            <p:nvPr/>
          </p:nvSpPr>
          <p:spPr>
            <a:xfrm>
              <a:off x="1128094" y="5845718"/>
              <a:ext cx="10511310" cy="396001"/>
            </a:xfrm>
            <a:prstGeom prst="roundRect">
              <a:avLst>
                <a:gd name="adj" fmla="val 12830"/>
              </a:avLst>
            </a:prstGeom>
            <a:solidFill>
              <a:schemeClr val="accent2"/>
            </a:solidFill>
            <a:ln w="6350">
              <a:noFill/>
            </a:ln>
          </p:spPr>
          <p:txBody>
            <a:bodyPr lIns="0" tIns="0" rIns="0" bIns="0" rtlCol="0" anchor="b"/>
            <a:lstStyle/>
            <a:p>
              <a:pPr algn="ctr"/>
              <a:r>
                <a:rPr lang="en-US" sz="1050" b="1">
                  <a:solidFill>
                    <a:schemeClr val="bg1"/>
                  </a:solidFill>
                  <a:latin typeface="Poppins" panose="00000500000000000000" pitchFamily="2" charset="0"/>
                </a:rPr>
                <a:t>Integration level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51DE69B-AD82-8496-F3EE-76F40E6C8FDE}"/>
                </a:ext>
              </a:extLst>
            </p:cNvPr>
            <p:cNvSpPr txBox="1"/>
            <p:nvPr/>
          </p:nvSpPr>
          <p:spPr>
            <a:xfrm>
              <a:off x="1227373" y="5866286"/>
              <a:ext cx="3276232" cy="176860"/>
            </a:xfrm>
            <a:prstGeom prst="roundRect">
              <a:avLst>
                <a:gd name="adj" fmla="val 28726"/>
              </a:avLst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No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2D368CB-416B-437F-282E-D812D7907391}"/>
                </a:ext>
              </a:extLst>
            </p:cNvPr>
            <p:cNvSpPr txBox="1"/>
            <p:nvPr/>
          </p:nvSpPr>
          <p:spPr>
            <a:xfrm>
              <a:off x="4745632" y="5866286"/>
              <a:ext cx="3276232" cy="176860"/>
            </a:xfrm>
            <a:prstGeom prst="roundRect">
              <a:avLst>
                <a:gd name="adj" fmla="val 28726"/>
              </a:avLst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Partially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70908B3-52FC-791A-068C-33E754813A88}"/>
                </a:ext>
              </a:extLst>
            </p:cNvPr>
            <p:cNvSpPr txBox="1"/>
            <p:nvPr/>
          </p:nvSpPr>
          <p:spPr>
            <a:xfrm>
              <a:off x="8263889" y="5866286"/>
              <a:ext cx="3276232" cy="176860"/>
            </a:xfrm>
            <a:prstGeom prst="roundRect">
              <a:avLst>
                <a:gd name="adj" fmla="val 28726"/>
              </a:avLst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Highly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79056A1-7491-A7FD-7143-80A548C267AF}"/>
                </a:ext>
              </a:extLst>
            </p:cNvPr>
            <p:cNvCxnSpPr/>
            <p:nvPr/>
          </p:nvCxnSpPr>
          <p:spPr>
            <a:xfrm>
              <a:off x="4930701" y="6040162"/>
              <a:ext cx="2906095" cy="0"/>
            </a:xfrm>
            <a:prstGeom prst="line">
              <a:avLst/>
            </a:prstGeom>
            <a:ln w="9525">
              <a:solidFill>
                <a:schemeClr val="bg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C7CCBB8-019E-2121-415A-E857BEB944FA}"/>
              </a:ext>
            </a:extLst>
          </p:cNvPr>
          <p:cNvGrpSpPr/>
          <p:nvPr/>
        </p:nvGrpSpPr>
        <p:grpSpPr>
          <a:xfrm>
            <a:off x="550863" y="1700213"/>
            <a:ext cx="506869" cy="4186346"/>
            <a:chOff x="627063" y="1700214"/>
            <a:chExt cx="506869" cy="4076278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03A45117-EC80-906B-6402-8D3157C4A8DA}"/>
                </a:ext>
              </a:extLst>
            </p:cNvPr>
            <p:cNvSpPr/>
            <p:nvPr/>
          </p:nvSpPr>
          <p:spPr>
            <a:xfrm>
              <a:off x="627063" y="1704790"/>
              <a:ext cx="396000" cy="4071702"/>
            </a:xfrm>
            <a:prstGeom prst="roundRect">
              <a:avLst>
                <a:gd name="adj" fmla="val 12830"/>
              </a:avLst>
            </a:prstGeom>
            <a:solidFill>
              <a:schemeClr val="accent2"/>
            </a:solidFill>
            <a:ln w="6350">
              <a:noFill/>
            </a:ln>
          </p:spPr>
          <p:txBody>
            <a:bodyPr vert="vert270" lIns="0" tIns="0" rIns="0" bIns="0" rtlCol="0" anchor="t"/>
            <a:lstStyle/>
            <a:p>
              <a:pPr algn="ctr"/>
              <a:r>
                <a:rPr lang="en-US" sz="1050" b="1">
                  <a:solidFill>
                    <a:schemeClr val="bg1"/>
                  </a:solidFill>
                  <a:latin typeface="Poppins" panose="00000500000000000000" pitchFamily="2" charset="0"/>
                </a:rPr>
                <a:t>Functionality &amp; Efficiency level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6E5EBC0D-43DC-814F-531E-93DEFA2E8469}"/>
                </a:ext>
              </a:extLst>
            </p:cNvPr>
            <p:cNvCxnSpPr>
              <a:cxnSpLocks/>
            </p:cNvCxnSpPr>
            <p:nvPr/>
          </p:nvCxnSpPr>
          <p:spPr>
            <a:xfrm>
              <a:off x="829040" y="2597991"/>
              <a:ext cx="0" cy="2299189"/>
            </a:xfrm>
            <a:prstGeom prst="line">
              <a:avLst/>
            </a:prstGeom>
            <a:ln w="9525">
              <a:solidFill>
                <a:schemeClr val="bg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57CFFB0-83C9-29E9-11CB-7B67FEB8E711}"/>
                </a:ext>
              </a:extLst>
            </p:cNvPr>
            <p:cNvSpPr txBox="1"/>
            <p:nvPr/>
          </p:nvSpPr>
          <p:spPr>
            <a:xfrm rot="16200000">
              <a:off x="305781" y="4923550"/>
              <a:ext cx="1259181" cy="3971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Basic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D7F5E68-4328-A9BA-3285-849ABBB9CF19}"/>
                </a:ext>
              </a:extLst>
            </p:cNvPr>
            <p:cNvSpPr txBox="1"/>
            <p:nvPr/>
          </p:nvSpPr>
          <p:spPr>
            <a:xfrm rot="16200000">
              <a:off x="216216" y="3547639"/>
              <a:ext cx="1438313" cy="3971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Intermediate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B3C0A02-03D0-38C5-6FF2-BBDB67CA6466}"/>
                </a:ext>
              </a:extLst>
            </p:cNvPr>
            <p:cNvSpPr txBox="1"/>
            <p:nvPr/>
          </p:nvSpPr>
          <p:spPr>
            <a:xfrm rot="16200000">
              <a:off x="245616" y="2191412"/>
              <a:ext cx="1379514" cy="3971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Advanced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</p:grpSp>
      <p:pic>
        <p:nvPicPr>
          <p:cNvPr id="40" name="518 truck">
            <a:extLst>
              <a:ext uri="{FF2B5EF4-FFF2-40B4-BE49-F238E27FC236}">
                <a16:creationId xmlns:a16="http://schemas.microsoft.com/office/drawing/2014/main" id="{DC7378CC-D5B0-AF47-9B11-EEB31AE35C8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93117" y="4481193"/>
            <a:ext cx="1170598" cy="826991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5B16F6D2-98E4-14C4-FB0C-E17171BD188B}"/>
              </a:ext>
            </a:extLst>
          </p:cNvPr>
          <p:cNvSpPr txBox="1"/>
          <p:nvPr/>
        </p:nvSpPr>
        <p:spPr>
          <a:xfrm>
            <a:off x="1518222" y="5279095"/>
            <a:ext cx="2435720" cy="2052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200" b="1" dirty="0">
                <a:latin typeface="+mn-lt"/>
              </a:rPr>
              <a:t>Current </a:t>
            </a:r>
            <a:r>
              <a:rPr lang="en-US" sz="1200" b="1" dirty="0"/>
              <a:t>M&amp;HD </a:t>
            </a:r>
            <a:r>
              <a:rPr lang="en-US" sz="1200" b="1" dirty="0">
                <a:latin typeface="+mn-lt"/>
              </a:rPr>
              <a:t>situation</a:t>
            </a:r>
          </a:p>
        </p:txBody>
      </p:sp>
      <p:sp>
        <p:nvSpPr>
          <p:cNvPr id="14" name="TextBox467038734">
            <a:extLst>
              <a:ext uri="{FF2B5EF4-FFF2-40B4-BE49-F238E27FC236}">
                <a16:creationId xmlns:a16="http://schemas.microsoft.com/office/drawing/2014/main" id="{3B5667B5-B787-C773-762B-85EFC827B8AB}"/>
              </a:ext>
            </a:extLst>
          </p:cNvPr>
          <p:cNvSpPr txBox="1"/>
          <p:nvPr/>
        </p:nvSpPr>
        <p:spPr>
          <a:xfrm>
            <a:off x="5603271" y="4213501"/>
            <a:ext cx="2297267" cy="1463231"/>
          </a:xfrm>
          <a:prstGeom prst="roundRect">
            <a:avLst>
              <a:gd name="adj" fmla="val 3080"/>
            </a:avLst>
          </a:prstGeom>
          <a:solidFill>
            <a:srgbClr val="FFFFFF"/>
          </a:solidFill>
          <a:ln w="317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marL="0" lvl="1" indent="0">
              <a:buNone/>
            </a:pPr>
            <a:r>
              <a:rPr lang="en-US" b="1" dirty="0">
                <a:solidFill>
                  <a:schemeClr val="accent4"/>
                </a:solidFill>
              </a:rPr>
              <a:t>Integration</a:t>
            </a:r>
          </a:p>
          <a:p>
            <a:pPr lvl="1"/>
            <a:r>
              <a:rPr lang="en-US" dirty="0"/>
              <a:t>No to partial integration through sub-modules (e.g., HVAC, battery)</a:t>
            </a:r>
          </a:p>
        </p:txBody>
      </p:sp>
      <p:sp>
        <p:nvSpPr>
          <p:cNvPr id="15" name="TextBox467038734">
            <a:extLst>
              <a:ext uri="{FF2B5EF4-FFF2-40B4-BE49-F238E27FC236}">
                <a16:creationId xmlns:a16="http://schemas.microsoft.com/office/drawing/2014/main" id="{086FC7BF-06B6-DBD4-D9FD-1BF04D47F416}"/>
              </a:ext>
            </a:extLst>
          </p:cNvPr>
          <p:cNvSpPr txBox="1"/>
          <p:nvPr/>
        </p:nvSpPr>
        <p:spPr>
          <a:xfrm>
            <a:off x="1857527" y="2568908"/>
            <a:ext cx="2541207" cy="1245704"/>
          </a:xfrm>
          <a:prstGeom prst="roundRect">
            <a:avLst>
              <a:gd name="adj" fmla="val 3080"/>
            </a:avLst>
          </a:prstGeom>
          <a:solidFill>
            <a:srgbClr val="FFFFFF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marL="0" lvl="1" indent="0">
              <a:buNone/>
            </a:pPr>
            <a:r>
              <a:rPr lang="en-US" b="1" dirty="0">
                <a:solidFill>
                  <a:schemeClr val="tx2"/>
                </a:solidFill>
              </a:rPr>
              <a:t>Performance</a:t>
            </a:r>
          </a:p>
          <a:p>
            <a:pPr lvl="1"/>
            <a:r>
              <a:rPr lang="en-US" dirty="0"/>
              <a:t>Basic to intermediate performance (e.g., re-use of waste heat)</a:t>
            </a:r>
          </a:p>
        </p:txBody>
      </p:sp>
    </p:spTree>
    <p:extLst>
      <p:ext uri="{BB962C8B-B14F-4D97-AF65-F5344CB8AC3E}">
        <p14:creationId xmlns:p14="http://schemas.microsoft.com/office/powerpoint/2010/main" val="1510408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F8EC3-F310-0FAC-75F2-30A86B8B2F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67E80C28-B673-6408-06FC-C05DB42E5E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569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E80C28-B673-6408-06FC-C05DB42E5E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2639CB4-FC53-C120-BC56-7FDBC9729ABE}"/>
              </a:ext>
            </a:extLst>
          </p:cNvPr>
          <p:cNvSpPr/>
          <p:nvPr/>
        </p:nvSpPr>
        <p:spPr>
          <a:xfrm>
            <a:off x="1999957" y="2325640"/>
            <a:ext cx="3902080" cy="1271098"/>
          </a:xfrm>
          <a:prstGeom prst="roundRect">
            <a:avLst>
              <a:gd name="adj" fmla="val 3997"/>
            </a:avLst>
          </a:prstGeom>
          <a:solidFill>
            <a:schemeClr val="bg1">
              <a:lumMod val="85000"/>
              <a:alpha val="35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08F331E-2947-0A0B-CA70-E69673517AB1}"/>
              </a:ext>
            </a:extLst>
          </p:cNvPr>
          <p:cNvSpPr/>
          <p:nvPr/>
        </p:nvSpPr>
        <p:spPr>
          <a:xfrm>
            <a:off x="973062" y="4003675"/>
            <a:ext cx="4310137" cy="1882884"/>
          </a:xfrm>
          <a:prstGeom prst="roundRect">
            <a:avLst>
              <a:gd name="adj" fmla="val 2698"/>
            </a:avLst>
          </a:prstGeom>
          <a:solidFill>
            <a:schemeClr val="bg1">
              <a:lumMod val="85000"/>
              <a:alpha val="35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D9CA8EE-BDB0-BCB5-29D4-D378EB9BE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>
                <a:latin typeface="Poppins" panose="00000500000000000000" pitchFamily="2" charset="0"/>
              </a:rPr>
              <a:t>TMs TRENDS – 2030 and 2035 development pat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8F5058-F356-734A-0505-6166AB6920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Source: FEV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CD349B-C226-EA1A-17B1-849C5113BC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M&amp;HDs are expected to reach an intermediate to advanced TMS performance by 2030, and partial to high level of integration by 203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E53145-B8D2-76CE-6B30-B69556C1F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17</a:t>
            </a:fld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C043BAA-B245-C7F1-342E-C78E9B360567}"/>
              </a:ext>
            </a:extLst>
          </p:cNvPr>
          <p:cNvGrpSpPr/>
          <p:nvPr/>
        </p:nvGrpSpPr>
        <p:grpSpPr>
          <a:xfrm>
            <a:off x="973063" y="5913451"/>
            <a:ext cx="10666341" cy="396001"/>
            <a:chOff x="1128094" y="5845718"/>
            <a:chExt cx="10511310" cy="396001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1A312C13-CC7E-46BD-24AD-87D97DEC6FB3}"/>
                </a:ext>
              </a:extLst>
            </p:cNvPr>
            <p:cNvSpPr/>
            <p:nvPr/>
          </p:nvSpPr>
          <p:spPr>
            <a:xfrm>
              <a:off x="1128094" y="5845718"/>
              <a:ext cx="10511310" cy="396001"/>
            </a:xfrm>
            <a:prstGeom prst="roundRect">
              <a:avLst>
                <a:gd name="adj" fmla="val 12830"/>
              </a:avLst>
            </a:prstGeom>
            <a:solidFill>
              <a:schemeClr val="accent2"/>
            </a:solidFill>
            <a:ln w="6350">
              <a:noFill/>
            </a:ln>
          </p:spPr>
          <p:txBody>
            <a:bodyPr lIns="0" tIns="0" rIns="0" bIns="0" rtlCol="0" anchor="b"/>
            <a:lstStyle/>
            <a:p>
              <a:pPr algn="ctr"/>
              <a:r>
                <a:rPr lang="en-US" sz="1050" b="1">
                  <a:solidFill>
                    <a:schemeClr val="bg1"/>
                  </a:solidFill>
                  <a:latin typeface="Poppins" panose="00000500000000000000" pitchFamily="2" charset="0"/>
                </a:rPr>
                <a:t>Integration level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2EDA0C9-F8DB-2CDF-7993-C7B51B598A53}"/>
                </a:ext>
              </a:extLst>
            </p:cNvPr>
            <p:cNvSpPr txBox="1"/>
            <p:nvPr/>
          </p:nvSpPr>
          <p:spPr>
            <a:xfrm>
              <a:off x="1227373" y="5866286"/>
              <a:ext cx="3276232" cy="176860"/>
            </a:xfrm>
            <a:prstGeom prst="roundRect">
              <a:avLst>
                <a:gd name="adj" fmla="val 28726"/>
              </a:avLst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No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AD03008-E8B8-EEFD-0C4C-6B63A3BB7F9C}"/>
                </a:ext>
              </a:extLst>
            </p:cNvPr>
            <p:cNvSpPr txBox="1"/>
            <p:nvPr/>
          </p:nvSpPr>
          <p:spPr>
            <a:xfrm>
              <a:off x="4745632" y="5866286"/>
              <a:ext cx="3276232" cy="176860"/>
            </a:xfrm>
            <a:prstGeom prst="roundRect">
              <a:avLst>
                <a:gd name="adj" fmla="val 28726"/>
              </a:avLst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Partially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00EE1F4-8693-ADF2-671D-359B139A9358}"/>
                </a:ext>
              </a:extLst>
            </p:cNvPr>
            <p:cNvSpPr txBox="1"/>
            <p:nvPr/>
          </p:nvSpPr>
          <p:spPr>
            <a:xfrm>
              <a:off x="8263889" y="5866286"/>
              <a:ext cx="3276232" cy="176860"/>
            </a:xfrm>
            <a:prstGeom prst="roundRect">
              <a:avLst>
                <a:gd name="adj" fmla="val 28726"/>
              </a:avLst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Highly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D1A393B-6D8E-062A-08DE-E43ED04437F1}"/>
                </a:ext>
              </a:extLst>
            </p:cNvPr>
            <p:cNvCxnSpPr/>
            <p:nvPr/>
          </p:nvCxnSpPr>
          <p:spPr>
            <a:xfrm>
              <a:off x="4930701" y="6040162"/>
              <a:ext cx="2906095" cy="0"/>
            </a:xfrm>
            <a:prstGeom prst="line">
              <a:avLst/>
            </a:prstGeom>
            <a:ln w="9525">
              <a:solidFill>
                <a:schemeClr val="bg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40815FE-81A9-783A-277A-CA3ABD0CF617}"/>
              </a:ext>
            </a:extLst>
          </p:cNvPr>
          <p:cNvGrpSpPr/>
          <p:nvPr/>
        </p:nvGrpSpPr>
        <p:grpSpPr>
          <a:xfrm>
            <a:off x="550863" y="1700213"/>
            <a:ext cx="506869" cy="4186346"/>
            <a:chOff x="627063" y="1700214"/>
            <a:chExt cx="506869" cy="4076278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48886D6A-7E96-EC65-8577-B8FA8039A6FE}"/>
                </a:ext>
              </a:extLst>
            </p:cNvPr>
            <p:cNvSpPr/>
            <p:nvPr/>
          </p:nvSpPr>
          <p:spPr>
            <a:xfrm>
              <a:off x="627063" y="1704790"/>
              <a:ext cx="396000" cy="4071702"/>
            </a:xfrm>
            <a:prstGeom prst="roundRect">
              <a:avLst>
                <a:gd name="adj" fmla="val 12830"/>
              </a:avLst>
            </a:prstGeom>
            <a:solidFill>
              <a:schemeClr val="accent2"/>
            </a:solidFill>
            <a:ln w="6350">
              <a:noFill/>
            </a:ln>
          </p:spPr>
          <p:txBody>
            <a:bodyPr vert="vert270" lIns="0" tIns="0" rIns="0" bIns="0" rtlCol="0" anchor="t"/>
            <a:lstStyle/>
            <a:p>
              <a:pPr algn="ctr"/>
              <a:r>
                <a:rPr lang="en-US" sz="1050" b="1">
                  <a:solidFill>
                    <a:schemeClr val="bg1"/>
                  </a:solidFill>
                  <a:latin typeface="Poppins" panose="00000500000000000000" pitchFamily="2" charset="0"/>
                </a:rPr>
                <a:t>Functionality &amp; Efficiency level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0FFEE54E-59B2-C574-7568-26F4756469EA}"/>
                </a:ext>
              </a:extLst>
            </p:cNvPr>
            <p:cNvCxnSpPr>
              <a:cxnSpLocks/>
            </p:cNvCxnSpPr>
            <p:nvPr/>
          </p:nvCxnSpPr>
          <p:spPr>
            <a:xfrm>
              <a:off x="829040" y="2597991"/>
              <a:ext cx="0" cy="2299189"/>
            </a:xfrm>
            <a:prstGeom prst="line">
              <a:avLst/>
            </a:prstGeom>
            <a:ln w="9525">
              <a:solidFill>
                <a:schemeClr val="bg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509C658-0959-40D5-1CED-CEDB36DE4D4B}"/>
                </a:ext>
              </a:extLst>
            </p:cNvPr>
            <p:cNvSpPr txBox="1"/>
            <p:nvPr/>
          </p:nvSpPr>
          <p:spPr>
            <a:xfrm rot="16200000">
              <a:off x="305781" y="4923550"/>
              <a:ext cx="1259181" cy="3971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Basic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6E14F35-D3AB-41EB-42DB-199D3B67FAF6}"/>
                </a:ext>
              </a:extLst>
            </p:cNvPr>
            <p:cNvSpPr txBox="1"/>
            <p:nvPr/>
          </p:nvSpPr>
          <p:spPr>
            <a:xfrm rot="16200000">
              <a:off x="216216" y="3547639"/>
              <a:ext cx="1438313" cy="3971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Intermediate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D9B92B6-D361-E0D9-11F6-E5324A8A70A5}"/>
                </a:ext>
              </a:extLst>
            </p:cNvPr>
            <p:cNvSpPr txBox="1"/>
            <p:nvPr/>
          </p:nvSpPr>
          <p:spPr>
            <a:xfrm rot="16200000">
              <a:off x="245616" y="2191412"/>
              <a:ext cx="1379514" cy="3971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Advanced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</p:grpSp>
      <p:sp>
        <p:nvSpPr>
          <p:cNvPr id="14" name="TextBox467038734">
            <a:extLst>
              <a:ext uri="{FF2B5EF4-FFF2-40B4-BE49-F238E27FC236}">
                <a16:creationId xmlns:a16="http://schemas.microsoft.com/office/drawing/2014/main" id="{31F8540A-07D1-52A6-11B2-B296E377446E}"/>
              </a:ext>
            </a:extLst>
          </p:cNvPr>
          <p:cNvSpPr txBox="1"/>
          <p:nvPr/>
        </p:nvSpPr>
        <p:spPr>
          <a:xfrm>
            <a:off x="5498329" y="3942573"/>
            <a:ext cx="2664519" cy="1194890"/>
          </a:xfrm>
          <a:prstGeom prst="roundRect">
            <a:avLst>
              <a:gd name="adj" fmla="val 3472"/>
            </a:avLst>
          </a:prstGeom>
          <a:solidFill>
            <a:srgbClr val="FFFFFF"/>
          </a:solidFill>
          <a:ln w="317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marL="0" lvl="1" indent="0">
              <a:buNone/>
            </a:pPr>
            <a:r>
              <a:rPr lang="en-US" b="1" dirty="0">
                <a:solidFill>
                  <a:schemeClr val="accent4"/>
                </a:solidFill>
              </a:rPr>
              <a:t>Integration</a:t>
            </a:r>
          </a:p>
          <a:p>
            <a:pPr lvl="1"/>
            <a:r>
              <a:rPr lang="en-US" dirty="0"/>
              <a:t>Low focus towards 2030</a:t>
            </a:r>
          </a:p>
          <a:p>
            <a:pPr lvl="1"/>
            <a:r>
              <a:rPr lang="en-US" dirty="0"/>
              <a:t>Mainly sub-modules</a:t>
            </a:r>
          </a:p>
        </p:txBody>
      </p:sp>
      <p:sp>
        <p:nvSpPr>
          <p:cNvPr id="15" name="TextBox467038734">
            <a:extLst>
              <a:ext uri="{FF2B5EF4-FFF2-40B4-BE49-F238E27FC236}">
                <a16:creationId xmlns:a16="http://schemas.microsoft.com/office/drawing/2014/main" id="{8D40F4F9-CB38-7CDF-AC8C-863F9A7C9456}"/>
              </a:ext>
            </a:extLst>
          </p:cNvPr>
          <p:cNvSpPr txBox="1"/>
          <p:nvPr/>
        </p:nvSpPr>
        <p:spPr>
          <a:xfrm>
            <a:off x="6095134" y="1849279"/>
            <a:ext cx="3177309" cy="1634112"/>
          </a:xfrm>
          <a:prstGeom prst="roundRect">
            <a:avLst>
              <a:gd name="adj" fmla="val 4078"/>
            </a:avLst>
          </a:prstGeom>
          <a:solidFill>
            <a:srgbClr val="FFFFFF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marL="0" lvl="1" indent="0">
              <a:buNone/>
            </a:pPr>
            <a:r>
              <a:rPr lang="en-US" b="1" dirty="0">
                <a:solidFill>
                  <a:schemeClr val="tx2"/>
                </a:solidFill>
              </a:rPr>
              <a:t>Performance</a:t>
            </a:r>
          </a:p>
          <a:p>
            <a:pPr lvl="1"/>
            <a:r>
              <a:rPr lang="en-US" dirty="0"/>
              <a:t>Intermediate to </a:t>
            </a:r>
            <a:r>
              <a:rPr lang="en-US" dirty="0" err="1"/>
              <a:t>advanced</a:t>
            </a:r>
            <a:r>
              <a:rPr lang="en-US" dirty="0"/>
              <a:t> to improve efficiency </a:t>
            </a:r>
          </a:p>
          <a:p>
            <a:pPr lvl="1"/>
            <a:r>
              <a:rPr lang="en-US" dirty="0"/>
              <a:t>E.g., heat pump, improved HEX, HV components</a:t>
            </a:r>
          </a:p>
        </p:txBody>
      </p:sp>
      <p:pic>
        <p:nvPicPr>
          <p:cNvPr id="10" name="Arrow_04">
            <a:extLst>
              <a:ext uri="{FF2B5EF4-FFF2-40B4-BE49-F238E27FC236}">
                <a16:creationId xmlns:a16="http://schemas.microsoft.com/office/drawing/2014/main" id="{60ED3A4E-C1BC-32B8-6763-858E2CB8B5E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r="39995"/>
          <a:stretch/>
        </p:blipFill>
        <p:spPr>
          <a:xfrm rot="7552884">
            <a:off x="2614203" y="3662294"/>
            <a:ext cx="1551421" cy="455645"/>
          </a:xfrm>
          <a:prstGeom prst="rect">
            <a:avLst/>
          </a:prstGeom>
        </p:spPr>
      </p:pic>
      <p:pic>
        <p:nvPicPr>
          <p:cNvPr id="12" name="518 truck">
            <a:extLst>
              <a:ext uri="{FF2B5EF4-FFF2-40B4-BE49-F238E27FC236}">
                <a16:creationId xmlns:a16="http://schemas.microsoft.com/office/drawing/2014/main" id="{F176F3FE-A8B5-8061-C1B1-09FC621A734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193117" y="4481193"/>
            <a:ext cx="1170598" cy="82699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E6ACEF4-BBF8-CB9C-9BA0-1A72B5B87249}"/>
              </a:ext>
            </a:extLst>
          </p:cNvPr>
          <p:cNvSpPr txBox="1"/>
          <p:nvPr/>
        </p:nvSpPr>
        <p:spPr>
          <a:xfrm>
            <a:off x="1518222" y="5279095"/>
            <a:ext cx="2435720" cy="2052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200" b="1" dirty="0">
                <a:latin typeface="+mn-lt"/>
              </a:rPr>
              <a:t>Current </a:t>
            </a:r>
            <a:r>
              <a:rPr lang="en-US" sz="1200" b="1" dirty="0"/>
              <a:t>M&amp;HD </a:t>
            </a:r>
            <a:r>
              <a:rPr lang="en-US" sz="1200" b="1" dirty="0">
                <a:latin typeface="+mn-lt"/>
              </a:rPr>
              <a:t>situation</a:t>
            </a:r>
          </a:p>
        </p:txBody>
      </p:sp>
      <p:sp>
        <p:nvSpPr>
          <p:cNvPr id="25" name="TextBox1640963426">
            <a:extLst>
              <a:ext uri="{FF2B5EF4-FFF2-40B4-BE49-F238E27FC236}">
                <a16:creationId xmlns:a16="http://schemas.microsoft.com/office/drawing/2014/main" id="{FC9F7851-E7D2-4C00-9636-C0D44DFDDABE}"/>
              </a:ext>
            </a:extLst>
          </p:cNvPr>
          <p:cNvSpPr txBox="1"/>
          <p:nvPr/>
        </p:nvSpPr>
        <p:spPr>
          <a:xfrm>
            <a:off x="3212145" y="2770384"/>
            <a:ext cx="1477703" cy="346288"/>
          </a:xfrm>
          <a:prstGeom prst="roundRect">
            <a:avLst>
              <a:gd name="adj" fmla="val 14671"/>
            </a:avLst>
          </a:prstGeom>
          <a:gradFill flip="none" rotWithShape="1">
            <a:gsLst>
              <a:gs pos="0">
                <a:srgbClr val="6F031B"/>
              </a:gs>
              <a:gs pos="100000">
                <a:srgbClr val="DD0036"/>
              </a:gs>
              <a:gs pos="50000">
                <a:srgbClr val="B9052D"/>
              </a:gs>
            </a:gsLst>
            <a:lin ang="19800000" scaled="1"/>
            <a:tileRect/>
          </a:gradFill>
          <a:effectLst/>
        </p:spPr>
        <p:txBody>
          <a:bodyPr vert="horz" wrap="square" lIns="108000" tIns="108000" rIns="108000" bIns="108000" rtlCol="0" anchor="ctr" anchorCtr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bg1"/>
              </a:buClr>
              <a:buSzPct val="100000"/>
              <a:buFont typeface="FEV" panose="020B0604020202020204" charset="0"/>
              <a:buChar char="•"/>
              <a:defRPr lang="en-US" sz="1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4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algn="ctr"/>
            <a:r>
              <a:rPr lang="en-US" b="1" dirty="0"/>
              <a:t>2030 focus</a:t>
            </a:r>
          </a:p>
        </p:txBody>
      </p:sp>
    </p:spTree>
    <p:extLst>
      <p:ext uri="{BB962C8B-B14F-4D97-AF65-F5344CB8AC3E}">
        <p14:creationId xmlns:p14="http://schemas.microsoft.com/office/powerpoint/2010/main" val="3357186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17ACB1-6066-7F00-2441-2B6B7D8262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think-cell data - do not delete" hidden="1">
            <a:extLst>
              <a:ext uri="{FF2B5EF4-FFF2-40B4-BE49-F238E27FC236}">
                <a16:creationId xmlns:a16="http://schemas.microsoft.com/office/drawing/2014/main" id="{25102403-D87D-691B-90B4-EA5FB868CC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2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102403-D87D-691B-90B4-EA5FB868CC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4814F94-C515-17ED-36A0-404EB5A7159A}"/>
              </a:ext>
            </a:extLst>
          </p:cNvPr>
          <p:cNvSpPr/>
          <p:nvPr/>
        </p:nvSpPr>
        <p:spPr>
          <a:xfrm>
            <a:off x="1999957" y="2325640"/>
            <a:ext cx="3902080" cy="1271098"/>
          </a:xfrm>
          <a:prstGeom prst="roundRect">
            <a:avLst>
              <a:gd name="adj" fmla="val 3997"/>
            </a:avLst>
          </a:prstGeom>
          <a:solidFill>
            <a:schemeClr val="bg1">
              <a:lumMod val="85000"/>
              <a:alpha val="35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4F72A28-5B87-B941-CCE8-2583BDBCEAB0}"/>
              </a:ext>
            </a:extLst>
          </p:cNvPr>
          <p:cNvSpPr/>
          <p:nvPr/>
        </p:nvSpPr>
        <p:spPr>
          <a:xfrm>
            <a:off x="973062" y="4003675"/>
            <a:ext cx="4310137" cy="1882884"/>
          </a:xfrm>
          <a:prstGeom prst="roundRect">
            <a:avLst>
              <a:gd name="adj" fmla="val 2698"/>
            </a:avLst>
          </a:prstGeom>
          <a:solidFill>
            <a:schemeClr val="bg1">
              <a:lumMod val="85000"/>
              <a:alpha val="35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64370D0-EEBB-5776-418F-C7C6424E9A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>
                <a:latin typeface="Poppins" panose="00000500000000000000" pitchFamily="2" charset="0"/>
              </a:rPr>
              <a:t>TMs TRENDS – 2030 and 2035 development pat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9D22A2-F789-18AE-CB72-03D29A2F2F3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Source: FEV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D84094-53A3-8D21-E5CF-A1EB66E15B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M&amp;HDs are expected to reach an intermediate to advanced TMS performance by 2030, and partial to high level of integration by 203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1DD175-7390-CF6D-D3E7-8C6884156E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18</a:t>
            </a:fld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877B585-8583-51EE-E10A-E8FABBF90B50}"/>
              </a:ext>
            </a:extLst>
          </p:cNvPr>
          <p:cNvGrpSpPr/>
          <p:nvPr/>
        </p:nvGrpSpPr>
        <p:grpSpPr>
          <a:xfrm>
            <a:off x="973063" y="5913451"/>
            <a:ext cx="10666341" cy="396001"/>
            <a:chOff x="1128094" y="5845718"/>
            <a:chExt cx="10511310" cy="396001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2E5A72C5-308F-3F67-DD65-C99D8015715F}"/>
                </a:ext>
              </a:extLst>
            </p:cNvPr>
            <p:cNvSpPr/>
            <p:nvPr/>
          </p:nvSpPr>
          <p:spPr>
            <a:xfrm>
              <a:off x="1128094" y="5845718"/>
              <a:ext cx="10511310" cy="396001"/>
            </a:xfrm>
            <a:prstGeom prst="roundRect">
              <a:avLst>
                <a:gd name="adj" fmla="val 12830"/>
              </a:avLst>
            </a:prstGeom>
            <a:solidFill>
              <a:schemeClr val="accent2"/>
            </a:solidFill>
            <a:ln w="6350">
              <a:noFill/>
            </a:ln>
          </p:spPr>
          <p:txBody>
            <a:bodyPr lIns="0" tIns="0" rIns="0" bIns="0" rtlCol="0" anchor="b"/>
            <a:lstStyle/>
            <a:p>
              <a:pPr algn="ctr"/>
              <a:r>
                <a:rPr lang="en-US" sz="1050" b="1">
                  <a:solidFill>
                    <a:schemeClr val="bg1"/>
                  </a:solidFill>
                  <a:latin typeface="Poppins" panose="00000500000000000000" pitchFamily="2" charset="0"/>
                </a:rPr>
                <a:t>Integration level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302D8B8-454B-A927-99E6-43245013A4C3}"/>
                </a:ext>
              </a:extLst>
            </p:cNvPr>
            <p:cNvSpPr txBox="1"/>
            <p:nvPr/>
          </p:nvSpPr>
          <p:spPr>
            <a:xfrm>
              <a:off x="1227373" y="5866286"/>
              <a:ext cx="3276232" cy="176860"/>
            </a:xfrm>
            <a:prstGeom prst="roundRect">
              <a:avLst>
                <a:gd name="adj" fmla="val 28726"/>
              </a:avLst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No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22A2069-13C5-1212-B5A5-A6A48A81AE3E}"/>
                </a:ext>
              </a:extLst>
            </p:cNvPr>
            <p:cNvSpPr txBox="1"/>
            <p:nvPr/>
          </p:nvSpPr>
          <p:spPr>
            <a:xfrm>
              <a:off x="4745632" y="5866286"/>
              <a:ext cx="3276232" cy="176860"/>
            </a:xfrm>
            <a:prstGeom prst="roundRect">
              <a:avLst>
                <a:gd name="adj" fmla="val 28726"/>
              </a:avLst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Partially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F7288E0-B734-EB11-45BC-C0AC7E44359C}"/>
                </a:ext>
              </a:extLst>
            </p:cNvPr>
            <p:cNvSpPr txBox="1"/>
            <p:nvPr/>
          </p:nvSpPr>
          <p:spPr>
            <a:xfrm>
              <a:off x="8263889" y="5866286"/>
              <a:ext cx="3276232" cy="176860"/>
            </a:xfrm>
            <a:prstGeom prst="roundRect">
              <a:avLst>
                <a:gd name="adj" fmla="val 28726"/>
              </a:avLst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Highly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9FCAED3-51A2-B06A-51CF-DB397312188A}"/>
                </a:ext>
              </a:extLst>
            </p:cNvPr>
            <p:cNvCxnSpPr/>
            <p:nvPr/>
          </p:nvCxnSpPr>
          <p:spPr>
            <a:xfrm>
              <a:off x="4930701" y="6040162"/>
              <a:ext cx="2906095" cy="0"/>
            </a:xfrm>
            <a:prstGeom prst="line">
              <a:avLst/>
            </a:prstGeom>
            <a:ln w="9525">
              <a:solidFill>
                <a:schemeClr val="bg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95D89FC-FB83-2960-B618-CAD9FAE1D1EA}"/>
              </a:ext>
            </a:extLst>
          </p:cNvPr>
          <p:cNvGrpSpPr/>
          <p:nvPr/>
        </p:nvGrpSpPr>
        <p:grpSpPr>
          <a:xfrm>
            <a:off x="550863" y="1700213"/>
            <a:ext cx="506869" cy="4186346"/>
            <a:chOff x="627063" y="1700214"/>
            <a:chExt cx="506869" cy="4076278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4B936B31-4D58-14E2-71B5-6DA3480F1ACD}"/>
                </a:ext>
              </a:extLst>
            </p:cNvPr>
            <p:cNvSpPr/>
            <p:nvPr/>
          </p:nvSpPr>
          <p:spPr>
            <a:xfrm>
              <a:off x="627063" y="1704790"/>
              <a:ext cx="396000" cy="4071702"/>
            </a:xfrm>
            <a:prstGeom prst="roundRect">
              <a:avLst>
                <a:gd name="adj" fmla="val 12830"/>
              </a:avLst>
            </a:prstGeom>
            <a:solidFill>
              <a:schemeClr val="accent2"/>
            </a:solidFill>
            <a:ln w="6350">
              <a:noFill/>
            </a:ln>
          </p:spPr>
          <p:txBody>
            <a:bodyPr vert="vert270" lIns="0" tIns="0" rIns="0" bIns="0" rtlCol="0" anchor="t"/>
            <a:lstStyle/>
            <a:p>
              <a:pPr algn="ctr"/>
              <a:r>
                <a:rPr lang="en-US" sz="1050" b="1">
                  <a:solidFill>
                    <a:schemeClr val="bg1"/>
                  </a:solidFill>
                  <a:latin typeface="Poppins" panose="00000500000000000000" pitchFamily="2" charset="0"/>
                </a:rPr>
                <a:t>Functionality &amp; Efficiency level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FA59F6B-4F22-1C6A-72BA-6EE8899EB5B8}"/>
                </a:ext>
              </a:extLst>
            </p:cNvPr>
            <p:cNvCxnSpPr>
              <a:cxnSpLocks/>
            </p:cNvCxnSpPr>
            <p:nvPr/>
          </p:nvCxnSpPr>
          <p:spPr>
            <a:xfrm>
              <a:off x="829040" y="2597991"/>
              <a:ext cx="0" cy="2299189"/>
            </a:xfrm>
            <a:prstGeom prst="line">
              <a:avLst/>
            </a:prstGeom>
            <a:ln w="9525">
              <a:solidFill>
                <a:schemeClr val="bg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B3C0649-7D22-890C-0E6E-24ED862B3DEC}"/>
                </a:ext>
              </a:extLst>
            </p:cNvPr>
            <p:cNvSpPr txBox="1"/>
            <p:nvPr/>
          </p:nvSpPr>
          <p:spPr>
            <a:xfrm rot="16200000">
              <a:off x="305781" y="4923550"/>
              <a:ext cx="1259181" cy="3971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Basic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FDEA84A-D120-57D0-5AF9-F3C2EBB9CDF9}"/>
                </a:ext>
              </a:extLst>
            </p:cNvPr>
            <p:cNvSpPr txBox="1"/>
            <p:nvPr/>
          </p:nvSpPr>
          <p:spPr>
            <a:xfrm rot="16200000">
              <a:off x="216216" y="3547639"/>
              <a:ext cx="1438313" cy="3971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Intermediate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82627B8-294C-C77D-8C91-7EA1F7A923B3}"/>
                </a:ext>
              </a:extLst>
            </p:cNvPr>
            <p:cNvSpPr txBox="1"/>
            <p:nvPr/>
          </p:nvSpPr>
          <p:spPr>
            <a:xfrm rot="16200000">
              <a:off x="245616" y="2191412"/>
              <a:ext cx="1379514" cy="3971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Poppins" panose="00000500000000000000" pitchFamily="2" charset="0"/>
                </a:rPr>
                <a:t>Advanced</a:t>
              </a:r>
              <a:endParaRPr lang="en-US" sz="1100">
                <a:solidFill>
                  <a:schemeClr val="bg1"/>
                </a:solidFill>
                <a:latin typeface="Poppins" panose="00000500000000000000" pitchFamily="2" charset="0"/>
              </a:endParaRPr>
            </a:p>
          </p:txBody>
        </p:sp>
      </p:grpSp>
      <p:sp>
        <p:nvSpPr>
          <p:cNvPr id="14" name="TextBox467038734">
            <a:extLst>
              <a:ext uri="{FF2B5EF4-FFF2-40B4-BE49-F238E27FC236}">
                <a16:creationId xmlns:a16="http://schemas.microsoft.com/office/drawing/2014/main" id="{F2C03B65-A218-C725-1E77-22443B90098A}"/>
              </a:ext>
            </a:extLst>
          </p:cNvPr>
          <p:cNvSpPr txBox="1"/>
          <p:nvPr/>
        </p:nvSpPr>
        <p:spPr>
          <a:xfrm>
            <a:off x="8150424" y="3167772"/>
            <a:ext cx="3227481" cy="2230198"/>
          </a:xfrm>
          <a:prstGeom prst="roundRect">
            <a:avLst>
              <a:gd name="adj" fmla="val 4252"/>
            </a:avLst>
          </a:prstGeom>
          <a:solidFill>
            <a:srgbClr val="FFFFFF"/>
          </a:solidFill>
          <a:ln w="317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marL="0" lvl="1" indent="0">
              <a:buNone/>
            </a:pPr>
            <a:r>
              <a:rPr lang="en-US" b="1" dirty="0">
                <a:solidFill>
                  <a:schemeClr val="accent4"/>
                </a:solidFill>
              </a:rPr>
              <a:t>Integration</a:t>
            </a:r>
          </a:p>
          <a:p>
            <a:pPr lvl="1"/>
            <a:r>
              <a:rPr lang="en-US" sz="1400" dirty="0"/>
              <a:t>Larger development of</a:t>
            </a:r>
            <a:r>
              <a:rPr lang="en-US" sz="1400" b="1" dirty="0"/>
              <a:t> semi- integrated modules</a:t>
            </a:r>
            <a:endParaRPr lang="en-US" sz="1400" dirty="0"/>
          </a:p>
          <a:p>
            <a:pPr lvl="1"/>
            <a:r>
              <a:rPr lang="en-US" sz="1400" dirty="0"/>
              <a:t>CV dedicated fully integrated modules for premium OEMs</a:t>
            </a:r>
          </a:p>
          <a:p>
            <a:pPr lvl="1"/>
            <a:r>
              <a:rPr lang="en-US" sz="1400" dirty="0"/>
              <a:t>Not expected to be as integrated as PVs ITMS</a:t>
            </a:r>
          </a:p>
        </p:txBody>
      </p:sp>
      <p:sp>
        <p:nvSpPr>
          <p:cNvPr id="15" name="TextBox467038734">
            <a:extLst>
              <a:ext uri="{FF2B5EF4-FFF2-40B4-BE49-F238E27FC236}">
                <a16:creationId xmlns:a16="http://schemas.microsoft.com/office/drawing/2014/main" id="{F4D2BC51-2AC7-BD81-460D-3B82120FDCAF}"/>
              </a:ext>
            </a:extLst>
          </p:cNvPr>
          <p:cNvSpPr txBox="1"/>
          <p:nvPr/>
        </p:nvSpPr>
        <p:spPr>
          <a:xfrm>
            <a:off x="5481733" y="3680540"/>
            <a:ext cx="2043041" cy="1477247"/>
          </a:xfrm>
          <a:prstGeom prst="roundRect">
            <a:avLst>
              <a:gd name="adj" fmla="val 4040"/>
            </a:avLst>
          </a:prstGeom>
          <a:solidFill>
            <a:srgbClr val="FFFFFF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marL="0" lvl="1" indent="0">
              <a:buNone/>
            </a:pPr>
            <a:r>
              <a:rPr lang="en-US" b="1" dirty="0">
                <a:solidFill>
                  <a:schemeClr val="tx2"/>
                </a:solidFill>
              </a:rPr>
              <a:t>Performance</a:t>
            </a:r>
          </a:p>
          <a:p>
            <a:pPr lvl="1"/>
            <a:r>
              <a:rPr lang="en-US" sz="1400" dirty="0"/>
              <a:t>Continuous improvements to reach advanced levels</a:t>
            </a:r>
          </a:p>
        </p:txBody>
      </p:sp>
      <p:sp>
        <p:nvSpPr>
          <p:cNvPr id="9" name="TextBox1640963426">
            <a:extLst>
              <a:ext uri="{FF2B5EF4-FFF2-40B4-BE49-F238E27FC236}">
                <a16:creationId xmlns:a16="http://schemas.microsoft.com/office/drawing/2014/main" id="{102D5CC2-3E95-5EE3-A941-401405F7CE1D}"/>
              </a:ext>
            </a:extLst>
          </p:cNvPr>
          <p:cNvSpPr txBox="1"/>
          <p:nvPr/>
        </p:nvSpPr>
        <p:spPr>
          <a:xfrm>
            <a:off x="3212145" y="2770384"/>
            <a:ext cx="1477703" cy="346288"/>
          </a:xfrm>
          <a:prstGeom prst="roundRect">
            <a:avLst>
              <a:gd name="adj" fmla="val 14671"/>
            </a:avLst>
          </a:prstGeom>
          <a:gradFill flip="none" rotWithShape="1">
            <a:gsLst>
              <a:gs pos="0">
                <a:srgbClr val="6F031B"/>
              </a:gs>
              <a:gs pos="100000">
                <a:srgbClr val="DD0036"/>
              </a:gs>
              <a:gs pos="50000">
                <a:srgbClr val="B9052D"/>
              </a:gs>
            </a:gsLst>
            <a:lin ang="19800000" scaled="1"/>
            <a:tileRect/>
          </a:gradFill>
          <a:effectLst/>
        </p:spPr>
        <p:txBody>
          <a:bodyPr vert="horz" wrap="square" lIns="108000" tIns="108000" rIns="108000" bIns="108000" rtlCol="0" anchor="ctr" anchorCtr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bg1"/>
              </a:buClr>
              <a:buSzPct val="100000"/>
              <a:buFont typeface="FEV" panose="020B0604020202020204" charset="0"/>
              <a:buChar char="•"/>
              <a:defRPr lang="en-US" sz="1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4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solidFill>
                  <a:schemeClr val="bg1"/>
                </a:solidFill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algn="ctr"/>
            <a:r>
              <a:rPr lang="en-US" b="1" dirty="0"/>
              <a:t>2030 focus</a:t>
            </a:r>
          </a:p>
        </p:txBody>
      </p:sp>
      <p:pic>
        <p:nvPicPr>
          <p:cNvPr id="10" name="Arrow_04">
            <a:extLst>
              <a:ext uri="{FF2B5EF4-FFF2-40B4-BE49-F238E27FC236}">
                <a16:creationId xmlns:a16="http://schemas.microsoft.com/office/drawing/2014/main" id="{6910885B-5D43-125B-D7C0-2C412288CA9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r="39995"/>
          <a:stretch/>
        </p:blipFill>
        <p:spPr>
          <a:xfrm rot="7552884">
            <a:off x="2614203" y="3662294"/>
            <a:ext cx="1551421" cy="455645"/>
          </a:xfrm>
          <a:prstGeom prst="rect">
            <a:avLst/>
          </a:prstGeom>
        </p:spPr>
      </p:pic>
      <p:pic>
        <p:nvPicPr>
          <p:cNvPr id="12" name="518 truck">
            <a:extLst>
              <a:ext uri="{FF2B5EF4-FFF2-40B4-BE49-F238E27FC236}">
                <a16:creationId xmlns:a16="http://schemas.microsoft.com/office/drawing/2014/main" id="{4082126B-E50D-9BCA-AB3B-F52DBC6A7A6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193117" y="4481193"/>
            <a:ext cx="1170598" cy="82699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C4925A0-5224-711B-3676-530A54076615}"/>
              </a:ext>
            </a:extLst>
          </p:cNvPr>
          <p:cNvSpPr txBox="1"/>
          <p:nvPr/>
        </p:nvSpPr>
        <p:spPr>
          <a:xfrm>
            <a:off x="1518222" y="5279095"/>
            <a:ext cx="2435720" cy="2052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200" b="1" dirty="0">
                <a:latin typeface="+mn-lt"/>
              </a:rPr>
              <a:t>Current </a:t>
            </a:r>
            <a:r>
              <a:rPr lang="en-US" sz="1200" b="1" dirty="0"/>
              <a:t>M&amp;HD </a:t>
            </a:r>
            <a:r>
              <a:rPr lang="en-US" sz="1200" b="1" dirty="0">
                <a:latin typeface="+mn-lt"/>
              </a:rPr>
              <a:t>situatio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897DB4A-C8C8-9BA4-8E5A-CFA1E78BE260}"/>
              </a:ext>
            </a:extLst>
          </p:cNvPr>
          <p:cNvSpPr/>
          <p:nvPr/>
        </p:nvSpPr>
        <p:spPr>
          <a:xfrm>
            <a:off x="5462659" y="1700213"/>
            <a:ext cx="3794357" cy="1368000"/>
          </a:xfrm>
          <a:prstGeom prst="roundRect">
            <a:avLst>
              <a:gd name="adj" fmla="val 3714"/>
            </a:avLst>
          </a:prstGeom>
          <a:solidFill>
            <a:schemeClr val="bg1">
              <a:lumMod val="85000"/>
              <a:alpha val="35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27890DB-C689-BA85-BCD3-DC1552846E93}"/>
              </a:ext>
            </a:extLst>
          </p:cNvPr>
          <p:cNvGrpSpPr/>
          <p:nvPr/>
        </p:nvGrpSpPr>
        <p:grpSpPr>
          <a:xfrm>
            <a:off x="8113719" y="2203150"/>
            <a:ext cx="996638" cy="447856"/>
            <a:chOff x="9674139" y="2289202"/>
            <a:chExt cx="996638" cy="447856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EBDB51A-C125-3415-40FA-14B568D31CC3}"/>
                </a:ext>
              </a:extLst>
            </p:cNvPr>
            <p:cNvSpPr/>
            <p:nvPr/>
          </p:nvSpPr>
          <p:spPr>
            <a:xfrm>
              <a:off x="10368577" y="2670083"/>
              <a:ext cx="118166" cy="14559"/>
            </a:xfrm>
            <a:custGeom>
              <a:avLst/>
              <a:gdLst>
                <a:gd name="connsiteX0" fmla="*/ 110887 w 118166"/>
                <a:gd name="connsiteY0" fmla="*/ 14560 h 14559"/>
                <a:gd name="connsiteX1" fmla="*/ 7280 w 118166"/>
                <a:gd name="connsiteY1" fmla="*/ 14560 h 14559"/>
                <a:gd name="connsiteX2" fmla="*/ 0 w 118166"/>
                <a:gd name="connsiteY2" fmla="*/ 7280 h 14559"/>
                <a:gd name="connsiteX3" fmla="*/ 7280 w 118166"/>
                <a:gd name="connsiteY3" fmla="*/ 0 h 14559"/>
                <a:gd name="connsiteX4" fmla="*/ 110887 w 118166"/>
                <a:gd name="connsiteY4" fmla="*/ 0 h 14559"/>
                <a:gd name="connsiteX5" fmla="*/ 118166 w 118166"/>
                <a:gd name="connsiteY5" fmla="*/ 7280 h 14559"/>
                <a:gd name="connsiteX6" fmla="*/ 110887 w 118166"/>
                <a:gd name="connsiteY6" fmla="*/ 14560 h 14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166" h="14559">
                  <a:moveTo>
                    <a:pt x="110887" y="14560"/>
                  </a:moveTo>
                  <a:lnTo>
                    <a:pt x="7280" y="14560"/>
                  </a:lnTo>
                  <a:cubicBezTo>
                    <a:pt x="3261" y="14560"/>
                    <a:pt x="0" y="11298"/>
                    <a:pt x="0" y="7280"/>
                  </a:cubicBezTo>
                  <a:cubicBezTo>
                    <a:pt x="0" y="3261"/>
                    <a:pt x="3261" y="0"/>
                    <a:pt x="7280" y="0"/>
                  </a:cubicBezTo>
                  <a:lnTo>
                    <a:pt x="110887" y="0"/>
                  </a:lnTo>
                  <a:cubicBezTo>
                    <a:pt x="114905" y="0"/>
                    <a:pt x="118166" y="3261"/>
                    <a:pt x="118166" y="7280"/>
                  </a:cubicBezTo>
                  <a:cubicBezTo>
                    <a:pt x="118166" y="11298"/>
                    <a:pt x="114905" y="14560"/>
                    <a:pt x="110887" y="14560"/>
                  </a:cubicBezTo>
                  <a:close/>
                </a:path>
              </a:pathLst>
            </a:custGeom>
            <a:solidFill>
              <a:srgbClr val="000000"/>
            </a:solidFill>
            <a:ln w="57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53E3F45-4625-65F4-F138-D53FB7F76BF4}"/>
                </a:ext>
              </a:extLst>
            </p:cNvPr>
            <p:cNvSpPr/>
            <p:nvPr/>
          </p:nvSpPr>
          <p:spPr>
            <a:xfrm>
              <a:off x="10434911" y="2343946"/>
              <a:ext cx="235866" cy="340755"/>
            </a:xfrm>
            <a:custGeom>
              <a:avLst/>
              <a:gdLst>
                <a:gd name="connsiteX0" fmla="*/ 212280 w 235866"/>
                <a:gd name="connsiteY0" fmla="*/ 340697 h 340755"/>
                <a:gd name="connsiteX1" fmla="*/ 149382 w 235866"/>
                <a:gd name="connsiteY1" fmla="*/ 340697 h 340755"/>
                <a:gd name="connsiteX2" fmla="*/ 142103 w 235866"/>
                <a:gd name="connsiteY2" fmla="*/ 333417 h 340755"/>
                <a:gd name="connsiteX3" fmla="*/ 149382 w 235866"/>
                <a:gd name="connsiteY3" fmla="*/ 326137 h 340755"/>
                <a:gd name="connsiteX4" fmla="*/ 212280 w 235866"/>
                <a:gd name="connsiteY4" fmla="*/ 326137 h 340755"/>
                <a:gd name="connsiteX5" fmla="*/ 221307 w 235866"/>
                <a:gd name="connsiteY5" fmla="*/ 317110 h 340755"/>
                <a:gd name="connsiteX6" fmla="*/ 221307 w 235866"/>
                <a:gd name="connsiteY6" fmla="*/ 202904 h 340755"/>
                <a:gd name="connsiteX7" fmla="*/ 220142 w 235866"/>
                <a:gd name="connsiteY7" fmla="*/ 196614 h 340755"/>
                <a:gd name="connsiteX8" fmla="*/ 152993 w 235866"/>
                <a:gd name="connsiteY8" fmla="*/ 21840 h 340755"/>
                <a:gd name="connsiteX9" fmla="*/ 142394 w 235866"/>
                <a:gd name="connsiteY9" fmla="*/ 14560 h 340755"/>
                <a:gd name="connsiteX10" fmla="*/ 7280 w 235866"/>
                <a:gd name="connsiteY10" fmla="*/ 14560 h 340755"/>
                <a:gd name="connsiteX11" fmla="*/ 0 w 235866"/>
                <a:gd name="connsiteY11" fmla="*/ 7280 h 340755"/>
                <a:gd name="connsiteX12" fmla="*/ 7280 w 235866"/>
                <a:gd name="connsiteY12" fmla="*/ 0 h 340755"/>
                <a:gd name="connsiteX13" fmla="*/ 142394 w 235866"/>
                <a:gd name="connsiteY13" fmla="*/ 0 h 340755"/>
                <a:gd name="connsiteX14" fmla="*/ 166563 w 235866"/>
                <a:gd name="connsiteY14" fmla="*/ 16656 h 340755"/>
                <a:gd name="connsiteX15" fmla="*/ 233712 w 235866"/>
                <a:gd name="connsiteY15" fmla="*/ 191431 h 340755"/>
                <a:gd name="connsiteX16" fmla="*/ 235867 w 235866"/>
                <a:gd name="connsiteY16" fmla="*/ 202962 h 340755"/>
                <a:gd name="connsiteX17" fmla="*/ 235867 w 235866"/>
                <a:gd name="connsiteY17" fmla="*/ 317169 h 340755"/>
                <a:gd name="connsiteX18" fmla="*/ 212280 w 235866"/>
                <a:gd name="connsiteY18" fmla="*/ 340755 h 34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5866" h="340755">
                  <a:moveTo>
                    <a:pt x="212280" y="340697"/>
                  </a:moveTo>
                  <a:lnTo>
                    <a:pt x="149382" y="340697"/>
                  </a:lnTo>
                  <a:cubicBezTo>
                    <a:pt x="145364" y="340697"/>
                    <a:pt x="142103" y="337436"/>
                    <a:pt x="142103" y="333417"/>
                  </a:cubicBezTo>
                  <a:cubicBezTo>
                    <a:pt x="142103" y="329399"/>
                    <a:pt x="145364" y="326137"/>
                    <a:pt x="149382" y="326137"/>
                  </a:cubicBezTo>
                  <a:lnTo>
                    <a:pt x="212280" y="326137"/>
                  </a:lnTo>
                  <a:cubicBezTo>
                    <a:pt x="217230" y="326137"/>
                    <a:pt x="221307" y="322061"/>
                    <a:pt x="221307" y="317110"/>
                  </a:cubicBezTo>
                  <a:lnTo>
                    <a:pt x="221307" y="202904"/>
                  </a:lnTo>
                  <a:cubicBezTo>
                    <a:pt x="221307" y="200749"/>
                    <a:pt x="220899" y="198594"/>
                    <a:pt x="220142" y="196614"/>
                  </a:cubicBezTo>
                  <a:lnTo>
                    <a:pt x="152993" y="21840"/>
                  </a:lnTo>
                  <a:cubicBezTo>
                    <a:pt x="151304" y="17472"/>
                    <a:pt x="147053" y="14560"/>
                    <a:pt x="142394" y="14560"/>
                  </a:cubicBezTo>
                  <a:lnTo>
                    <a:pt x="7280" y="14560"/>
                  </a:lnTo>
                  <a:cubicBezTo>
                    <a:pt x="3261" y="14560"/>
                    <a:pt x="0" y="11298"/>
                    <a:pt x="0" y="7280"/>
                  </a:cubicBezTo>
                  <a:cubicBezTo>
                    <a:pt x="0" y="3261"/>
                    <a:pt x="3261" y="0"/>
                    <a:pt x="7280" y="0"/>
                  </a:cubicBezTo>
                  <a:lnTo>
                    <a:pt x="142394" y="0"/>
                  </a:lnTo>
                  <a:cubicBezTo>
                    <a:pt x="153051" y="0"/>
                    <a:pt x="162777" y="6697"/>
                    <a:pt x="166563" y="16656"/>
                  </a:cubicBezTo>
                  <a:lnTo>
                    <a:pt x="233712" y="191431"/>
                  </a:lnTo>
                  <a:cubicBezTo>
                    <a:pt x="235110" y="195100"/>
                    <a:pt x="235867" y="199002"/>
                    <a:pt x="235867" y="202962"/>
                  </a:cubicBezTo>
                  <a:lnTo>
                    <a:pt x="235867" y="317169"/>
                  </a:lnTo>
                  <a:cubicBezTo>
                    <a:pt x="235867" y="330156"/>
                    <a:pt x="225267" y="340755"/>
                    <a:pt x="212280" y="340755"/>
                  </a:cubicBezTo>
                  <a:close/>
                </a:path>
              </a:pathLst>
            </a:custGeom>
            <a:solidFill>
              <a:srgbClr val="000000"/>
            </a:solidFill>
            <a:ln w="57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32D02C7-96F7-0107-D82C-F9E2D5BB8C2F}"/>
                </a:ext>
              </a:extLst>
            </p:cNvPr>
            <p:cNvSpPr/>
            <p:nvPr/>
          </p:nvSpPr>
          <p:spPr>
            <a:xfrm>
              <a:off x="10530422" y="2394032"/>
              <a:ext cx="140350" cy="160098"/>
            </a:xfrm>
            <a:custGeom>
              <a:avLst/>
              <a:gdLst>
                <a:gd name="connsiteX0" fmla="*/ 133075 w 140350"/>
                <a:gd name="connsiteY0" fmla="*/ 160098 h 160098"/>
                <a:gd name="connsiteX1" fmla="*/ 130280 w 140350"/>
                <a:gd name="connsiteY1" fmla="*/ 159516 h 160098"/>
                <a:gd name="connsiteX2" fmla="*/ 7979 w 140350"/>
                <a:gd name="connsiteY2" fmla="*/ 108615 h 160098"/>
                <a:gd name="connsiteX3" fmla="*/ 0 w 140350"/>
                <a:gd name="connsiteY3" fmla="*/ 96676 h 160098"/>
                <a:gd name="connsiteX4" fmla="*/ 0 w 140350"/>
                <a:gd name="connsiteY4" fmla="*/ 12929 h 160098"/>
                <a:gd name="connsiteX5" fmla="*/ 12929 w 140350"/>
                <a:gd name="connsiteY5" fmla="*/ 0 h 160098"/>
                <a:gd name="connsiteX6" fmla="*/ 78972 w 140350"/>
                <a:gd name="connsiteY6" fmla="*/ 0 h 160098"/>
                <a:gd name="connsiteX7" fmla="*/ 86252 w 140350"/>
                <a:gd name="connsiteY7" fmla="*/ 7280 h 160098"/>
                <a:gd name="connsiteX8" fmla="*/ 78972 w 140350"/>
                <a:gd name="connsiteY8" fmla="*/ 14560 h 160098"/>
                <a:gd name="connsiteX9" fmla="*/ 14560 w 140350"/>
                <a:gd name="connsiteY9" fmla="*/ 14560 h 160098"/>
                <a:gd name="connsiteX10" fmla="*/ 14560 w 140350"/>
                <a:gd name="connsiteY10" fmla="*/ 95570 h 160098"/>
                <a:gd name="connsiteX11" fmla="*/ 135871 w 140350"/>
                <a:gd name="connsiteY11" fmla="*/ 146063 h 160098"/>
                <a:gd name="connsiteX12" fmla="*/ 139773 w 140350"/>
                <a:gd name="connsiteY12" fmla="*/ 155556 h 160098"/>
                <a:gd name="connsiteX13" fmla="*/ 133017 w 140350"/>
                <a:gd name="connsiteY13" fmla="*/ 160040 h 160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350" h="160098">
                  <a:moveTo>
                    <a:pt x="133075" y="160098"/>
                  </a:moveTo>
                  <a:cubicBezTo>
                    <a:pt x="132144" y="160098"/>
                    <a:pt x="131212" y="159924"/>
                    <a:pt x="130280" y="159516"/>
                  </a:cubicBezTo>
                  <a:lnTo>
                    <a:pt x="7979" y="108615"/>
                  </a:lnTo>
                  <a:cubicBezTo>
                    <a:pt x="3145" y="106577"/>
                    <a:pt x="0" y="101918"/>
                    <a:pt x="0" y="96676"/>
                  </a:cubicBezTo>
                  <a:lnTo>
                    <a:pt x="0" y="12929"/>
                  </a:lnTo>
                  <a:cubicBezTo>
                    <a:pt x="0" y="5824"/>
                    <a:pt x="5824" y="0"/>
                    <a:pt x="12929" y="0"/>
                  </a:cubicBezTo>
                  <a:lnTo>
                    <a:pt x="78972" y="0"/>
                  </a:lnTo>
                  <a:cubicBezTo>
                    <a:pt x="82990" y="0"/>
                    <a:pt x="86252" y="3261"/>
                    <a:pt x="86252" y="7280"/>
                  </a:cubicBezTo>
                  <a:cubicBezTo>
                    <a:pt x="86252" y="11298"/>
                    <a:pt x="82990" y="14560"/>
                    <a:pt x="78972" y="14560"/>
                  </a:cubicBezTo>
                  <a:lnTo>
                    <a:pt x="14560" y="14560"/>
                  </a:lnTo>
                  <a:lnTo>
                    <a:pt x="14560" y="95570"/>
                  </a:lnTo>
                  <a:lnTo>
                    <a:pt x="135871" y="146063"/>
                  </a:lnTo>
                  <a:cubicBezTo>
                    <a:pt x="139598" y="147635"/>
                    <a:pt x="141345" y="151887"/>
                    <a:pt x="139773" y="155556"/>
                  </a:cubicBezTo>
                  <a:cubicBezTo>
                    <a:pt x="138608" y="158351"/>
                    <a:pt x="135871" y="160040"/>
                    <a:pt x="133017" y="160040"/>
                  </a:cubicBezTo>
                  <a:close/>
                </a:path>
              </a:pathLst>
            </a:custGeom>
            <a:solidFill>
              <a:srgbClr val="000000"/>
            </a:solidFill>
            <a:ln w="57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F92C8E99-56C3-484D-6F2C-3717640F8D3C}"/>
                </a:ext>
              </a:extLst>
            </p:cNvPr>
            <p:cNvSpPr/>
            <p:nvPr/>
          </p:nvSpPr>
          <p:spPr>
            <a:xfrm>
              <a:off x="10603803" y="2589714"/>
              <a:ext cx="66974" cy="14559"/>
            </a:xfrm>
            <a:custGeom>
              <a:avLst/>
              <a:gdLst>
                <a:gd name="connsiteX0" fmla="*/ 59695 w 66974"/>
                <a:gd name="connsiteY0" fmla="*/ 14560 h 14559"/>
                <a:gd name="connsiteX1" fmla="*/ 7280 w 66974"/>
                <a:gd name="connsiteY1" fmla="*/ 14560 h 14559"/>
                <a:gd name="connsiteX2" fmla="*/ 0 w 66974"/>
                <a:gd name="connsiteY2" fmla="*/ 7280 h 14559"/>
                <a:gd name="connsiteX3" fmla="*/ 7280 w 66974"/>
                <a:gd name="connsiteY3" fmla="*/ 0 h 14559"/>
                <a:gd name="connsiteX4" fmla="*/ 59695 w 66974"/>
                <a:gd name="connsiteY4" fmla="*/ 0 h 14559"/>
                <a:gd name="connsiteX5" fmla="*/ 66975 w 66974"/>
                <a:gd name="connsiteY5" fmla="*/ 7280 h 14559"/>
                <a:gd name="connsiteX6" fmla="*/ 59695 w 66974"/>
                <a:gd name="connsiteY6" fmla="*/ 14560 h 14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974" h="14559">
                  <a:moveTo>
                    <a:pt x="59695" y="14560"/>
                  </a:moveTo>
                  <a:lnTo>
                    <a:pt x="7280" y="14560"/>
                  </a:lnTo>
                  <a:cubicBezTo>
                    <a:pt x="3261" y="14560"/>
                    <a:pt x="0" y="11298"/>
                    <a:pt x="0" y="7280"/>
                  </a:cubicBezTo>
                  <a:cubicBezTo>
                    <a:pt x="0" y="3261"/>
                    <a:pt x="3261" y="0"/>
                    <a:pt x="7280" y="0"/>
                  </a:cubicBezTo>
                  <a:lnTo>
                    <a:pt x="59695" y="0"/>
                  </a:lnTo>
                  <a:cubicBezTo>
                    <a:pt x="63713" y="0"/>
                    <a:pt x="66975" y="3261"/>
                    <a:pt x="66975" y="7280"/>
                  </a:cubicBezTo>
                  <a:cubicBezTo>
                    <a:pt x="66975" y="11298"/>
                    <a:pt x="63713" y="14560"/>
                    <a:pt x="59695" y="14560"/>
                  </a:cubicBezTo>
                  <a:close/>
                </a:path>
              </a:pathLst>
            </a:custGeom>
            <a:solidFill>
              <a:srgbClr val="000000"/>
            </a:solidFill>
            <a:ln w="57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EED213F-1732-7315-26FA-955E1D9650FB}"/>
                </a:ext>
              </a:extLst>
            </p:cNvPr>
            <p:cNvSpPr/>
            <p:nvPr/>
          </p:nvSpPr>
          <p:spPr>
            <a:xfrm>
              <a:off x="10472184" y="2617669"/>
              <a:ext cx="119389" cy="119389"/>
            </a:xfrm>
            <a:custGeom>
              <a:avLst/>
              <a:gdLst>
                <a:gd name="connsiteX0" fmla="*/ 59695 w 119389"/>
                <a:gd name="connsiteY0" fmla="*/ 119390 h 119389"/>
                <a:gd name="connsiteX1" fmla="*/ 0 w 119389"/>
                <a:gd name="connsiteY1" fmla="*/ 59695 h 119389"/>
                <a:gd name="connsiteX2" fmla="*/ 59695 w 119389"/>
                <a:gd name="connsiteY2" fmla="*/ 0 h 119389"/>
                <a:gd name="connsiteX3" fmla="*/ 119389 w 119389"/>
                <a:gd name="connsiteY3" fmla="*/ 59695 h 119389"/>
                <a:gd name="connsiteX4" fmla="*/ 59695 w 119389"/>
                <a:gd name="connsiteY4" fmla="*/ 119390 h 119389"/>
                <a:gd name="connsiteX5" fmla="*/ 59695 w 119389"/>
                <a:gd name="connsiteY5" fmla="*/ 14560 h 119389"/>
                <a:gd name="connsiteX6" fmla="*/ 14560 w 119389"/>
                <a:gd name="connsiteY6" fmla="*/ 59695 h 119389"/>
                <a:gd name="connsiteX7" fmla="*/ 59695 w 119389"/>
                <a:gd name="connsiteY7" fmla="*/ 104830 h 119389"/>
                <a:gd name="connsiteX8" fmla="*/ 104830 w 119389"/>
                <a:gd name="connsiteY8" fmla="*/ 59695 h 119389"/>
                <a:gd name="connsiteX9" fmla="*/ 59695 w 119389"/>
                <a:gd name="connsiteY9" fmla="*/ 14560 h 1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389" h="119389">
                  <a:moveTo>
                    <a:pt x="59695" y="119390"/>
                  </a:moveTo>
                  <a:cubicBezTo>
                    <a:pt x="26790" y="119390"/>
                    <a:pt x="0" y="92600"/>
                    <a:pt x="0" y="59695"/>
                  </a:cubicBezTo>
                  <a:cubicBezTo>
                    <a:pt x="0" y="26790"/>
                    <a:pt x="26790" y="0"/>
                    <a:pt x="59695" y="0"/>
                  </a:cubicBezTo>
                  <a:cubicBezTo>
                    <a:pt x="92600" y="0"/>
                    <a:pt x="119389" y="26790"/>
                    <a:pt x="119389" y="59695"/>
                  </a:cubicBezTo>
                  <a:cubicBezTo>
                    <a:pt x="119389" y="92600"/>
                    <a:pt x="92600" y="119390"/>
                    <a:pt x="59695" y="119390"/>
                  </a:cubicBezTo>
                  <a:close/>
                  <a:moveTo>
                    <a:pt x="59695" y="14560"/>
                  </a:moveTo>
                  <a:cubicBezTo>
                    <a:pt x="34827" y="14560"/>
                    <a:pt x="14560" y="34827"/>
                    <a:pt x="14560" y="59695"/>
                  </a:cubicBezTo>
                  <a:cubicBezTo>
                    <a:pt x="14560" y="84563"/>
                    <a:pt x="34827" y="104830"/>
                    <a:pt x="59695" y="104830"/>
                  </a:cubicBezTo>
                  <a:cubicBezTo>
                    <a:pt x="84563" y="104830"/>
                    <a:pt x="104830" y="84563"/>
                    <a:pt x="104830" y="59695"/>
                  </a:cubicBezTo>
                  <a:cubicBezTo>
                    <a:pt x="104830" y="34827"/>
                    <a:pt x="84563" y="14560"/>
                    <a:pt x="59695" y="14560"/>
                  </a:cubicBezTo>
                  <a:close/>
                </a:path>
              </a:pathLst>
            </a:custGeom>
            <a:solidFill>
              <a:srgbClr val="000000"/>
            </a:solidFill>
            <a:ln w="57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712CE72-68E6-026B-62A2-45B3263AC173}"/>
                </a:ext>
              </a:extLst>
            </p:cNvPr>
            <p:cNvSpPr/>
            <p:nvPr/>
          </p:nvSpPr>
          <p:spPr>
            <a:xfrm>
              <a:off x="10014427" y="2670083"/>
              <a:ext cx="259162" cy="14559"/>
            </a:xfrm>
            <a:custGeom>
              <a:avLst/>
              <a:gdLst>
                <a:gd name="connsiteX0" fmla="*/ 251882 w 259162"/>
                <a:gd name="connsiteY0" fmla="*/ 14560 h 14559"/>
                <a:gd name="connsiteX1" fmla="*/ 7280 w 259162"/>
                <a:gd name="connsiteY1" fmla="*/ 14560 h 14559"/>
                <a:gd name="connsiteX2" fmla="*/ 0 w 259162"/>
                <a:gd name="connsiteY2" fmla="*/ 7280 h 14559"/>
                <a:gd name="connsiteX3" fmla="*/ 7280 w 259162"/>
                <a:gd name="connsiteY3" fmla="*/ 0 h 14559"/>
                <a:gd name="connsiteX4" fmla="*/ 251882 w 259162"/>
                <a:gd name="connsiteY4" fmla="*/ 0 h 14559"/>
                <a:gd name="connsiteX5" fmla="*/ 259162 w 259162"/>
                <a:gd name="connsiteY5" fmla="*/ 7280 h 14559"/>
                <a:gd name="connsiteX6" fmla="*/ 251882 w 259162"/>
                <a:gd name="connsiteY6" fmla="*/ 14560 h 14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9162" h="14559">
                  <a:moveTo>
                    <a:pt x="251882" y="14560"/>
                  </a:moveTo>
                  <a:lnTo>
                    <a:pt x="7280" y="14560"/>
                  </a:lnTo>
                  <a:cubicBezTo>
                    <a:pt x="3261" y="14560"/>
                    <a:pt x="0" y="11298"/>
                    <a:pt x="0" y="7280"/>
                  </a:cubicBezTo>
                  <a:cubicBezTo>
                    <a:pt x="0" y="3261"/>
                    <a:pt x="3261" y="0"/>
                    <a:pt x="7280" y="0"/>
                  </a:cubicBezTo>
                  <a:lnTo>
                    <a:pt x="251882" y="0"/>
                  </a:lnTo>
                  <a:cubicBezTo>
                    <a:pt x="255901" y="0"/>
                    <a:pt x="259162" y="3261"/>
                    <a:pt x="259162" y="7280"/>
                  </a:cubicBezTo>
                  <a:cubicBezTo>
                    <a:pt x="259162" y="11298"/>
                    <a:pt x="255901" y="14560"/>
                    <a:pt x="251882" y="14560"/>
                  </a:cubicBezTo>
                  <a:close/>
                </a:path>
              </a:pathLst>
            </a:custGeom>
            <a:solidFill>
              <a:srgbClr val="000000"/>
            </a:solidFill>
            <a:ln w="57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E6DA7EF-4E2F-1A42-D228-B40A03B297EC}"/>
                </a:ext>
              </a:extLst>
            </p:cNvPr>
            <p:cNvSpPr/>
            <p:nvPr/>
          </p:nvSpPr>
          <p:spPr>
            <a:xfrm>
              <a:off x="10369683" y="2661814"/>
              <a:ext cx="79845" cy="22829"/>
            </a:xfrm>
            <a:custGeom>
              <a:avLst/>
              <a:gdLst>
                <a:gd name="connsiteX0" fmla="*/ 60044 w 79845"/>
                <a:gd name="connsiteY0" fmla="*/ 22830 h 22829"/>
                <a:gd name="connsiteX1" fmla="*/ 7280 w 79845"/>
                <a:gd name="connsiteY1" fmla="*/ 22830 h 22829"/>
                <a:gd name="connsiteX2" fmla="*/ 0 w 79845"/>
                <a:gd name="connsiteY2" fmla="*/ 15550 h 22829"/>
                <a:gd name="connsiteX3" fmla="*/ 7280 w 79845"/>
                <a:gd name="connsiteY3" fmla="*/ 8270 h 22829"/>
                <a:gd name="connsiteX4" fmla="*/ 60044 w 79845"/>
                <a:gd name="connsiteY4" fmla="*/ 8270 h 22829"/>
                <a:gd name="connsiteX5" fmla="*/ 65286 w 79845"/>
                <a:gd name="connsiteY5" fmla="*/ 6756 h 22829"/>
                <a:gd name="connsiteX6" fmla="*/ 72565 w 79845"/>
                <a:gd name="connsiteY6" fmla="*/ 0 h 22829"/>
                <a:gd name="connsiteX7" fmla="*/ 79845 w 79845"/>
                <a:gd name="connsiteY7" fmla="*/ 7280 h 22829"/>
                <a:gd name="connsiteX8" fmla="*/ 60102 w 79845"/>
                <a:gd name="connsiteY8" fmla="*/ 22830 h 22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845" h="22829">
                  <a:moveTo>
                    <a:pt x="60044" y="22830"/>
                  </a:moveTo>
                  <a:lnTo>
                    <a:pt x="7280" y="22830"/>
                  </a:lnTo>
                  <a:cubicBezTo>
                    <a:pt x="3261" y="22830"/>
                    <a:pt x="0" y="19568"/>
                    <a:pt x="0" y="15550"/>
                  </a:cubicBezTo>
                  <a:cubicBezTo>
                    <a:pt x="0" y="11531"/>
                    <a:pt x="3261" y="8270"/>
                    <a:pt x="7280" y="8270"/>
                  </a:cubicBezTo>
                  <a:lnTo>
                    <a:pt x="60044" y="8270"/>
                  </a:lnTo>
                  <a:cubicBezTo>
                    <a:pt x="62898" y="8270"/>
                    <a:pt x="64703" y="7280"/>
                    <a:pt x="65286" y="6756"/>
                  </a:cubicBezTo>
                  <a:cubicBezTo>
                    <a:pt x="65577" y="2970"/>
                    <a:pt x="68722" y="0"/>
                    <a:pt x="72565" y="0"/>
                  </a:cubicBezTo>
                  <a:cubicBezTo>
                    <a:pt x="76409" y="0"/>
                    <a:pt x="79845" y="3261"/>
                    <a:pt x="79845" y="7280"/>
                  </a:cubicBezTo>
                  <a:cubicBezTo>
                    <a:pt x="79845" y="16016"/>
                    <a:pt x="71168" y="22830"/>
                    <a:pt x="60102" y="22830"/>
                  </a:cubicBezTo>
                  <a:close/>
                </a:path>
              </a:pathLst>
            </a:custGeom>
            <a:solidFill>
              <a:srgbClr val="000000"/>
            </a:solidFill>
            <a:ln w="57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2B9B270-8EC8-0B96-2822-0ADDEEFCFB2F}"/>
                </a:ext>
              </a:extLst>
            </p:cNvPr>
            <p:cNvSpPr/>
            <p:nvPr/>
          </p:nvSpPr>
          <p:spPr>
            <a:xfrm>
              <a:off x="9674139" y="2589714"/>
              <a:ext cx="769508" cy="14559"/>
            </a:xfrm>
            <a:custGeom>
              <a:avLst/>
              <a:gdLst>
                <a:gd name="connsiteX0" fmla="*/ 762228 w 769508"/>
                <a:gd name="connsiteY0" fmla="*/ 14560 h 14559"/>
                <a:gd name="connsiteX1" fmla="*/ 7280 w 769508"/>
                <a:gd name="connsiteY1" fmla="*/ 14560 h 14559"/>
                <a:gd name="connsiteX2" fmla="*/ 0 w 769508"/>
                <a:gd name="connsiteY2" fmla="*/ 7280 h 14559"/>
                <a:gd name="connsiteX3" fmla="*/ 7280 w 769508"/>
                <a:gd name="connsiteY3" fmla="*/ 0 h 14559"/>
                <a:gd name="connsiteX4" fmla="*/ 762228 w 769508"/>
                <a:gd name="connsiteY4" fmla="*/ 0 h 14559"/>
                <a:gd name="connsiteX5" fmla="*/ 769508 w 769508"/>
                <a:gd name="connsiteY5" fmla="*/ 7280 h 14559"/>
                <a:gd name="connsiteX6" fmla="*/ 762228 w 769508"/>
                <a:gd name="connsiteY6" fmla="*/ 14560 h 14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9508" h="14559">
                  <a:moveTo>
                    <a:pt x="762228" y="14560"/>
                  </a:moveTo>
                  <a:lnTo>
                    <a:pt x="7280" y="14560"/>
                  </a:lnTo>
                  <a:cubicBezTo>
                    <a:pt x="3261" y="14560"/>
                    <a:pt x="0" y="11298"/>
                    <a:pt x="0" y="7280"/>
                  </a:cubicBezTo>
                  <a:cubicBezTo>
                    <a:pt x="0" y="3261"/>
                    <a:pt x="3261" y="0"/>
                    <a:pt x="7280" y="0"/>
                  </a:cubicBezTo>
                  <a:lnTo>
                    <a:pt x="762228" y="0"/>
                  </a:lnTo>
                  <a:cubicBezTo>
                    <a:pt x="766247" y="0"/>
                    <a:pt x="769508" y="3261"/>
                    <a:pt x="769508" y="7280"/>
                  </a:cubicBezTo>
                  <a:cubicBezTo>
                    <a:pt x="769508" y="11298"/>
                    <a:pt x="766247" y="14560"/>
                    <a:pt x="762228" y="14560"/>
                  </a:cubicBezTo>
                  <a:close/>
                </a:path>
              </a:pathLst>
            </a:custGeom>
            <a:solidFill>
              <a:srgbClr val="000000"/>
            </a:solidFill>
            <a:ln w="57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E9C42A2-1891-65C4-7F99-292CEC6ADE9B}"/>
                </a:ext>
              </a:extLst>
            </p:cNvPr>
            <p:cNvSpPr/>
            <p:nvPr/>
          </p:nvSpPr>
          <p:spPr>
            <a:xfrm>
              <a:off x="9750024" y="2617669"/>
              <a:ext cx="119389" cy="119389"/>
            </a:xfrm>
            <a:custGeom>
              <a:avLst/>
              <a:gdLst>
                <a:gd name="connsiteX0" fmla="*/ 59695 w 119389"/>
                <a:gd name="connsiteY0" fmla="*/ 119390 h 119389"/>
                <a:gd name="connsiteX1" fmla="*/ 0 w 119389"/>
                <a:gd name="connsiteY1" fmla="*/ 59695 h 119389"/>
                <a:gd name="connsiteX2" fmla="*/ 59695 w 119389"/>
                <a:gd name="connsiteY2" fmla="*/ 0 h 119389"/>
                <a:gd name="connsiteX3" fmla="*/ 119389 w 119389"/>
                <a:gd name="connsiteY3" fmla="*/ 59695 h 119389"/>
                <a:gd name="connsiteX4" fmla="*/ 59695 w 119389"/>
                <a:gd name="connsiteY4" fmla="*/ 119390 h 119389"/>
                <a:gd name="connsiteX5" fmla="*/ 59695 w 119389"/>
                <a:gd name="connsiteY5" fmla="*/ 14560 h 119389"/>
                <a:gd name="connsiteX6" fmla="*/ 14560 w 119389"/>
                <a:gd name="connsiteY6" fmla="*/ 59695 h 119389"/>
                <a:gd name="connsiteX7" fmla="*/ 59695 w 119389"/>
                <a:gd name="connsiteY7" fmla="*/ 104830 h 119389"/>
                <a:gd name="connsiteX8" fmla="*/ 104830 w 119389"/>
                <a:gd name="connsiteY8" fmla="*/ 59695 h 119389"/>
                <a:gd name="connsiteX9" fmla="*/ 59695 w 119389"/>
                <a:gd name="connsiteY9" fmla="*/ 14560 h 1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389" h="119389">
                  <a:moveTo>
                    <a:pt x="59695" y="119390"/>
                  </a:moveTo>
                  <a:cubicBezTo>
                    <a:pt x="26790" y="119390"/>
                    <a:pt x="0" y="92600"/>
                    <a:pt x="0" y="59695"/>
                  </a:cubicBezTo>
                  <a:cubicBezTo>
                    <a:pt x="0" y="26790"/>
                    <a:pt x="26790" y="0"/>
                    <a:pt x="59695" y="0"/>
                  </a:cubicBezTo>
                  <a:cubicBezTo>
                    <a:pt x="92600" y="0"/>
                    <a:pt x="119389" y="26790"/>
                    <a:pt x="119389" y="59695"/>
                  </a:cubicBezTo>
                  <a:cubicBezTo>
                    <a:pt x="119389" y="92600"/>
                    <a:pt x="92600" y="119390"/>
                    <a:pt x="59695" y="119390"/>
                  </a:cubicBezTo>
                  <a:close/>
                  <a:moveTo>
                    <a:pt x="59695" y="14560"/>
                  </a:moveTo>
                  <a:cubicBezTo>
                    <a:pt x="34827" y="14560"/>
                    <a:pt x="14560" y="34827"/>
                    <a:pt x="14560" y="59695"/>
                  </a:cubicBezTo>
                  <a:cubicBezTo>
                    <a:pt x="14560" y="84563"/>
                    <a:pt x="34827" y="104830"/>
                    <a:pt x="59695" y="104830"/>
                  </a:cubicBezTo>
                  <a:cubicBezTo>
                    <a:pt x="84563" y="104830"/>
                    <a:pt x="104830" y="84563"/>
                    <a:pt x="104830" y="59695"/>
                  </a:cubicBezTo>
                  <a:cubicBezTo>
                    <a:pt x="104830" y="34827"/>
                    <a:pt x="84563" y="14560"/>
                    <a:pt x="59695" y="14560"/>
                  </a:cubicBezTo>
                  <a:close/>
                </a:path>
              </a:pathLst>
            </a:custGeom>
            <a:solidFill>
              <a:srgbClr val="000000"/>
            </a:solidFill>
            <a:ln w="57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132F864-248C-05A2-E200-6133ED4640ED}"/>
                </a:ext>
              </a:extLst>
            </p:cNvPr>
            <p:cNvSpPr/>
            <p:nvPr/>
          </p:nvSpPr>
          <p:spPr>
            <a:xfrm>
              <a:off x="9903774" y="2617669"/>
              <a:ext cx="119389" cy="119389"/>
            </a:xfrm>
            <a:custGeom>
              <a:avLst/>
              <a:gdLst>
                <a:gd name="connsiteX0" fmla="*/ 59695 w 119389"/>
                <a:gd name="connsiteY0" fmla="*/ 119390 h 119389"/>
                <a:gd name="connsiteX1" fmla="*/ 0 w 119389"/>
                <a:gd name="connsiteY1" fmla="*/ 59695 h 119389"/>
                <a:gd name="connsiteX2" fmla="*/ 59695 w 119389"/>
                <a:gd name="connsiteY2" fmla="*/ 0 h 119389"/>
                <a:gd name="connsiteX3" fmla="*/ 119389 w 119389"/>
                <a:gd name="connsiteY3" fmla="*/ 59695 h 119389"/>
                <a:gd name="connsiteX4" fmla="*/ 59695 w 119389"/>
                <a:gd name="connsiteY4" fmla="*/ 119390 h 119389"/>
                <a:gd name="connsiteX5" fmla="*/ 59695 w 119389"/>
                <a:gd name="connsiteY5" fmla="*/ 14560 h 119389"/>
                <a:gd name="connsiteX6" fmla="*/ 14560 w 119389"/>
                <a:gd name="connsiteY6" fmla="*/ 59695 h 119389"/>
                <a:gd name="connsiteX7" fmla="*/ 59695 w 119389"/>
                <a:gd name="connsiteY7" fmla="*/ 104830 h 119389"/>
                <a:gd name="connsiteX8" fmla="*/ 104830 w 119389"/>
                <a:gd name="connsiteY8" fmla="*/ 59695 h 119389"/>
                <a:gd name="connsiteX9" fmla="*/ 59695 w 119389"/>
                <a:gd name="connsiteY9" fmla="*/ 14560 h 1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389" h="119389">
                  <a:moveTo>
                    <a:pt x="59695" y="119390"/>
                  </a:moveTo>
                  <a:cubicBezTo>
                    <a:pt x="26790" y="119390"/>
                    <a:pt x="0" y="92600"/>
                    <a:pt x="0" y="59695"/>
                  </a:cubicBezTo>
                  <a:cubicBezTo>
                    <a:pt x="0" y="26790"/>
                    <a:pt x="26790" y="0"/>
                    <a:pt x="59695" y="0"/>
                  </a:cubicBezTo>
                  <a:cubicBezTo>
                    <a:pt x="92600" y="0"/>
                    <a:pt x="119389" y="26790"/>
                    <a:pt x="119389" y="59695"/>
                  </a:cubicBezTo>
                  <a:cubicBezTo>
                    <a:pt x="119389" y="92600"/>
                    <a:pt x="92600" y="119390"/>
                    <a:pt x="59695" y="119390"/>
                  </a:cubicBezTo>
                  <a:close/>
                  <a:moveTo>
                    <a:pt x="59695" y="14560"/>
                  </a:moveTo>
                  <a:cubicBezTo>
                    <a:pt x="34827" y="14560"/>
                    <a:pt x="14560" y="34827"/>
                    <a:pt x="14560" y="59695"/>
                  </a:cubicBezTo>
                  <a:cubicBezTo>
                    <a:pt x="14560" y="84563"/>
                    <a:pt x="34827" y="104830"/>
                    <a:pt x="59695" y="104830"/>
                  </a:cubicBezTo>
                  <a:cubicBezTo>
                    <a:pt x="84563" y="104830"/>
                    <a:pt x="104830" y="84563"/>
                    <a:pt x="104830" y="59695"/>
                  </a:cubicBezTo>
                  <a:cubicBezTo>
                    <a:pt x="104830" y="34827"/>
                    <a:pt x="84563" y="14560"/>
                    <a:pt x="59695" y="14560"/>
                  </a:cubicBezTo>
                  <a:close/>
                </a:path>
              </a:pathLst>
            </a:custGeom>
            <a:solidFill>
              <a:srgbClr val="000000"/>
            </a:solidFill>
            <a:ln w="57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6A412BA-969A-D6F6-E6E2-BCB33600E954}"/>
                </a:ext>
              </a:extLst>
            </p:cNvPr>
            <p:cNvSpPr/>
            <p:nvPr/>
          </p:nvSpPr>
          <p:spPr>
            <a:xfrm>
              <a:off x="9854853" y="2670083"/>
              <a:ext cx="63480" cy="14559"/>
            </a:xfrm>
            <a:custGeom>
              <a:avLst/>
              <a:gdLst>
                <a:gd name="connsiteX0" fmla="*/ 56200 w 63480"/>
                <a:gd name="connsiteY0" fmla="*/ 14560 h 14559"/>
                <a:gd name="connsiteX1" fmla="*/ 7280 w 63480"/>
                <a:gd name="connsiteY1" fmla="*/ 14560 h 14559"/>
                <a:gd name="connsiteX2" fmla="*/ 0 w 63480"/>
                <a:gd name="connsiteY2" fmla="*/ 7280 h 14559"/>
                <a:gd name="connsiteX3" fmla="*/ 7280 w 63480"/>
                <a:gd name="connsiteY3" fmla="*/ 0 h 14559"/>
                <a:gd name="connsiteX4" fmla="*/ 56200 w 63480"/>
                <a:gd name="connsiteY4" fmla="*/ 0 h 14559"/>
                <a:gd name="connsiteX5" fmla="*/ 63480 w 63480"/>
                <a:gd name="connsiteY5" fmla="*/ 7280 h 14559"/>
                <a:gd name="connsiteX6" fmla="*/ 56200 w 63480"/>
                <a:gd name="connsiteY6" fmla="*/ 14560 h 14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480" h="14559">
                  <a:moveTo>
                    <a:pt x="56200" y="14560"/>
                  </a:moveTo>
                  <a:lnTo>
                    <a:pt x="7280" y="14560"/>
                  </a:lnTo>
                  <a:cubicBezTo>
                    <a:pt x="3261" y="14560"/>
                    <a:pt x="0" y="11298"/>
                    <a:pt x="0" y="7280"/>
                  </a:cubicBezTo>
                  <a:cubicBezTo>
                    <a:pt x="0" y="3261"/>
                    <a:pt x="3261" y="0"/>
                    <a:pt x="7280" y="0"/>
                  </a:cubicBezTo>
                  <a:lnTo>
                    <a:pt x="56200" y="0"/>
                  </a:lnTo>
                  <a:cubicBezTo>
                    <a:pt x="60219" y="0"/>
                    <a:pt x="63480" y="3261"/>
                    <a:pt x="63480" y="7280"/>
                  </a:cubicBezTo>
                  <a:cubicBezTo>
                    <a:pt x="63480" y="11298"/>
                    <a:pt x="60219" y="14560"/>
                    <a:pt x="56200" y="14560"/>
                  </a:cubicBezTo>
                  <a:close/>
                </a:path>
              </a:pathLst>
            </a:custGeom>
            <a:solidFill>
              <a:srgbClr val="000000"/>
            </a:solidFill>
            <a:ln w="57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68BAADE0-4D27-AD6B-D901-B36433882DBA}"/>
                </a:ext>
              </a:extLst>
            </p:cNvPr>
            <p:cNvSpPr/>
            <p:nvPr/>
          </p:nvSpPr>
          <p:spPr>
            <a:xfrm>
              <a:off x="10259030" y="2617669"/>
              <a:ext cx="119389" cy="119389"/>
            </a:xfrm>
            <a:custGeom>
              <a:avLst/>
              <a:gdLst>
                <a:gd name="connsiteX0" fmla="*/ 59695 w 119389"/>
                <a:gd name="connsiteY0" fmla="*/ 119390 h 119389"/>
                <a:gd name="connsiteX1" fmla="*/ 0 w 119389"/>
                <a:gd name="connsiteY1" fmla="*/ 59695 h 119389"/>
                <a:gd name="connsiteX2" fmla="*/ 59695 w 119389"/>
                <a:gd name="connsiteY2" fmla="*/ 0 h 119389"/>
                <a:gd name="connsiteX3" fmla="*/ 119389 w 119389"/>
                <a:gd name="connsiteY3" fmla="*/ 59695 h 119389"/>
                <a:gd name="connsiteX4" fmla="*/ 59695 w 119389"/>
                <a:gd name="connsiteY4" fmla="*/ 119390 h 119389"/>
                <a:gd name="connsiteX5" fmla="*/ 59695 w 119389"/>
                <a:gd name="connsiteY5" fmla="*/ 14560 h 119389"/>
                <a:gd name="connsiteX6" fmla="*/ 14560 w 119389"/>
                <a:gd name="connsiteY6" fmla="*/ 59695 h 119389"/>
                <a:gd name="connsiteX7" fmla="*/ 59695 w 119389"/>
                <a:gd name="connsiteY7" fmla="*/ 104830 h 119389"/>
                <a:gd name="connsiteX8" fmla="*/ 104830 w 119389"/>
                <a:gd name="connsiteY8" fmla="*/ 59695 h 119389"/>
                <a:gd name="connsiteX9" fmla="*/ 59695 w 119389"/>
                <a:gd name="connsiteY9" fmla="*/ 14560 h 119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9389" h="119389">
                  <a:moveTo>
                    <a:pt x="59695" y="119390"/>
                  </a:moveTo>
                  <a:cubicBezTo>
                    <a:pt x="26790" y="119390"/>
                    <a:pt x="0" y="92600"/>
                    <a:pt x="0" y="59695"/>
                  </a:cubicBezTo>
                  <a:cubicBezTo>
                    <a:pt x="0" y="26790"/>
                    <a:pt x="26790" y="0"/>
                    <a:pt x="59695" y="0"/>
                  </a:cubicBezTo>
                  <a:cubicBezTo>
                    <a:pt x="92600" y="0"/>
                    <a:pt x="119389" y="26790"/>
                    <a:pt x="119389" y="59695"/>
                  </a:cubicBezTo>
                  <a:cubicBezTo>
                    <a:pt x="119389" y="92600"/>
                    <a:pt x="92600" y="119390"/>
                    <a:pt x="59695" y="119390"/>
                  </a:cubicBezTo>
                  <a:close/>
                  <a:moveTo>
                    <a:pt x="59695" y="14560"/>
                  </a:moveTo>
                  <a:cubicBezTo>
                    <a:pt x="34827" y="14560"/>
                    <a:pt x="14560" y="34827"/>
                    <a:pt x="14560" y="59695"/>
                  </a:cubicBezTo>
                  <a:cubicBezTo>
                    <a:pt x="14560" y="84563"/>
                    <a:pt x="34827" y="104830"/>
                    <a:pt x="59695" y="104830"/>
                  </a:cubicBezTo>
                  <a:cubicBezTo>
                    <a:pt x="84563" y="104830"/>
                    <a:pt x="104830" y="84563"/>
                    <a:pt x="104830" y="59695"/>
                  </a:cubicBezTo>
                  <a:cubicBezTo>
                    <a:pt x="104830" y="34827"/>
                    <a:pt x="84563" y="14560"/>
                    <a:pt x="59695" y="14560"/>
                  </a:cubicBezTo>
                  <a:close/>
                </a:path>
              </a:pathLst>
            </a:custGeom>
            <a:solidFill>
              <a:srgbClr val="000000"/>
            </a:solidFill>
            <a:ln w="57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F543B47-CF84-2E7F-C315-599A352C1691}"/>
                </a:ext>
              </a:extLst>
            </p:cNvPr>
            <p:cNvSpPr/>
            <p:nvPr/>
          </p:nvSpPr>
          <p:spPr>
            <a:xfrm>
              <a:off x="10138650" y="2589714"/>
              <a:ext cx="14559" cy="89047"/>
            </a:xfrm>
            <a:custGeom>
              <a:avLst/>
              <a:gdLst>
                <a:gd name="connsiteX0" fmla="*/ 7280 w 14559"/>
                <a:gd name="connsiteY0" fmla="*/ 89047 h 89047"/>
                <a:gd name="connsiteX1" fmla="*/ 0 w 14559"/>
                <a:gd name="connsiteY1" fmla="*/ 81767 h 89047"/>
                <a:gd name="connsiteX2" fmla="*/ 0 w 14559"/>
                <a:gd name="connsiteY2" fmla="*/ 7280 h 89047"/>
                <a:gd name="connsiteX3" fmla="*/ 7280 w 14559"/>
                <a:gd name="connsiteY3" fmla="*/ 0 h 89047"/>
                <a:gd name="connsiteX4" fmla="*/ 14560 w 14559"/>
                <a:gd name="connsiteY4" fmla="*/ 7280 h 89047"/>
                <a:gd name="connsiteX5" fmla="*/ 14560 w 14559"/>
                <a:gd name="connsiteY5" fmla="*/ 81767 h 89047"/>
                <a:gd name="connsiteX6" fmla="*/ 7280 w 14559"/>
                <a:gd name="connsiteY6" fmla="*/ 89047 h 89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59" h="89047">
                  <a:moveTo>
                    <a:pt x="7280" y="89047"/>
                  </a:moveTo>
                  <a:cubicBezTo>
                    <a:pt x="3261" y="89047"/>
                    <a:pt x="0" y="85786"/>
                    <a:pt x="0" y="81767"/>
                  </a:cubicBezTo>
                  <a:lnTo>
                    <a:pt x="0" y="7280"/>
                  </a:lnTo>
                  <a:cubicBezTo>
                    <a:pt x="0" y="3261"/>
                    <a:pt x="3261" y="0"/>
                    <a:pt x="7280" y="0"/>
                  </a:cubicBezTo>
                  <a:cubicBezTo>
                    <a:pt x="11298" y="0"/>
                    <a:pt x="14560" y="3261"/>
                    <a:pt x="14560" y="7280"/>
                  </a:cubicBezTo>
                  <a:lnTo>
                    <a:pt x="14560" y="81767"/>
                  </a:lnTo>
                  <a:cubicBezTo>
                    <a:pt x="14560" y="85786"/>
                    <a:pt x="11298" y="89047"/>
                    <a:pt x="7280" y="89047"/>
                  </a:cubicBezTo>
                  <a:close/>
                </a:path>
              </a:pathLst>
            </a:custGeom>
            <a:solidFill>
              <a:srgbClr val="000000"/>
            </a:solidFill>
            <a:ln w="57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BC111F68-D30E-AF90-148E-E11747E165E3}"/>
                </a:ext>
              </a:extLst>
            </p:cNvPr>
            <p:cNvSpPr/>
            <p:nvPr/>
          </p:nvSpPr>
          <p:spPr>
            <a:xfrm>
              <a:off x="9674197" y="2398050"/>
              <a:ext cx="86193" cy="286593"/>
            </a:xfrm>
            <a:custGeom>
              <a:avLst/>
              <a:gdLst>
                <a:gd name="connsiteX0" fmla="*/ 78913 w 86193"/>
                <a:gd name="connsiteY0" fmla="*/ 272033 h 286593"/>
                <a:gd name="connsiteX1" fmla="*/ 19743 w 86193"/>
                <a:gd name="connsiteY1" fmla="*/ 272033 h 286593"/>
                <a:gd name="connsiteX2" fmla="*/ 14560 w 86193"/>
                <a:gd name="connsiteY2" fmla="*/ 270519 h 286593"/>
                <a:gd name="connsiteX3" fmla="*/ 14560 w 86193"/>
                <a:gd name="connsiteY3" fmla="*/ 0 h 286593"/>
                <a:gd name="connsiteX4" fmla="*/ 0 w 86193"/>
                <a:gd name="connsiteY4" fmla="*/ 0 h 286593"/>
                <a:gd name="connsiteX5" fmla="*/ 0 w 86193"/>
                <a:gd name="connsiteY5" fmla="*/ 271043 h 286593"/>
                <a:gd name="connsiteX6" fmla="*/ 19743 w 86193"/>
                <a:gd name="connsiteY6" fmla="*/ 286593 h 286593"/>
                <a:gd name="connsiteX7" fmla="*/ 78913 w 86193"/>
                <a:gd name="connsiteY7" fmla="*/ 286593 h 286593"/>
                <a:gd name="connsiteX8" fmla="*/ 86193 w 86193"/>
                <a:gd name="connsiteY8" fmla="*/ 279313 h 286593"/>
                <a:gd name="connsiteX9" fmla="*/ 78913 w 86193"/>
                <a:gd name="connsiteY9" fmla="*/ 272033 h 28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6193" h="286593">
                  <a:moveTo>
                    <a:pt x="78913" y="272033"/>
                  </a:moveTo>
                  <a:lnTo>
                    <a:pt x="19743" y="272033"/>
                  </a:lnTo>
                  <a:cubicBezTo>
                    <a:pt x="16889" y="272033"/>
                    <a:pt x="15142" y="271043"/>
                    <a:pt x="14560" y="270519"/>
                  </a:cubicBezTo>
                  <a:lnTo>
                    <a:pt x="14560" y="0"/>
                  </a:lnTo>
                  <a:lnTo>
                    <a:pt x="0" y="0"/>
                  </a:lnTo>
                  <a:lnTo>
                    <a:pt x="0" y="271043"/>
                  </a:lnTo>
                  <a:cubicBezTo>
                    <a:pt x="0" y="279779"/>
                    <a:pt x="8678" y="286593"/>
                    <a:pt x="19743" y="286593"/>
                  </a:cubicBezTo>
                  <a:lnTo>
                    <a:pt x="78913" y="286593"/>
                  </a:lnTo>
                  <a:cubicBezTo>
                    <a:pt x="82932" y="286593"/>
                    <a:pt x="86193" y="283332"/>
                    <a:pt x="86193" y="279313"/>
                  </a:cubicBezTo>
                  <a:cubicBezTo>
                    <a:pt x="86193" y="275295"/>
                    <a:pt x="82932" y="272033"/>
                    <a:pt x="78913" y="272033"/>
                  </a:cubicBezTo>
                  <a:close/>
                </a:path>
              </a:pathLst>
            </a:custGeom>
            <a:solidFill>
              <a:srgbClr val="000000"/>
            </a:solidFill>
            <a:ln w="57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28DF1CD-DB6E-FA54-7A32-F45528EC7FC7}"/>
                </a:ext>
              </a:extLst>
            </p:cNvPr>
            <p:cNvSpPr/>
            <p:nvPr/>
          </p:nvSpPr>
          <p:spPr>
            <a:xfrm>
              <a:off x="9674197" y="2289202"/>
              <a:ext cx="78447" cy="99646"/>
            </a:xfrm>
            <a:custGeom>
              <a:avLst/>
              <a:gdLst>
                <a:gd name="connsiteX0" fmla="*/ 78448 w 78447"/>
                <a:gd name="connsiteY0" fmla="*/ 0 h 99646"/>
                <a:gd name="connsiteX1" fmla="*/ 19743 w 78447"/>
                <a:gd name="connsiteY1" fmla="*/ 0 h 99646"/>
                <a:gd name="connsiteX2" fmla="*/ 0 w 78447"/>
                <a:gd name="connsiteY2" fmla="*/ 15550 h 99646"/>
                <a:gd name="connsiteX3" fmla="*/ 0 w 78447"/>
                <a:gd name="connsiteY3" fmla="*/ 99647 h 99646"/>
                <a:gd name="connsiteX4" fmla="*/ 14560 w 78447"/>
                <a:gd name="connsiteY4" fmla="*/ 99647 h 99646"/>
                <a:gd name="connsiteX5" fmla="*/ 14560 w 78447"/>
                <a:gd name="connsiteY5" fmla="*/ 16074 h 99646"/>
                <a:gd name="connsiteX6" fmla="*/ 19743 w 78447"/>
                <a:gd name="connsiteY6" fmla="*/ 14560 h 99646"/>
                <a:gd name="connsiteX7" fmla="*/ 78448 w 78447"/>
                <a:gd name="connsiteY7" fmla="*/ 14560 h 99646"/>
                <a:gd name="connsiteX8" fmla="*/ 78448 w 78447"/>
                <a:gd name="connsiteY8" fmla="*/ 0 h 99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447" h="99646">
                  <a:moveTo>
                    <a:pt x="78448" y="0"/>
                  </a:moveTo>
                  <a:lnTo>
                    <a:pt x="19743" y="0"/>
                  </a:lnTo>
                  <a:cubicBezTo>
                    <a:pt x="8678" y="0"/>
                    <a:pt x="0" y="6814"/>
                    <a:pt x="0" y="15550"/>
                  </a:cubicBezTo>
                  <a:lnTo>
                    <a:pt x="0" y="99647"/>
                  </a:lnTo>
                  <a:lnTo>
                    <a:pt x="14560" y="99647"/>
                  </a:lnTo>
                  <a:lnTo>
                    <a:pt x="14560" y="16074"/>
                  </a:lnTo>
                  <a:cubicBezTo>
                    <a:pt x="15142" y="15550"/>
                    <a:pt x="16889" y="14560"/>
                    <a:pt x="19743" y="14560"/>
                  </a:cubicBezTo>
                  <a:lnTo>
                    <a:pt x="78448" y="14560"/>
                  </a:lnTo>
                  <a:lnTo>
                    <a:pt x="78448" y="0"/>
                  </a:lnTo>
                  <a:close/>
                </a:path>
              </a:pathLst>
            </a:custGeom>
            <a:solidFill>
              <a:schemeClr val="accent4"/>
            </a:solidFill>
            <a:ln w="57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C65DEFC-3F2B-6A36-346D-E41E46A078B6}"/>
                </a:ext>
              </a:extLst>
            </p:cNvPr>
            <p:cNvSpPr/>
            <p:nvPr/>
          </p:nvSpPr>
          <p:spPr>
            <a:xfrm>
              <a:off x="9761904" y="2289202"/>
              <a:ext cx="687566" cy="387229"/>
            </a:xfrm>
            <a:custGeom>
              <a:avLst/>
              <a:gdLst>
                <a:gd name="connsiteX0" fmla="*/ 667823 w 687566"/>
                <a:gd name="connsiteY0" fmla="*/ 0 h 387229"/>
                <a:gd name="connsiteX1" fmla="*/ 0 w 687566"/>
                <a:gd name="connsiteY1" fmla="*/ 0 h 387229"/>
                <a:gd name="connsiteX2" fmla="*/ 0 w 687566"/>
                <a:gd name="connsiteY2" fmla="*/ 14560 h 387229"/>
                <a:gd name="connsiteX3" fmla="*/ 667823 w 687566"/>
                <a:gd name="connsiteY3" fmla="*/ 14560 h 387229"/>
                <a:gd name="connsiteX4" fmla="*/ 673006 w 687566"/>
                <a:gd name="connsiteY4" fmla="*/ 16074 h 387229"/>
                <a:gd name="connsiteX5" fmla="*/ 673006 w 687566"/>
                <a:gd name="connsiteY5" fmla="*/ 379950 h 387229"/>
                <a:gd name="connsiteX6" fmla="*/ 680286 w 687566"/>
                <a:gd name="connsiteY6" fmla="*/ 387230 h 387229"/>
                <a:gd name="connsiteX7" fmla="*/ 687566 w 687566"/>
                <a:gd name="connsiteY7" fmla="*/ 379950 h 387229"/>
                <a:gd name="connsiteX8" fmla="*/ 687566 w 687566"/>
                <a:gd name="connsiteY8" fmla="*/ 15550 h 387229"/>
                <a:gd name="connsiteX9" fmla="*/ 667823 w 687566"/>
                <a:gd name="connsiteY9" fmla="*/ 0 h 387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7566" h="387229">
                  <a:moveTo>
                    <a:pt x="667823" y="0"/>
                  </a:moveTo>
                  <a:lnTo>
                    <a:pt x="0" y="0"/>
                  </a:lnTo>
                  <a:lnTo>
                    <a:pt x="0" y="14560"/>
                  </a:lnTo>
                  <a:lnTo>
                    <a:pt x="667823" y="14560"/>
                  </a:lnTo>
                  <a:cubicBezTo>
                    <a:pt x="670677" y="14560"/>
                    <a:pt x="672424" y="15550"/>
                    <a:pt x="673006" y="16074"/>
                  </a:cubicBezTo>
                  <a:lnTo>
                    <a:pt x="673006" y="379950"/>
                  </a:lnTo>
                  <a:cubicBezTo>
                    <a:pt x="673006" y="383968"/>
                    <a:pt x="676268" y="387230"/>
                    <a:pt x="680286" y="387230"/>
                  </a:cubicBezTo>
                  <a:cubicBezTo>
                    <a:pt x="684305" y="387230"/>
                    <a:pt x="687566" y="383968"/>
                    <a:pt x="687566" y="379950"/>
                  </a:cubicBezTo>
                  <a:lnTo>
                    <a:pt x="687566" y="15550"/>
                  </a:lnTo>
                  <a:cubicBezTo>
                    <a:pt x="687566" y="6814"/>
                    <a:pt x="678889" y="0"/>
                    <a:pt x="667823" y="0"/>
                  </a:cubicBezTo>
                  <a:close/>
                </a:path>
              </a:pathLst>
            </a:custGeom>
            <a:solidFill>
              <a:srgbClr val="000000"/>
            </a:solidFill>
            <a:ln w="57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A7D9C06-F296-D315-FA71-B65B1156BBB0}"/>
              </a:ext>
            </a:extLst>
          </p:cNvPr>
          <p:cNvGrpSpPr/>
          <p:nvPr/>
        </p:nvGrpSpPr>
        <p:grpSpPr>
          <a:xfrm>
            <a:off x="10104613" y="1883592"/>
            <a:ext cx="870667" cy="373711"/>
            <a:chOff x="10104613" y="1883592"/>
            <a:chExt cx="870667" cy="373711"/>
          </a:xfrm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874CFFE-E211-17CA-651C-9F0F35AB02B4}"/>
                </a:ext>
              </a:extLst>
            </p:cNvPr>
            <p:cNvSpPr/>
            <p:nvPr/>
          </p:nvSpPr>
          <p:spPr>
            <a:xfrm>
              <a:off x="10341210" y="2172158"/>
              <a:ext cx="363729" cy="15767"/>
            </a:xfrm>
            <a:custGeom>
              <a:avLst/>
              <a:gdLst>
                <a:gd name="connsiteX0" fmla="*/ 355846 w 363729"/>
                <a:gd name="connsiteY0" fmla="*/ 15768 h 15767"/>
                <a:gd name="connsiteX1" fmla="*/ 7884 w 363729"/>
                <a:gd name="connsiteY1" fmla="*/ 15768 h 15767"/>
                <a:gd name="connsiteX2" fmla="*/ 0 w 363729"/>
                <a:gd name="connsiteY2" fmla="*/ 7884 h 15767"/>
                <a:gd name="connsiteX3" fmla="*/ 7884 w 363729"/>
                <a:gd name="connsiteY3" fmla="*/ 0 h 15767"/>
                <a:gd name="connsiteX4" fmla="*/ 355846 w 363729"/>
                <a:gd name="connsiteY4" fmla="*/ 0 h 15767"/>
                <a:gd name="connsiteX5" fmla="*/ 363730 w 363729"/>
                <a:gd name="connsiteY5" fmla="*/ 7884 h 15767"/>
                <a:gd name="connsiteX6" fmla="*/ 355846 w 363729"/>
                <a:gd name="connsiteY6" fmla="*/ 15768 h 15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3729" h="15767">
                  <a:moveTo>
                    <a:pt x="355846" y="15768"/>
                  </a:moveTo>
                  <a:lnTo>
                    <a:pt x="7884" y="15768"/>
                  </a:lnTo>
                  <a:cubicBezTo>
                    <a:pt x="3532" y="15768"/>
                    <a:pt x="0" y="12236"/>
                    <a:pt x="0" y="7884"/>
                  </a:cubicBezTo>
                  <a:cubicBezTo>
                    <a:pt x="0" y="3532"/>
                    <a:pt x="3532" y="0"/>
                    <a:pt x="7884" y="0"/>
                  </a:cubicBezTo>
                  <a:lnTo>
                    <a:pt x="355846" y="0"/>
                  </a:lnTo>
                  <a:cubicBezTo>
                    <a:pt x="360198" y="0"/>
                    <a:pt x="363730" y="3532"/>
                    <a:pt x="363730" y="7884"/>
                  </a:cubicBezTo>
                  <a:cubicBezTo>
                    <a:pt x="363730" y="12236"/>
                    <a:pt x="360198" y="15768"/>
                    <a:pt x="355846" y="15768"/>
                  </a:cubicBezTo>
                  <a:close/>
                </a:path>
              </a:pathLst>
            </a:custGeom>
            <a:solidFill>
              <a:srgbClr val="000000"/>
            </a:solidFill>
            <a:ln w="63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6205E58-E521-B4DB-877C-8902D0A58528}"/>
                </a:ext>
              </a:extLst>
            </p:cNvPr>
            <p:cNvSpPr/>
            <p:nvPr/>
          </p:nvSpPr>
          <p:spPr>
            <a:xfrm>
              <a:off x="10479966" y="1916721"/>
              <a:ext cx="15767" cy="234939"/>
            </a:xfrm>
            <a:custGeom>
              <a:avLst/>
              <a:gdLst>
                <a:gd name="connsiteX0" fmla="*/ 7884 w 15767"/>
                <a:gd name="connsiteY0" fmla="*/ 234939 h 234939"/>
                <a:gd name="connsiteX1" fmla="*/ 0 w 15767"/>
                <a:gd name="connsiteY1" fmla="*/ 227055 h 234939"/>
                <a:gd name="connsiteX2" fmla="*/ 0 w 15767"/>
                <a:gd name="connsiteY2" fmla="*/ 7884 h 234939"/>
                <a:gd name="connsiteX3" fmla="*/ 7884 w 15767"/>
                <a:gd name="connsiteY3" fmla="*/ 0 h 234939"/>
                <a:gd name="connsiteX4" fmla="*/ 15768 w 15767"/>
                <a:gd name="connsiteY4" fmla="*/ 7884 h 234939"/>
                <a:gd name="connsiteX5" fmla="*/ 15768 w 15767"/>
                <a:gd name="connsiteY5" fmla="*/ 227055 h 234939"/>
                <a:gd name="connsiteX6" fmla="*/ 7884 w 15767"/>
                <a:gd name="connsiteY6" fmla="*/ 234939 h 234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767" h="234939">
                  <a:moveTo>
                    <a:pt x="7884" y="234939"/>
                  </a:moveTo>
                  <a:cubicBezTo>
                    <a:pt x="3532" y="234939"/>
                    <a:pt x="0" y="231407"/>
                    <a:pt x="0" y="227055"/>
                  </a:cubicBezTo>
                  <a:lnTo>
                    <a:pt x="0" y="7884"/>
                  </a:lnTo>
                  <a:cubicBezTo>
                    <a:pt x="0" y="3532"/>
                    <a:pt x="3532" y="0"/>
                    <a:pt x="7884" y="0"/>
                  </a:cubicBezTo>
                  <a:cubicBezTo>
                    <a:pt x="12236" y="0"/>
                    <a:pt x="15768" y="3532"/>
                    <a:pt x="15768" y="7884"/>
                  </a:cubicBezTo>
                  <a:lnTo>
                    <a:pt x="15768" y="227055"/>
                  </a:lnTo>
                  <a:cubicBezTo>
                    <a:pt x="15768" y="231407"/>
                    <a:pt x="12236" y="234939"/>
                    <a:pt x="7884" y="234939"/>
                  </a:cubicBezTo>
                  <a:close/>
                </a:path>
              </a:pathLst>
            </a:custGeom>
            <a:solidFill>
              <a:srgbClr val="000000"/>
            </a:solidFill>
            <a:ln w="63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3EBA25A-6FA9-BC34-A00C-DA2BB40B1117}"/>
                </a:ext>
              </a:extLst>
            </p:cNvPr>
            <p:cNvSpPr/>
            <p:nvPr/>
          </p:nvSpPr>
          <p:spPr>
            <a:xfrm>
              <a:off x="10903109" y="2063929"/>
              <a:ext cx="63070" cy="15767"/>
            </a:xfrm>
            <a:custGeom>
              <a:avLst/>
              <a:gdLst>
                <a:gd name="connsiteX0" fmla="*/ 55187 w 63070"/>
                <a:gd name="connsiteY0" fmla="*/ 15768 h 15767"/>
                <a:gd name="connsiteX1" fmla="*/ 7884 w 63070"/>
                <a:gd name="connsiteY1" fmla="*/ 15768 h 15767"/>
                <a:gd name="connsiteX2" fmla="*/ 0 w 63070"/>
                <a:gd name="connsiteY2" fmla="*/ 7884 h 15767"/>
                <a:gd name="connsiteX3" fmla="*/ 7884 w 63070"/>
                <a:gd name="connsiteY3" fmla="*/ 0 h 15767"/>
                <a:gd name="connsiteX4" fmla="*/ 55187 w 63070"/>
                <a:gd name="connsiteY4" fmla="*/ 0 h 15767"/>
                <a:gd name="connsiteX5" fmla="*/ 63071 w 63070"/>
                <a:gd name="connsiteY5" fmla="*/ 7884 h 15767"/>
                <a:gd name="connsiteX6" fmla="*/ 55187 w 63070"/>
                <a:gd name="connsiteY6" fmla="*/ 15768 h 15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070" h="15767">
                  <a:moveTo>
                    <a:pt x="55187" y="15768"/>
                  </a:moveTo>
                  <a:lnTo>
                    <a:pt x="7884" y="15768"/>
                  </a:lnTo>
                  <a:cubicBezTo>
                    <a:pt x="3532" y="15768"/>
                    <a:pt x="0" y="12236"/>
                    <a:pt x="0" y="7884"/>
                  </a:cubicBezTo>
                  <a:cubicBezTo>
                    <a:pt x="0" y="3532"/>
                    <a:pt x="3532" y="0"/>
                    <a:pt x="7884" y="0"/>
                  </a:cubicBezTo>
                  <a:lnTo>
                    <a:pt x="55187" y="0"/>
                  </a:lnTo>
                  <a:cubicBezTo>
                    <a:pt x="59539" y="0"/>
                    <a:pt x="63071" y="3532"/>
                    <a:pt x="63071" y="7884"/>
                  </a:cubicBezTo>
                  <a:cubicBezTo>
                    <a:pt x="63071" y="12236"/>
                    <a:pt x="59539" y="15768"/>
                    <a:pt x="55187" y="15768"/>
                  </a:cubicBezTo>
                  <a:close/>
                </a:path>
              </a:pathLst>
            </a:custGeom>
            <a:solidFill>
              <a:srgbClr val="000000"/>
            </a:solidFill>
            <a:ln w="63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30C3363-5FB5-110E-6C4E-180707F19018}"/>
                </a:ext>
              </a:extLst>
            </p:cNvPr>
            <p:cNvSpPr/>
            <p:nvPr/>
          </p:nvSpPr>
          <p:spPr>
            <a:xfrm>
              <a:off x="10529918" y="2063929"/>
              <a:ext cx="295361" cy="15767"/>
            </a:xfrm>
            <a:custGeom>
              <a:avLst/>
              <a:gdLst>
                <a:gd name="connsiteX0" fmla="*/ 287477 w 295361"/>
                <a:gd name="connsiteY0" fmla="*/ 15768 h 15767"/>
                <a:gd name="connsiteX1" fmla="*/ 7884 w 295361"/>
                <a:gd name="connsiteY1" fmla="*/ 15768 h 15767"/>
                <a:gd name="connsiteX2" fmla="*/ 0 w 295361"/>
                <a:gd name="connsiteY2" fmla="*/ 7884 h 15767"/>
                <a:gd name="connsiteX3" fmla="*/ 7884 w 295361"/>
                <a:gd name="connsiteY3" fmla="*/ 0 h 15767"/>
                <a:gd name="connsiteX4" fmla="*/ 287477 w 295361"/>
                <a:gd name="connsiteY4" fmla="*/ 0 h 15767"/>
                <a:gd name="connsiteX5" fmla="*/ 295361 w 295361"/>
                <a:gd name="connsiteY5" fmla="*/ 7884 h 15767"/>
                <a:gd name="connsiteX6" fmla="*/ 287477 w 295361"/>
                <a:gd name="connsiteY6" fmla="*/ 15768 h 15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5361" h="15767">
                  <a:moveTo>
                    <a:pt x="287477" y="15768"/>
                  </a:moveTo>
                  <a:lnTo>
                    <a:pt x="7884" y="15768"/>
                  </a:lnTo>
                  <a:cubicBezTo>
                    <a:pt x="3532" y="15768"/>
                    <a:pt x="0" y="12236"/>
                    <a:pt x="0" y="7884"/>
                  </a:cubicBezTo>
                  <a:cubicBezTo>
                    <a:pt x="0" y="3532"/>
                    <a:pt x="3532" y="0"/>
                    <a:pt x="7884" y="0"/>
                  </a:cubicBezTo>
                  <a:lnTo>
                    <a:pt x="287477" y="0"/>
                  </a:lnTo>
                  <a:cubicBezTo>
                    <a:pt x="291829" y="0"/>
                    <a:pt x="295361" y="3532"/>
                    <a:pt x="295361" y="7884"/>
                  </a:cubicBezTo>
                  <a:cubicBezTo>
                    <a:pt x="295361" y="12236"/>
                    <a:pt x="291829" y="15768"/>
                    <a:pt x="287477" y="15768"/>
                  </a:cubicBezTo>
                  <a:close/>
                </a:path>
              </a:pathLst>
            </a:custGeom>
            <a:solidFill>
              <a:srgbClr val="000000"/>
            </a:solidFill>
            <a:ln w="63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63A392F-CC31-F064-26CB-8206FC8A580E}"/>
                </a:ext>
              </a:extLst>
            </p:cNvPr>
            <p:cNvSpPr/>
            <p:nvPr/>
          </p:nvSpPr>
          <p:spPr>
            <a:xfrm>
              <a:off x="10201445" y="2063929"/>
              <a:ext cx="244904" cy="15767"/>
            </a:xfrm>
            <a:custGeom>
              <a:avLst/>
              <a:gdLst>
                <a:gd name="connsiteX0" fmla="*/ 237021 w 244904"/>
                <a:gd name="connsiteY0" fmla="*/ 15768 h 15767"/>
                <a:gd name="connsiteX1" fmla="*/ 7884 w 244904"/>
                <a:gd name="connsiteY1" fmla="*/ 15768 h 15767"/>
                <a:gd name="connsiteX2" fmla="*/ 0 w 244904"/>
                <a:gd name="connsiteY2" fmla="*/ 7884 h 15767"/>
                <a:gd name="connsiteX3" fmla="*/ 7884 w 244904"/>
                <a:gd name="connsiteY3" fmla="*/ 0 h 15767"/>
                <a:gd name="connsiteX4" fmla="*/ 237021 w 244904"/>
                <a:gd name="connsiteY4" fmla="*/ 0 h 15767"/>
                <a:gd name="connsiteX5" fmla="*/ 244904 w 244904"/>
                <a:gd name="connsiteY5" fmla="*/ 7884 h 15767"/>
                <a:gd name="connsiteX6" fmla="*/ 237021 w 244904"/>
                <a:gd name="connsiteY6" fmla="*/ 15768 h 15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4904" h="15767">
                  <a:moveTo>
                    <a:pt x="237021" y="15768"/>
                  </a:moveTo>
                  <a:lnTo>
                    <a:pt x="7884" y="15768"/>
                  </a:lnTo>
                  <a:cubicBezTo>
                    <a:pt x="3532" y="15768"/>
                    <a:pt x="0" y="12236"/>
                    <a:pt x="0" y="7884"/>
                  </a:cubicBezTo>
                  <a:cubicBezTo>
                    <a:pt x="0" y="3532"/>
                    <a:pt x="3532" y="0"/>
                    <a:pt x="7884" y="0"/>
                  </a:cubicBezTo>
                  <a:lnTo>
                    <a:pt x="237021" y="0"/>
                  </a:lnTo>
                  <a:cubicBezTo>
                    <a:pt x="241372" y="0"/>
                    <a:pt x="244904" y="3532"/>
                    <a:pt x="244904" y="7884"/>
                  </a:cubicBezTo>
                  <a:cubicBezTo>
                    <a:pt x="244904" y="12236"/>
                    <a:pt x="241372" y="15768"/>
                    <a:pt x="237021" y="15768"/>
                  </a:cubicBezTo>
                  <a:close/>
                </a:path>
              </a:pathLst>
            </a:custGeom>
            <a:solidFill>
              <a:srgbClr val="000000"/>
            </a:solidFill>
            <a:ln w="63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68A662EC-44DD-C690-3E7B-67E1125F1E09}"/>
                </a:ext>
              </a:extLst>
            </p:cNvPr>
            <p:cNvSpPr/>
            <p:nvPr/>
          </p:nvSpPr>
          <p:spPr>
            <a:xfrm>
              <a:off x="10258533" y="1916740"/>
              <a:ext cx="436441" cy="107265"/>
            </a:xfrm>
            <a:custGeom>
              <a:avLst/>
              <a:gdLst>
                <a:gd name="connsiteX0" fmla="*/ 428558 w 436441"/>
                <a:gd name="connsiteY0" fmla="*/ 107202 h 107265"/>
                <a:gd name="connsiteX1" fmla="*/ 16200 w 436441"/>
                <a:gd name="connsiteY1" fmla="*/ 107202 h 107265"/>
                <a:gd name="connsiteX2" fmla="*/ 1063 w 436441"/>
                <a:gd name="connsiteY2" fmla="*/ 94399 h 107265"/>
                <a:gd name="connsiteX3" fmla="*/ 62683 w 436441"/>
                <a:gd name="connsiteY3" fmla="*/ 486 h 107265"/>
                <a:gd name="connsiteX4" fmla="*/ 72775 w 436441"/>
                <a:gd name="connsiteY4" fmla="*/ 5216 h 107265"/>
                <a:gd name="connsiteX5" fmla="*/ 68044 w 436441"/>
                <a:gd name="connsiteY5" fmla="*/ 15308 h 107265"/>
                <a:gd name="connsiteX6" fmla="*/ 16579 w 436441"/>
                <a:gd name="connsiteY6" fmla="*/ 91876 h 107265"/>
                <a:gd name="connsiteX7" fmla="*/ 33292 w 436441"/>
                <a:gd name="connsiteY7" fmla="*/ 91497 h 107265"/>
                <a:gd name="connsiteX8" fmla="*/ 428558 w 436441"/>
                <a:gd name="connsiteY8" fmla="*/ 91497 h 107265"/>
                <a:gd name="connsiteX9" fmla="*/ 436442 w 436441"/>
                <a:gd name="connsiteY9" fmla="*/ 99381 h 107265"/>
                <a:gd name="connsiteX10" fmla="*/ 428558 w 436441"/>
                <a:gd name="connsiteY10" fmla="*/ 107265 h 107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6441" h="107265">
                  <a:moveTo>
                    <a:pt x="428558" y="107202"/>
                  </a:moveTo>
                  <a:lnTo>
                    <a:pt x="16200" y="107202"/>
                  </a:lnTo>
                  <a:cubicBezTo>
                    <a:pt x="8632" y="107202"/>
                    <a:pt x="2261" y="101841"/>
                    <a:pt x="1063" y="94399"/>
                  </a:cubicBezTo>
                  <a:cubicBezTo>
                    <a:pt x="-1523" y="78505"/>
                    <a:pt x="-4802" y="24831"/>
                    <a:pt x="62683" y="486"/>
                  </a:cubicBezTo>
                  <a:cubicBezTo>
                    <a:pt x="66783" y="-1028"/>
                    <a:pt x="71324" y="1117"/>
                    <a:pt x="72775" y="5216"/>
                  </a:cubicBezTo>
                  <a:cubicBezTo>
                    <a:pt x="74225" y="9316"/>
                    <a:pt x="72144" y="13857"/>
                    <a:pt x="68044" y="15308"/>
                  </a:cubicBezTo>
                  <a:cubicBezTo>
                    <a:pt x="13551" y="34986"/>
                    <a:pt x="13930" y="75414"/>
                    <a:pt x="16579" y="91876"/>
                  </a:cubicBezTo>
                  <a:lnTo>
                    <a:pt x="33292" y="91497"/>
                  </a:lnTo>
                  <a:lnTo>
                    <a:pt x="428558" y="91497"/>
                  </a:lnTo>
                  <a:cubicBezTo>
                    <a:pt x="432910" y="91497"/>
                    <a:pt x="436442" y="95029"/>
                    <a:pt x="436442" y="99381"/>
                  </a:cubicBezTo>
                  <a:cubicBezTo>
                    <a:pt x="436442" y="103733"/>
                    <a:pt x="432910" y="107265"/>
                    <a:pt x="428558" y="107265"/>
                  </a:cubicBezTo>
                  <a:close/>
                </a:path>
              </a:pathLst>
            </a:custGeom>
            <a:solidFill>
              <a:srgbClr val="000000"/>
            </a:solidFill>
            <a:ln w="63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E59369E-4631-FC84-A420-32D778DDA6D5}"/>
                </a:ext>
              </a:extLst>
            </p:cNvPr>
            <p:cNvSpPr/>
            <p:nvPr/>
          </p:nvSpPr>
          <p:spPr>
            <a:xfrm>
              <a:off x="10202454" y="2102780"/>
              <a:ext cx="154523" cy="154523"/>
            </a:xfrm>
            <a:custGeom>
              <a:avLst/>
              <a:gdLst>
                <a:gd name="connsiteX0" fmla="*/ 77262 w 154523"/>
                <a:gd name="connsiteY0" fmla="*/ 154524 h 154523"/>
                <a:gd name="connsiteX1" fmla="*/ 0 w 154523"/>
                <a:gd name="connsiteY1" fmla="*/ 77262 h 154523"/>
                <a:gd name="connsiteX2" fmla="*/ 77262 w 154523"/>
                <a:gd name="connsiteY2" fmla="*/ 0 h 154523"/>
                <a:gd name="connsiteX3" fmla="*/ 154524 w 154523"/>
                <a:gd name="connsiteY3" fmla="*/ 77262 h 154523"/>
                <a:gd name="connsiteX4" fmla="*/ 77262 w 154523"/>
                <a:gd name="connsiteY4" fmla="*/ 154524 h 154523"/>
                <a:gd name="connsiteX5" fmla="*/ 77262 w 154523"/>
                <a:gd name="connsiteY5" fmla="*/ 15768 h 154523"/>
                <a:gd name="connsiteX6" fmla="*/ 15768 w 154523"/>
                <a:gd name="connsiteY6" fmla="*/ 77262 h 154523"/>
                <a:gd name="connsiteX7" fmla="*/ 77262 w 154523"/>
                <a:gd name="connsiteY7" fmla="*/ 138756 h 154523"/>
                <a:gd name="connsiteX8" fmla="*/ 138756 w 154523"/>
                <a:gd name="connsiteY8" fmla="*/ 77262 h 154523"/>
                <a:gd name="connsiteX9" fmla="*/ 77262 w 154523"/>
                <a:gd name="connsiteY9" fmla="*/ 15768 h 154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4523" h="154523">
                  <a:moveTo>
                    <a:pt x="77262" y="154524"/>
                  </a:moveTo>
                  <a:cubicBezTo>
                    <a:pt x="34689" y="154524"/>
                    <a:pt x="0" y="119835"/>
                    <a:pt x="0" y="77262"/>
                  </a:cubicBezTo>
                  <a:cubicBezTo>
                    <a:pt x="0" y="34689"/>
                    <a:pt x="34689" y="0"/>
                    <a:pt x="77262" y="0"/>
                  </a:cubicBezTo>
                  <a:cubicBezTo>
                    <a:pt x="119835" y="0"/>
                    <a:pt x="154524" y="34689"/>
                    <a:pt x="154524" y="77262"/>
                  </a:cubicBezTo>
                  <a:cubicBezTo>
                    <a:pt x="154524" y="119835"/>
                    <a:pt x="119835" y="154524"/>
                    <a:pt x="77262" y="154524"/>
                  </a:cubicBezTo>
                  <a:close/>
                  <a:moveTo>
                    <a:pt x="77262" y="15768"/>
                  </a:moveTo>
                  <a:cubicBezTo>
                    <a:pt x="43330" y="15768"/>
                    <a:pt x="15768" y="43330"/>
                    <a:pt x="15768" y="77262"/>
                  </a:cubicBezTo>
                  <a:cubicBezTo>
                    <a:pt x="15768" y="111194"/>
                    <a:pt x="43330" y="138756"/>
                    <a:pt x="77262" y="138756"/>
                  </a:cubicBezTo>
                  <a:cubicBezTo>
                    <a:pt x="111194" y="138756"/>
                    <a:pt x="138756" y="111194"/>
                    <a:pt x="138756" y="77262"/>
                  </a:cubicBezTo>
                  <a:cubicBezTo>
                    <a:pt x="138756" y="43330"/>
                    <a:pt x="111194" y="15768"/>
                    <a:pt x="77262" y="15768"/>
                  </a:cubicBezTo>
                  <a:close/>
                </a:path>
              </a:pathLst>
            </a:custGeom>
            <a:solidFill>
              <a:srgbClr val="000000"/>
            </a:solidFill>
            <a:ln w="63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905D62A6-87B9-E6DA-8A17-36C1B5505BA2}"/>
                </a:ext>
              </a:extLst>
            </p:cNvPr>
            <p:cNvSpPr/>
            <p:nvPr/>
          </p:nvSpPr>
          <p:spPr>
            <a:xfrm>
              <a:off x="10689172" y="2102780"/>
              <a:ext cx="154523" cy="154523"/>
            </a:xfrm>
            <a:custGeom>
              <a:avLst/>
              <a:gdLst>
                <a:gd name="connsiteX0" fmla="*/ 77262 w 154523"/>
                <a:gd name="connsiteY0" fmla="*/ 154524 h 154523"/>
                <a:gd name="connsiteX1" fmla="*/ 0 w 154523"/>
                <a:gd name="connsiteY1" fmla="*/ 77262 h 154523"/>
                <a:gd name="connsiteX2" fmla="*/ 77262 w 154523"/>
                <a:gd name="connsiteY2" fmla="*/ 0 h 154523"/>
                <a:gd name="connsiteX3" fmla="*/ 154524 w 154523"/>
                <a:gd name="connsiteY3" fmla="*/ 77262 h 154523"/>
                <a:gd name="connsiteX4" fmla="*/ 77262 w 154523"/>
                <a:gd name="connsiteY4" fmla="*/ 154524 h 154523"/>
                <a:gd name="connsiteX5" fmla="*/ 77262 w 154523"/>
                <a:gd name="connsiteY5" fmla="*/ 15768 h 154523"/>
                <a:gd name="connsiteX6" fmla="*/ 15768 w 154523"/>
                <a:gd name="connsiteY6" fmla="*/ 77262 h 154523"/>
                <a:gd name="connsiteX7" fmla="*/ 77262 w 154523"/>
                <a:gd name="connsiteY7" fmla="*/ 138756 h 154523"/>
                <a:gd name="connsiteX8" fmla="*/ 138756 w 154523"/>
                <a:gd name="connsiteY8" fmla="*/ 77262 h 154523"/>
                <a:gd name="connsiteX9" fmla="*/ 77262 w 154523"/>
                <a:gd name="connsiteY9" fmla="*/ 15768 h 154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4523" h="154523">
                  <a:moveTo>
                    <a:pt x="77262" y="154524"/>
                  </a:moveTo>
                  <a:cubicBezTo>
                    <a:pt x="34689" y="154524"/>
                    <a:pt x="0" y="119835"/>
                    <a:pt x="0" y="77262"/>
                  </a:cubicBezTo>
                  <a:cubicBezTo>
                    <a:pt x="0" y="34689"/>
                    <a:pt x="34689" y="0"/>
                    <a:pt x="77262" y="0"/>
                  </a:cubicBezTo>
                  <a:cubicBezTo>
                    <a:pt x="119835" y="0"/>
                    <a:pt x="154524" y="34689"/>
                    <a:pt x="154524" y="77262"/>
                  </a:cubicBezTo>
                  <a:cubicBezTo>
                    <a:pt x="154524" y="119835"/>
                    <a:pt x="119835" y="154524"/>
                    <a:pt x="77262" y="154524"/>
                  </a:cubicBezTo>
                  <a:close/>
                  <a:moveTo>
                    <a:pt x="77262" y="15768"/>
                  </a:moveTo>
                  <a:cubicBezTo>
                    <a:pt x="43330" y="15768"/>
                    <a:pt x="15768" y="43330"/>
                    <a:pt x="15768" y="77262"/>
                  </a:cubicBezTo>
                  <a:cubicBezTo>
                    <a:pt x="15768" y="111194"/>
                    <a:pt x="43330" y="138756"/>
                    <a:pt x="77262" y="138756"/>
                  </a:cubicBezTo>
                  <a:cubicBezTo>
                    <a:pt x="111194" y="138756"/>
                    <a:pt x="138756" y="111194"/>
                    <a:pt x="138756" y="77262"/>
                  </a:cubicBezTo>
                  <a:cubicBezTo>
                    <a:pt x="138756" y="43330"/>
                    <a:pt x="111194" y="15768"/>
                    <a:pt x="77262" y="15768"/>
                  </a:cubicBezTo>
                  <a:close/>
                </a:path>
              </a:pathLst>
            </a:custGeom>
            <a:solidFill>
              <a:srgbClr val="000000"/>
            </a:solidFill>
            <a:ln w="63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851CC1C7-BDFA-463D-D87B-411113FD3AC6}"/>
                </a:ext>
              </a:extLst>
            </p:cNvPr>
            <p:cNvSpPr/>
            <p:nvPr/>
          </p:nvSpPr>
          <p:spPr>
            <a:xfrm>
              <a:off x="10104613" y="1953302"/>
              <a:ext cx="113679" cy="223720"/>
            </a:xfrm>
            <a:custGeom>
              <a:avLst/>
              <a:gdLst>
                <a:gd name="connsiteX0" fmla="*/ 106103 w 113679"/>
                <a:gd name="connsiteY0" fmla="*/ 207819 h 223720"/>
                <a:gd name="connsiteX1" fmla="*/ 31238 w 113679"/>
                <a:gd name="connsiteY1" fmla="*/ 193123 h 223720"/>
                <a:gd name="connsiteX2" fmla="*/ 17047 w 113679"/>
                <a:gd name="connsiteY2" fmla="*/ 140837 h 223720"/>
                <a:gd name="connsiteX3" fmla="*/ 15723 w 113679"/>
                <a:gd name="connsiteY3" fmla="*/ 132323 h 223720"/>
                <a:gd name="connsiteX4" fmla="*/ 26949 w 113679"/>
                <a:gd name="connsiteY4" fmla="*/ 100030 h 223720"/>
                <a:gd name="connsiteX5" fmla="*/ 32752 w 113679"/>
                <a:gd name="connsiteY5" fmla="*/ 85146 h 223720"/>
                <a:gd name="connsiteX6" fmla="*/ 28274 w 113679"/>
                <a:gd name="connsiteY6" fmla="*/ 39167 h 223720"/>
                <a:gd name="connsiteX7" fmla="*/ 66179 w 113679"/>
                <a:gd name="connsiteY7" fmla="*/ 12551 h 223720"/>
                <a:gd name="connsiteX8" fmla="*/ 56656 w 113679"/>
                <a:gd name="connsiteY8" fmla="*/ 0 h 223720"/>
                <a:gd name="connsiteX9" fmla="*/ 14524 w 113679"/>
                <a:gd name="connsiteY9" fmla="*/ 29580 h 223720"/>
                <a:gd name="connsiteX10" fmla="*/ 11560 w 113679"/>
                <a:gd name="connsiteY10" fmla="*/ 38536 h 223720"/>
                <a:gd name="connsiteX11" fmla="*/ 17930 w 113679"/>
                <a:gd name="connsiteY11" fmla="*/ 79911 h 223720"/>
                <a:gd name="connsiteX12" fmla="*/ 12380 w 113679"/>
                <a:gd name="connsiteY12" fmla="*/ 94228 h 223720"/>
                <a:gd name="connsiteX13" fmla="*/ 333 w 113679"/>
                <a:gd name="connsiteY13" fmla="*/ 135729 h 223720"/>
                <a:gd name="connsiteX14" fmla="*/ 1405 w 113679"/>
                <a:gd name="connsiteY14" fmla="*/ 143045 h 223720"/>
                <a:gd name="connsiteX15" fmla="*/ 19444 w 113679"/>
                <a:gd name="connsiteY15" fmla="*/ 203719 h 223720"/>
                <a:gd name="connsiteX16" fmla="*/ 105409 w 113679"/>
                <a:gd name="connsiteY16" fmla="*/ 223713 h 223720"/>
                <a:gd name="connsiteX17" fmla="*/ 113672 w 113679"/>
                <a:gd name="connsiteY17" fmla="*/ 216207 h 223720"/>
                <a:gd name="connsiteX18" fmla="*/ 106166 w 113679"/>
                <a:gd name="connsiteY18" fmla="*/ 207945 h 223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3679" h="223720">
                  <a:moveTo>
                    <a:pt x="106103" y="207819"/>
                  </a:moveTo>
                  <a:cubicBezTo>
                    <a:pt x="75072" y="206368"/>
                    <a:pt x="37608" y="200313"/>
                    <a:pt x="31238" y="193123"/>
                  </a:cubicBezTo>
                  <a:cubicBezTo>
                    <a:pt x="22850" y="183663"/>
                    <a:pt x="18813" y="153641"/>
                    <a:pt x="17047" y="140837"/>
                  </a:cubicBezTo>
                  <a:cubicBezTo>
                    <a:pt x="16416" y="136359"/>
                    <a:pt x="16101" y="133963"/>
                    <a:pt x="15723" y="132323"/>
                  </a:cubicBezTo>
                  <a:cubicBezTo>
                    <a:pt x="15912" y="127656"/>
                    <a:pt x="23102" y="109680"/>
                    <a:pt x="26949" y="100030"/>
                  </a:cubicBezTo>
                  <a:cubicBezTo>
                    <a:pt x="29283" y="94228"/>
                    <a:pt x="31364" y="88993"/>
                    <a:pt x="32752" y="85146"/>
                  </a:cubicBezTo>
                  <a:cubicBezTo>
                    <a:pt x="37104" y="72784"/>
                    <a:pt x="31553" y="50331"/>
                    <a:pt x="28274" y="39167"/>
                  </a:cubicBezTo>
                  <a:lnTo>
                    <a:pt x="66179" y="12551"/>
                  </a:lnTo>
                  <a:lnTo>
                    <a:pt x="56656" y="0"/>
                  </a:lnTo>
                  <a:lnTo>
                    <a:pt x="14524" y="29580"/>
                  </a:lnTo>
                  <a:cubicBezTo>
                    <a:pt x="11686" y="31599"/>
                    <a:pt x="10488" y="35194"/>
                    <a:pt x="11560" y="38536"/>
                  </a:cubicBezTo>
                  <a:cubicBezTo>
                    <a:pt x="15786" y="51214"/>
                    <a:pt x="20516" y="72468"/>
                    <a:pt x="17930" y="79911"/>
                  </a:cubicBezTo>
                  <a:cubicBezTo>
                    <a:pt x="16606" y="83569"/>
                    <a:pt x="14587" y="88678"/>
                    <a:pt x="12380" y="94228"/>
                  </a:cubicBezTo>
                  <a:cubicBezTo>
                    <a:pt x="2036" y="120087"/>
                    <a:pt x="-1117" y="129737"/>
                    <a:pt x="333" y="135729"/>
                  </a:cubicBezTo>
                  <a:cubicBezTo>
                    <a:pt x="586" y="136612"/>
                    <a:pt x="1027" y="140017"/>
                    <a:pt x="1405" y="143045"/>
                  </a:cubicBezTo>
                  <a:cubicBezTo>
                    <a:pt x="3676" y="159696"/>
                    <a:pt x="7839" y="190663"/>
                    <a:pt x="19444" y="203719"/>
                  </a:cubicBezTo>
                  <a:cubicBezTo>
                    <a:pt x="33572" y="219613"/>
                    <a:pt x="93489" y="223145"/>
                    <a:pt x="105409" y="223713"/>
                  </a:cubicBezTo>
                  <a:cubicBezTo>
                    <a:pt x="109824" y="223902"/>
                    <a:pt x="113419" y="220559"/>
                    <a:pt x="113672" y="216207"/>
                  </a:cubicBezTo>
                  <a:cubicBezTo>
                    <a:pt x="113861" y="211855"/>
                    <a:pt x="110518" y="208134"/>
                    <a:pt x="106166" y="207945"/>
                  </a:cubicBezTo>
                  <a:close/>
                </a:path>
              </a:pathLst>
            </a:custGeom>
            <a:solidFill>
              <a:srgbClr val="000000"/>
            </a:solidFill>
            <a:ln w="63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C259C422-7315-9D16-206C-E751AAA77CF8}"/>
                </a:ext>
              </a:extLst>
            </p:cNvPr>
            <p:cNvSpPr/>
            <p:nvPr/>
          </p:nvSpPr>
          <p:spPr>
            <a:xfrm>
              <a:off x="10169405" y="1883592"/>
              <a:ext cx="134782" cy="76332"/>
            </a:xfrm>
            <a:custGeom>
              <a:avLst/>
              <a:gdLst>
                <a:gd name="connsiteX0" fmla="*/ 55124 w 134782"/>
                <a:gd name="connsiteY0" fmla="*/ 16226 h 76332"/>
                <a:gd name="connsiteX1" fmla="*/ 133647 w 134782"/>
                <a:gd name="connsiteY1" fmla="*/ 18749 h 76332"/>
                <a:gd name="connsiteX2" fmla="*/ 134783 w 134782"/>
                <a:gd name="connsiteY2" fmla="*/ 2981 h 76332"/>
                <a:gd name="connsiteX3" fmla="*/ 42762 w 134782"/>
                <a:gd name="connsiteY3" fmla="*/ 17 h 76332"/>
                <a:gd name="connsiteX4" fmla="*/ 35950 w 134782"/>
                <a:gd name="connsiteY4" fmla="*/ 3549 h 76332"/>
                <a:gd name="connsiteX5" fmla="*/ 35383 w 134782"/>
                <a:gd name="connsiteY5" fmla="*/ 11243 h 76332"/>
                <a:gd name="connsiteX6" fmla="*/ 45159 w 134782"/>
                <a:gd name="connsiteY6" fmla="*/ 32057 h 76332"/>
                <a:gd name="connsiteX7" fmla="*/ 0 w 134782"/>
                <a:gd name="connsiteY7" fmla="*/ 63781 h 76332"/>
                <a:gd name="connsiteX8" fmla="*/ 9524 w 134782"/>
                <a:gd name="connsiteY8" fmla="*/ 76332 h 76332"/>
                <a:gd name="connsiteX9" fmla="*/ 59602 w 134782"/>
                <a:gd name="connsiteY9" fmla="*/ 41139 h 76332"/>
                <a:gd name="connsiteX10" fmla="*/ 62188 w 134782"/>
                <a:gd name="connsiteY10" fmla="*/ 31363 h 76332"/>
                <a:gd name="connsiteX11" fmla="*/ 55061 w 134782"/>
                <a:gd name="connsiteY11" fmla="*/ 16226 h 76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4782" h="76332">
                  <a:moveTo>
                    <a:pt x="55124" y="16226"/>
                  </a:moveTo>
                  <a:lnTo>
                    <a:pt x="133647" y="18749"/>
                  </a:lnTo>
                  <a:lnTo>
                    <a:pt x="134783" y="2981"/>
                  </a:lnTo>
                  <a:lnTo>
                    <a:pt x="42762" y="17"/>
                  </a:lnTo>
                  <a:cubicBezTo>
                    <a:pt x="40050" y="-173"/>
                    <a:pt x="37401" y="1278"/>
                    <a:pt x="35950" y="3549"/>
                  </a:cubicBezTo>
                  <a:cubicBezTo>
                    <a:pt x="34437" y="5819"/>
                    <a:pt x="34248" y="8783"/>
                    <a:pt x="35383" y="11243"/>
                  </a:cubicBezTo>
                  <a:lnTo>
                    <a:pt x="45159" y="32057"/>
                  </a:lnTo>
                  <a:lnTo>
                    <a:pt x="0" y="63781"/>
                  </a:lnTo>
                  <a:lnTo>
                    <a:pt x="9524" y="76332"/>
                  </a:lnTo>
                  <a:lnTo>
                    <a:pt x="59602" y="41139"/>
                  </a:lnTo>
                  <a:cubicBezTo>
                    <a:pt x="62756" y="38931"/>
                    <a:pt x="63828" y="34832"/>
                    <a:pt x="62188" y="31363"/>
                  </a:cubicBezTo>
                  <a:lnTo>
                    <a:pt x="55061" y="16226"/>
                  </a:lnTo>
                  <a:close/>
                </a:path>
              </a:pathLst>
            </a:custGeom>
            <a:solidFill>
              <a:schemeClr val="accent2"/>
            </a:solidFill>
            <a:ln w="63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D51F315C-7E52-EBC6-C5DA-57AF0D32F77C}"/>
                </a:ext>
              </a:extLst>
            </p:cNvPr>
            <p:cNvSpPr/>
            <p:nvPr/>
          </p:nvSpPr>
          <p:spPr>
            <a:xfrm>
              <a:off x="10313206" y="1886889"/>
              <a:ext cx="662074" cy="301100"/>
            </a:xfrm>
            <a:custGeom>
              <a:avLst/>
              <a:gdLst>
                <a:gd name="connsiteX0" fmla="*/ 658271 w 662074"/>
                <a:gd name="connsiteY0" fmla="*/ 198421 h 301100"/>
                <a:gd name="connsiteX1" fmla="*/ 588578 w 662074"/>
                <a:gd name="connsiteY1" fmla="*/ 118384 h 301100"/>
                <a:gd name="connsiteX2" fmla="*/ 456066 w 662074"/>
                <a:gd name="connsiteY2" fmla="*/ 90191 h 301100"/>
                <a:gd name="connsiteX3" fmla="*/ 331753 w 662074"/>
                <a:gd name="connsiteY3" fmla="*/ 20246 h 301100"/>
                <a:gd name="connsiteX4" fmla="*/ 290378 w 662074"/>
                <a:gd name="connsiteY4" fmla="*/ 9334 h 301100"/>
                <a:gd name="connsiteX5" fmla="*/ 290378 w 662074"/>
                <a:gd name="connsiteY5" fmla="*/ 9334 h 301100"/>
                <a:gd name="connsiteX6" fmla="*/ 1135 w 662074"/>
                <a:gd name="connsiteY6" fmla="*/ 0 h 301100"/>
                <a:gd name="connsiteX7" fmla="*/ 0 w 662074"/>
                <a:gd name="connsiteY7" fmla="*/ 15768 h 301100"/>
                <a:gd name="connsiteX8" fmla="*/ 290189 w 662074"/>
                <a:gd name="connsiteY8" fmla="*/ 25102 h 301100"/>
                <a:gd name="connsiteX9" fmla="*/ 324121 w 662074"/>
                <a:gd name="connsiteY9" fmla="*/ 33995 h 301100"/>
                <a:gd name="connsiteX10" fmla="*/ 449506 w 662074"/>
                <a:gd name="connsiteY10" fmla="*/ 104509 h 301100"/>
                <a:gd name="connsiteX11" fmla="*/ 451714 w 662074"/>
                <a:gd name="connsiteY11" fmla="*/ 105328 h 301100"/>
                <a:gd name="connsiteX12" fmla="*/ 585424 w 662074"/>
                <a:gd name="connsiteY12" fmla="*/ 133773 h 301100"/>
                <a:gd name="connsiteX13" fmla="*/ 642693 w 662074"/>
                <a:gd name="connsiteY13" fmla="*/ 199556 h 301100"/>
                <a:gd name="connsiteX14" fmla="*/ 645846 w 662074"/>
                <a:gd name="connsiteY14" fmla="*/ 243517 h 301100"/>
                <a:gd name="connsiteX15" fmla="*/ 624717 w 662074"/>
                <a:gd name="connsiteY15" fmla="*/ 250581 h 301100"/>
                <a:gd name="connsiteX16" fmla="*/ 618915 w 662074"/>
                <a:gd name="connsiteY16" fmla="*/ 254365 h 301100"/>
                <a:gd name="connsiteX17" fmla="*/ 601507 w 662074"/>
                <a:gd name="connsiteY17" fmla="*/ 273539 h 301100"/>
                <a:gd name="connsiteX18" fmla="*/ 574828 w 662074"/>
                <a:gd name="connsiteY18" fmla="*/ 285333 h 301100"/>
                <a:gd name="connsiteX19" fmla="*/ 522795 w 662074"/>
                <a:gd name="connsiteY19" fmla="*/ 285333 h 301100"/>
                <a:gd name="connsiteX20" fmla="*/ 514911 w 662074"/>
                <a:gd name="connsiteY20" fmla="*/ 293217 h 301100"/>
                <a:gd name="connsiteX21" fmla="*/ 522795 w 662074"/>
                <a:gd name="connsiteY21" fmla="*/ 301101 h 301100"/>
                <a:gd name="connsiteX22" fmla="*/ 574828 w 662074"/>
                <a:gd name="connsiteY22" fmla="*/ 301101 h 301100"/>
                <a:gd name="connsiteX23" fmla="*/ 613175 w 662074"/>
                <a:gd name="connsiteY23" fmla="*/ 284135 h 301100"/>
                <a:gd name="connsiteX24" fmla="*/ 630268 w 662074"/>
                <a:gd name="connsiteY24" fmla="*/ 265339 h 301100"/>
                <a:gd name="connsiteX25" fmla="*/ 656694 w 662074"/>
                <a:gd name="connsiteY25" fmla="*/ 256509 h 301100"/>
                <a:gd name="connsiteX26" fmla="*/ 662055 w 662074"/>
                <a:gd name="connsiteY26" fmla="*/ 248499 h 301100"/>
                <a:gd name="connsiteX27" fmla="*/ 658460 w 662074"/>
                <a:gd name="connsiteY27" fmla="*/ 198484 h 30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662074" h="301100">
                  <a:moveTo>
                    <a:pt x="658271" y="198421"/>
                  </a:moveTo>
                  <a:cubicBezTo>
                    <a:pt x="655496" y="159443"/>
                    <a:pt x="626799" y="126520"/>
                    <a:pt x="588578" y="118384"/>
                  </a:cubicBezTo>
                  <a:lnTo>
                    <a:pt x="456066" y="90191"/>
                  </a:lnTo>
                  <a:lnTo>
                    <a:pt x="331753" y="20246"/>
                  </a:lnTo>
                  <a:cubicBezTo>
                    <a:pt x="319076" y="13119"/>
                    <a:pt x="304696" y="9334"/>
                    <a:pt x="290378" y="9334"/>
                  </a:cubicBezTo>
                  <a:lnTo>
                    <a:pt x="290378" y="9334"/>
                  </a:lnTo>
                  <a:lnTo>
                    <a:pt x="1135" y="0"/>
                  </a:lnTo>
                  <a:lnTo>
                    <a:pt x="0" y="15768"/>
                  </a:lnTo>
                  <a:lnTo>
                    <a:pt x="290189" y="25102"/>
                  </a:lnTo>
                  <a:cubicBezTo>
                    <a:pt x="302047" y="25102"/>
                    <a:pt x="313778" y="28193"/>
                    <a:pt x="324121" y="33995"/>
                  </a:cubicBezTo>
                  <a:lnTo>
                    <a:pt x="449506" y="104509"/>
                  </a:lnTo>
                  <a:cubicBezTo>
                    <a:pt x="450200" y="104887"/>
                    <a:pt x="450957" y="105202"/>
                    <a:pt x="451714" y="105328"/>
                  </a:cubicBezTo>
                  <a:lnTo>
                    <a:pt x="585424" y="133773"/>
                  </a:lnTo>
                  <a:cubicBezTo>
                    <a:pt x="616834" y="140459"/>
                    <a:pt x="640359" y="167516"/>
                    <a:pt x="642693" y="199556"/>
                  </a:cubicBezTo>
                  <a:lnTo>
                    <a:pt x="645846" y="243517"/>
                  </a:lnTo>
                  <a:lnTo>
                    <a:pt x="624717" y="250581"/>
                  </a:lnTo>
                  <a:cubicBezTo>
                    <a:pt x="622510" y="251338"/>
                    <a:pt x="620492" y="252662"/>
                    <a:pt x="618915" y="254365"/>
                  </a:cubicBezTo>
                  <a:lnTo>
                    <a:pt x="601507" y="273539"/>
                  </a:lnTo>
                  <a:cubicBezTo>
                    <a:pt x="594696" y="281044"/>
                    <a:pt x="584983" y="285333"/>
                    <a:pt x="574828" y="285333"/>
                  </a:cubicBezTo>
                  <a:lnTo>
                    <a:pt x="522795" y="285333"/>
                  </a:lnTo>
                  <a:cubicBezTo>
                    <a:pt x="518443" y="285333"/>
                    <a:pt x="514911" y="288865"/>
                    <a:pt x="514911" y="293217"/>
                  </a:cubicBezTo>
                  <a:cubicBezTo>
                    <a:pt x="514911" y="297569"/>
                    <a:pt x="518443" y="301101"/>
                    <a:pt x="522795" y="301101"/>
                  </a:cubicBezTo>
                  <a:lnTo>
                    <a:pt x="574828" y="301101"/>
                  </a:lnTo>
                  <a:cubicBezTo>
                    <a:pt x="589398" y="301101"/>
                    <a:pt x="603336" y="294920"/>
                    <a:pt x="613175" y="284135"/>
                  </a:cubicBezTo>
                  <a:lnTo>
                    <a:pt x="630268" y="265339"/>
                  </a:lnTo>
                  <a:lnTo>
                    <a:pt x="656694" y="256509"/>
                  </a:lnTo>
                  <a:cubicBezTo>
                    <a:pt x="660100" y="255374"/>
                    <a:pt x="662308" y="252031"/>
                    <a:pt x="662055" y="248499"/>
                  </a:cubicBezTo>
                  <a:lnTo>
                    <a:pt x="658460" y="198484"/>
                  </a:lnTo>
                  <a:close/>
                </a:path>
              </a:pathLst>
            </a:custGeom>
            <a:solidFill>
              <a:srgbClr val="000000"/>
            </a:solidFill>
            <a:ln w="63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8" name="TextBox1640963426">
            <a:extLst>
              <a:ext uri="{FF2B5EF4-FFF2-40B4-BE49-F238E27FC236}">
                <a16:creationId xmlns:a16="http://schemas.microsoft.com/office/drawing/2014/main" id="{207B196E-F18E-E3CD-9224-F5A09881223C}"/>
              </a:ext>
            </a:extLst>
          </p:cNvPr>
          <p:cNvSpPr txBox="1"/>
          <p:nvPr/>
        </p:nvSpPr>
        <p:spPr>
          <a:xfrm>
            <a:off x="6740459" y="2244409"/>
            <a:ext cx="1238757" cy="346288"/>
          </a:xfrm>
          <a:prstGeom prst="roundRect">
            <a:avLst>
              <a:gd name="adj" fmla="val 14671"/>
            </a:avLst>
          </a:prstGeom>
          <a:gradFill flip="none" rotWithShape="1">
            <a:gsLst>
              <a:gs pos="0">
                <a:srgbClr val="004754"/>
              </a:gs>
              <a:gs pos="100000">
                <a:srgbClr val="29BBCE"/>
              </a:gs>
              <a:gs pos="50000">
                <a:srgbClr val="0087A0"/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 anchor="ctr" anchorCtr="0">
            <a:noAutofit/>
          </a:bodyPr>
          <a:lstStyle>
            <a:defPPr>
              <a:defRPr lang="de-DE"/>
            </a:defPPr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bg1"/>
              </a:buClr>
              <a:buSzPct val="100000"/>
              <a:buFont typeface="FEV" panose="020B0604020202020204" charset="0"/>
              <a:buChar char="•"/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rgbClr val="FFFFFF"/>
                </a:solidFill>
                <a:cs typeface="Poppins" panose="00000500000000000000" pitchFamily="2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chemeClr val="bg1"/>
                </a:solidFill>
                <a:cs typeface="Poppins" panose="00000500000000000000" pitchFamily="2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algn="ctr"/>
            <a:r>
              <a:rPr lang="en-US" b="1" dirty="0"/>
              <a:t>2035 focus</a:t>
            </a:r>
          </a:p>
        </p:txBody>
      </p:sp>
      <p:pic>
        <p:nvPicPr>
          <p:cNvPr id="59" name="Arrow_04">
            <a:extLst>
              <a:ext uri="{FF2B5EF4-FFF2-40B4-BE49-F238E27FC236}">
                <a16:creationId xmlns:a16="http://schemas.microsoft.com/office/drawing/2014/main" id="{345A2E9B-B3F0-41DE-CE9C-85552984D3EC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1" t="32559" r="32329" b="-1"/>
          <a:stretch/>
        </p:blipFill>
        <p:spPr>
          <a:xfrm rot="10129838">
            <a:off x="4817917" y="2457287"/>
            <a:ext cx="1865585" cy="327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8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85ECBC74-D16C-47E2-B7B5-317FDE88AF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0" imgH="595" progId="TCLayout.ActiveDocument.1">
                  <p:embed/>
                </p:oleObj>
              </mc:Choice>
              <mc:Fallback>
                <p:oleObj name="think-cell Slide" r:id="rId7" imgW="590" imgH="59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ECBC74-D16C-47E2-B7B5-317FDE88A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09A22075-0FB3-5D44-7414-32C10D202387}"/>
              </a:ext>
            </a:extLst>
          </p:cNvPr>
          <p:cNvSpPr/>
          <p:nvPr/>
        </p:nvSpPr>
        <p:spPr>
          <a:xfrm>
            <a:off x="0" y="3411613"/>
            <a:ext cx="12192000" cy="3446387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4">
                  <a:lumMod val="50000"/>
                </a:schemeClr>
              </a:gs>
            </a:gsLst>
            <a:lin ang="8100000" scaled="1"/>
            <a:tileRect/>
          </a:gradFill>
          <a:ln w="6350">
            <a:noFill/>
          </a:ln>
        </p:spPr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0420487C-88FA-9DEC-7B7A-535002B6DAC4}"/>
              </a:ext>
            </a:extLst>
          </p:cNvPr>
          <p:cNvSpPr/>
          <p:nvPr/>
        </p:nvSpPr>
        <p:spPr>
          <a:xfrm>
            <a:off x="1054475" y="3411613"/>
            <a:ext cx="8117843" cy="3442801"/>
          </a:xfrm>
          <a:custGeom>
            <a:avLst/>
            <a:gdLst>
              <a:gd name="connsiteX0" fmla="*/ 337818 w 8117843"/>
              <a:gd name="connsiteY0" fmla="*/ 0 h 3442801"/>
              <a:gd name="connsiteX1" fmla="*/ 6889644 w 8117843"/>
              <a:gd name="connsiteY1" fmla="*/ 0 h 3442801"/>
              <a:gd name="connsiteX2" fmla="*/ 7885130 w 8117843"/>
              <a:gd name="connsiteY2" fmla="*/ 991301 h 3442801"/>
              <a:gd name="connsiteX3" fmla="*/ 7885130 w 8117843"/>
              <a:gd name="connsiteY3" fmla="*/ 2114891 h 3442801"/>
              <a:gd name="connsiteX4" fmla="*/ 6551709 w 8117843"/>
              <a:gd name="connsiteY4" fmla="*/ 3442801 h 3442801"/>
              <a:gd name="connsiteX5" fmla="*/ 0 w 8117843"/>
              <a:gd name="connsiteY5" fmla="*/ 3442801 h 3442801"/>
              <a:gd name="connsiteX6" fmla="*/ 1521355 w 8117843"/>
              <a:gd name="connsiteY6" fmla="*/ 1927735 h 3442801"/>
              <a:gd name="connsiteX7" fmla="*/ 1521355 w 8117843"/>
              <a:gd name="connsiteY7" fmla="*/ 1178643 h 3442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17843" h="3442801">
                <a:moveTo>
                  <a:pt x="337818" y="0"/>
                </a:moveTo>
                <a:lnTo>
                  <a:pt x="6889644" y="0"/>
                </a:lnTo>
                <a:lnTo>
                  <a:pt x="7885130" y="991301"/>
                </a:lnTo>
                <a:cubicBezTo>
                  <a:pt x="8195414" y="1300303"/>
                  <a:pt x="8195414" y="1805889"/>
                  <a:pt x="7885130" y="2114891"/>
                </a:cubicBezTo>
                <a:lnTo>
                  <a:pt x="6551709" y="3442801"/>
                </a:lnTo>
                <a:lnTo>
                  <a:pt x="0" y="3442801"/>
                </a:lnTo>
                <a:lnTo>
                  <a:pt x="1521355" y="1927735"/>
                </a:lnTo>
                <a:cubicBezTo>
                  <a:pt x="1728210" y="1721734"/>
                  <a:pt x="1728210" y="1384648"/>
                  <a:pt x="1521355" y="1178643"/>
                </a:cubicBezTo>
                <a:close/>
              </a:path>
            </a:pathLst>
          </a:custGeom>
          <a:gradFill flip="none" rotWithShape="1">
            <a:gsLst>
              <a:gs pos="0">
                <a:schemeClr val="accent4">
                  <a:alpha val="70000"/>
                </a:schemeClr>
              </a:gs>
              <a:gs pos="96000">
                <a:schemeClr val="accent4">
                  <a:lumMod val="50000"/>
                  <a:alpha val="70000"/>
                </a:schemeClr>
              </a:gs>
            </a:gsLst>
            <a:lin ang="8100000" scaled="1"/>
            <a:tileRect/>
          </a:gradFill>
          <a:ln w="6350"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BA2BB1-889A-E047-06B1-A5D809FC4C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2795E459-0E2D-A5FA-C589-9A7FDDD09D18}"/>
              </a:ext>
            </a:extLst>
          </p:cNvPr>
          <p:cNvSpPr txBox="1">
            <a:spLocks/>
          </p:cNvSpPr>
          <p:nvPr/>
        </p:nvSpPr>
        <p:spPr bwMode="gray">
          <a:xfrm>
            <a:off x="550863" y="432000"/>
            <a:ext cx="5643108" cy="738000"/>
          </a:xfrm>
          <a:prstGeom prst="rect">
            <a:avLst/>
          </a:prstGeom>
        </p:spPr>
        <p:txBody>
          <a:bodyPr vert="horz" lIns="0" tIns="0" rIns="1260000" bIns="0" rtlCol="0" anchor="b">
            <a:noAutofit/>
          </a:bodyPr>
          <a:lstStyle>
            <a:lvl1pPr algn="l" defTabSz="1083747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Contact Details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C929D28F-263F-28A3-0756-F27F0519256F}"/>
              </a:ext>
            </a:extLst>
          </p:cNvPr>
          <p:cNvGrpSpPr/>
          <p:nvPr/>
        </p:nvGrpSpPr>
        <p:grpSpPr>
          <a:xfrm>
            <a:off x="8589890" y="4373400"/>
            <a:ext cx="2394857" cy="1690638"/>
            <a:chOff x="9481385" y="4373400"/>
            <a:chExt cx="2394857" cy="1690638"/>
          </a:xfrm>
        </p:grpSpPr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284B165D-9F03-40C5-AD91-C7E8D5F4F9F1}"/>
                </a:ext>
              </a:extLst>
            </p:cNvPr>
            <p:cNvSpPr txBox="1"/>
            <p:nvPr/>
          </p:nvSpPr>
          <p:spPr>
            <a:xfrm>
              <a:off x="9481385" y="4373400"/>
              <a:ext cx="2393646" cy="25935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FEV Consulting Inc.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7BEDDF82-DA61-4F58-2DB1-624D3FA3DE1B}"/>
                </a:ext>
              </a:extLst>
            </p:cNvPr>
            <p:cNvSpPr txBox="1"/>
            <p:nvPr/>
          </p:nvSpPr>
          <p:spPr>
            <a:xfrm>
              <a:off x="9481385" y="4751467"/>
              <a:ext cx="2394857" cy="131257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r>
                <a:rPr lang="it-IT" sz="1200" dirty="0">
                  <a:solidFill>
                    <a:schemeClr val="bg1"/>
                  </a:solidFill>
                  <a:latin typeface="+mn-lt"/>
                </a:rPr>
                <a:t>444 N Michigan Avenue</a:t>
              </a:r>
            </a:p>
            <a:p>
              <a:r>
                <a:rPr lang="it-IT" sz="1200" dirty="0">
                  <a:solidFill>
                    <a:schemeClr val="bg1"/>
                  </a:solidFill>
                  <a:latin typeface="+mn-lt"/>
                </a:rPr>
                <a:t>Chicago, Il, 60611</a:t>
              </a:r>
            </a:p>
            <a:p>
              <a:endParaRPr lang="en-US" sz="1200" dirty="0">
                <a:solidFill>
                  <a:schemeClr val="bg1"/>
                </a:solidFill>
              </a:endParaRPr>
            </a:p>
            <a:p>
              <a:r>
                <a:rPr lang="en-US" sz="1200" dirty="0">
                  <a:solidFill>
                    <a:schemeClr val="bg1"/>
                  </a:solidFill>
                </a:rPr>
                <a:t>consulting@fev.com</a:t>
              </a:r>
            </a:p>
            <a:p>
              <a:r>
                <a:rPr lang="en-US" sz="1200" dirty="0">
                  <a:solidFill>
                    <a:schemeClr val="bg1"/>
                  </a:solidFill>
                </a:rPr>
                <a:t>www.fev-consulting.com</a:t>
              </a:r>
            </a:p>
            <a:p>
              <a:endParaRPr lang="en-US" sz="1200" dirty="0" err="1">
                <a:solidFill>
                  <a:schemeClr val="bg1"/>
                </a:solidFill>
                <a:latin typeface="+mn-lt"/>
              </a:endParaRPr>
            </a:p>
          </p:txBody>
        </p:sp>
      </p:grpSp>
      <p:pic>
        <p:nvPicPr>
          <p:cNvPr id="18" name="Bullet_Teal">
            <a:extLst>
              <a:ext uri="{FF2B5EF4-FFF2-40B4-BE49-F238E27FC236}">
                <a16:creationId xmlns:a16="http://schemas.microsoft.com/office/drawing/2014/main" id="{E448D9C6-BF2E-129D-840C-F5A8B2A2A76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359889" y="4348000"/>
            <a:ext cx="978195" cy="1318076"/>
          </a:xfrm>
          <a:prstGeom prst="rect">
            <a:avLst/>
          </a:prstGeom>
        </p:spPr>
      </p:pic>
      <p:grpSp>
        <p:nvGrpSpPr>
          <p:cNvPr id="38" name="Gruppieren 12">
            <a:extLst>
              <a:ext uri="{FF2B5EF4-FFF2-40B4-BE49-F238E27FC236}">
                <a16:creationId xmlns:a16="http://schemas.microsoft.com/office/drawing/2014/main" id="{D187C2F7-6C39-C0A9-C42E-489FD80ADB3C}"/>
              </a:ext>
            </a:extLst>
          </p:cNvPr>
          <p:cNvGrpSpPr/>
          <p:nvPr/>
        </p:nvGrpSpPr>
        <p:grpSpPr>
          <a:xfrm>
            <a:off x="550863" y="4348000"/>
            <a:ext cx="2468819" cy="1716038"/>
            <a:chOff x="550863" y="4348000"/>
            <a:chExt cx="2468819" cy="1716038"/>
          </a:xfrm>
        </p:grpSpPr>
        <p:sp>
          <p:nvSpPr>
            <p:cNvPr id="40" name="Textfeld 7">
              <a:extLst>
                <a:ext uri="{FF2B5EF4-FFF2-40B4-BE49-F238E27FC236}">
                  <a16:creationId xmlns:a16="http://schemas.microsoft.com/office/drawing/2014/main" id="{A8A88319-F38D-EC1F-6F83-449E937D81DF}"/>
                </a:ext>
              </a:extLst>
            </p:cNvPr>
            <p:cNvSpPr txBox="1"/>
            <p:nvPr/>
          </p:nvSpPr>
          <p:spPr>
            <a:xfrm>
              <a:off x="550863" y="4348000"/>
              <a:ext cx="2394334" cy="25935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  <a:latin typeface="+mn-lt"/>
                </a:rPr>
                <a:t>Tanguy Cabaret</a:t>
              </a:r>
            </a:p>
          </p:txBody>
        </p:sp>
        <p:sp>
          <p:nvSpPr>
            <p:cNvPr id="41" name="Textfeld 11">
              <a:extLst>
                <a:ext uri="{FF2B5EF4-FFF2-40B4-BE49-F238E27FC236}">
                  <a16:creationId xmlns:a16="http://schemas.microsoft.com/office/drawing/2014/main" id="{0FEB2E86-0CEF-F843-628F-5079D8E85C84}"/>
                </a:ext>
              </a:extLst>
            </p:cNvPr>
            <p:cNvSpPr txBox="1"/>
            <p:nvPr/>
          </p:nvSpPr>
          <p:spPr>
            <a:xfrm>
              <a:off x="550863" y="4751467"/>
              <a:ext cx="2468819" cy="131257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</a:rPr>
                <a:t>Consultant</a:t>
              </a:r>
              <a:endParaRPr lang="en-US" sz="1200" dirty="0">
                <a:solidFill>
                  <a:schemeClr val="bg1"/>
                </a:solidFill>
                <a:latin typeface="+mn-lt"/>
              </a:endParaRPr>
            </a:p>
            <a:p>
              <a:r>
                <a:rPr lang="en-US" sz="1200" dirty="0">
                  <a:solidFill>
                    <a:schemeClr val="bg1"/>
                  </a:solidFill>
                </a:rPr>
                <a:t>FEV CONSULTING</a:t>
              </a:r>
            </a:p>
            <a:p>
              <a:endParaRPr lang="en-US" sz="1200" dirty="0">
                <a:solidFill>
                  <a:schemeClr val="bg1"/>
                </a:solidFill>
              </a:endParaRPr>
            </a:p>
            <a:p>
              <a:endParaRPr lang="en-US" sz="1200" dirty="0">
                <a:solidFill>
                  <a:schemeClr val="bg1"/>
                </a:solidFill>
              </a:endParaRPr>
            </a:p>
            <a:p>
              <a:r>
                <a:rPr lang="en-US" sz="1200" dirty="0">
                  <a:solidFill>
                    <a:schemeClr val="bg1"/>
                  </a:solidFill>
                </a:rPr>
                <a:t>+1 248 739 2611</a:t>
              </a:r>
            </a:p>
            <a:p>
              <a:r>
                <a:rPr lang="en-US" sz="1200" dirty="0">
                  <a:solidFill>
                    <a:schemeClr val="bg1"/>
                  </a:solidFill>
                </a:rPr>
                <a:t>cabaret@fev.com</a:t>
              </a: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7A3012-E236-5965-3D4C-D4C31BC3DB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2" name="Tanguy Cabaret" descr="Ein Bild, das Menschliches Gesicht, Person, Mann, Kleidung enthält.&#10;&#10;Automatisch generierte Beschreibung">
            <a:extLst>
              <a:ext uri="{FF2B5EF4-FFF2-40B4-BE49-F238E27FC236}">
                <a16:creationId xmlns:a16="http://schemas.microsoft.com/office/drawing/2014/main" id="{5E789FDC-0186-4BBC-EA25-967946B669D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/>
          <a:srcRect l="20576" r="26329"/>
          <a:stretch/>
        </p:blipFill>
        <p:spPr>
          <a:xfrm>
            <a:off x="550999" y="1622282"/>
            <a:ext cx="2160000" cy="2392148"/>
          </a:xfrm>
          <a:prstGeom prst="roundRect">
            <a:avLst>
              <a:gd name="adj" fmla="val 2352"/>
            </a:avLst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3460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:a14="http://schemas.microsoft.com/office/drawing/2010/main" xmlns:asvg="http://schemas.microsoft.com/office/drawing/2016/SVG/main" xmlns:v="urn:schemas-microsoft-com:vml" xmlns:a16="http://schemas.microsoft.com/office/drawing/2014/main"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>
            <a:extLst>
              <a:ext uri="{FF2B5EF4-FFF2-40B4-BE49-F238E27FC236}">
                <a16:creationId xmlns:a16="http://schemas.microsoft.com/office/drawing/2014/main" id="{FF650070-03D6-1214-83B5-3D3845F187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650070-03D6-1214-83B5-3D3845F18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62" name="Picture 14" descr="World premiere of the new battery electric Freightliner eCascadia | Daimler">
            <a:extLst>
              <a:ext uri="{FF2B5EF4-FFF2-40B4-BE49-F238E27FC236}">
                <a16:creationId xmlns:a16="http://schemas.microsoft.com/office/drawing/2014/main" id="{E58C1DB3-0A84-93AA-4599-129D100DE9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18" b="17146"/>
          <a:stretch/>
        </p:blipFill>
        <p:spPr bwMode="auto">
          <a:xfrm>
            <a:off x="-5332" y="0"/>
            <a:ext cx="1219733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AED7DB22-B51A-423F-D4D8-DBF9F4D52C19}"/>
              </a:ext>
            </a:extLst>
          </p:cNvPr>
          <p:cNvSpPr/>
          <p:nvPr/>
        </p:nvSpPr>
        <p:spPr>
          <a:xfrm flipV="1">
            <a:off x="-1732" y="-2"/>
            <a:ext cx="12192000" cy="6858001"/>
          </a:xfrm>
          <a:prstGeom prst="rtTriangle">
            <a:avLst/>
          </a:prstGeom>
          <a:solidFill>
            <a:schemeClr val="tx2">
              <a:alpha val="71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7E60512D-E8D4-2C14-4282-F0857E60115F}"/>
              </a:ext>
            </a:extLst>
          </p:cNvPr>
          <p:cNvSpPr/>
          <p:nvPr/>
        </p:nvSpPr>
        <p:spPr>
          <a:xfrm flipH="1">
            <a:off x="0" y="-1"/>
            <a:ext cx="12192000" cy="6858001"/>
          </a:xfrm>
          <a:prstGeom prst="rtTriangle">
            <a:avLst/>
          </a:prstGeom>
          <a:solidFill>
            <a:schemeClr val="accent4">
              <a:alpha val="75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F2715E-FE58-E372-C28A-92812B6EAB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68F7A9D-AD44-BA8C-B42B-689643DB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F7BE86-8587-EC27-8B7B-00FDF8FFE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D780BD-A73A-569C-2299-C393542304D0}"/>
              </a:ext>
            </a:extLst>
          </p:cNvPr>
          <p:cNvSpPr txBox="1"/>
          <p:nvPr/>
        </p:nvSpPr>
        <p:spPr>
          <a:xfrm>
            <a:off x="1870788" y="2489987"/>
            <a:ext cx="3564379" cy="7638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2000" b="1">
                <a:solidFill>
                  <a:schemeClr val="bg1"/>
                </a:solidFill>
              </a:rPr>
              <a:t>Thermal</a:t>
            </a:r>
            <a:r>
              <a:rPr lang="en-US" sz="2000" b="1">
                <a:solidFill>
                  <a:schemeClr val="bg1"/>
                </a:solidFill>
                <a:latin typeface="+mn-lt"/>
              </a:rPr>
              <a:t> </a:t>
            </a:r>
            <a:r>
              <a:rPr lang="en-US" sz="2000" b="1">
                <a:solidFill>
                  <a:schemeClr val="bg1"/>
                </a:solidFill>
              </a:rPr>
              <a:t>Management system</a:t>
            </a:r>
            <a:endParaRPr lang="en-US" sz="2000" b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FEV Consulting Logo white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83855D04-08AD-1F58-20E2-F531A568C70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0654270" y="759898"/>
            <a:ext cx="986867" cy="375446"/>
          </a:xfrm>
          <a:prstGeom prst="rect">
            <a:avLst/>
          </a:prstGeom>
        </p:spPr>
      </p:pic>
      <p:sp>
        <p:nvSpPr>
          <p:cNvPr id="6" name="TextBox535631421">
            <a:extLst>
              <a:ext uri="{FF2B5EF4-FFF2-40B4-BE49-F238E27FC236}">
                <a16:creationId xmlns:a16="http://schemas.microsoft.com/office/drawing/2014/main" id="{670D8F60-1E37-7767-13F6-3A76F114E161}"/>
              </a:ext>
            </a:extLst>
          </p:cNvPr>
          <p:cNvSpPr txBox="1"/>
          <p:nvPr/>
        </p:nvSpPr>
        <p:spPr>
          <a:xfrm>
            <a:off x="555806" y="2543278"/>
            <a:ext cx="1181761" cy="492443"/>
          </a:xfrm>
          <a:prstGeom prst="roundRect">
            <a:avLst>
              <a:gd name="adj" fmla="val 1626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05A4688-3362-4CA9-107B-4321E751E21A}"/>
              </a:ext>
            </a:extLst>
          </p:cNvPr>
          <p:cNvSpPr txBox="1"/>
          <p:nvPr/>
        </p:nvSpPr>
        <p:spPr>
          <a:xfrm>
            <a:off x="672505" y="2562540"/>
            <a:ext cx="948363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3200" b="1">
                <a:solidFill>
                  <a:schemeClr val="tx2"/>
                </a:solidFill>
                <a:latin typeface="+mn-lt"/>
              </a:rPr>
              <a:t>BEV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EE14BBF-60C8-77C0-85DC-64AED80D4163}"/>
              </a:ext>
            </a:extLst>
          </p:cNvPr>
          <p:cNvSpPr txBox="1"/>
          <p:nvPr/>
        </p:nvSpPr>
        <p:spPr>
          <a:xfrm>
            <a:off x="8625889" y="4519825"/>
            <a:ext cx="3564379" cy="7638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2000" b="1">
                <a:solidFill>
                  <a:schemeClr val="bg1"/>
                </a:solidFill>
              </a:rPr>
              <a:t>Thermal</a:t>
            </a:r>
            <a:r>
              <a:rPr lang="en-US" sz="2000" b="1">
                <a:solidFill>
                  <a:schemeClr val="bg1"/>
                </a:solidFill>
                <a:latin typeface="+mn-lt"/>
              </a:rPr>
              <a:t> </a:t>
            </a:r>
            <a:r>
              <a:rPr lang="en-US" sz="2000" b="1">
                <a:solidFill>
                  <a:schemeClr val="bg1"/>
                </a:solidFill>
              </a:rPr>
              <a:t>Management system</a:t>
            </a:r>
            <a:endParaRPr lang="en-US" sz="2000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Box535631421">
            <a:extLst>
              <a:ext uri="{FF2B5EF4-FFF2-40B4-BE49-F238E27FC236}">
                <a16:creationId xmlns:a16="http://schemas.microsoft.com/office/drawing/2014/main" id="{E2006CFB-F336-A2D0-FA0D-F32C421D5EC9}"/>
              </a:ext>
            </a:extLst>
          </p:cNvPr>
          <p:cNvSpPr txBox="1"/>
          <p:nvPr/>
        </p:nvSpPr>
        <p:spPr>
          <a:xfrm>
            <a:off x="7310907" y="4573116"/>
            <a:ext cx="1181761" cy="492443"/>
          </a:xfrm>
          <a:prstGeom prst="roundRect">
            <a:avLst>
              <a:gd name="adj" fmla="val 1626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96DA7BF-E364-938D-3995-621A2B4270CD}"/>
              </a:ext>
            </a:extLst>
          </p:cNvPr>
          <p:cNvSpPr txBox="1"/>
          <p:nvPr/>
        </p:nvSpPr>
        <p:spPr>
          <a:xfrm>
            <a:off x="7310907" y="4592378"/>
            <a:ext cx="118176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3200" b="1">
                <a:solidFill>
                  <a:schemeClr val="accent4"/>
                </a:solidFill>
                <a:latin typeface="+mn-lt"/>
              </a:rPr>
              <a:t>FCEV</a:t>
            </a:r>
          </a:p>
        </p:txBody>
      </p:sp>
      <p:sp>
        <p:nvSpPr>
          <p:cNvPr id="13" name="TextBox535631421">
            <a:extLst>
              <a:ext uri="{FF2B5EF4-FFF2-40B4-BE49-F238E27FC236}">
                <a16:creationId xmlns:a16="http://schemas.microsoft.com/office/drawing/2014/main" id="{A0945AD8-D9B0-9270-DF95-932439CF1006}"/>
              </a:ext>
            </a:extLst>
          </p:cNvPr>
          <p:cNvSpPr txBox="1"/>
          <p:nvPr/>
        </p:nvSpPr>
        <p:spPr>
          <a:xfrm>
            <a:off x="5296613" y="2631745"/>
            <a:ext cx="1579725" cy="1575461"/>
          </a:xfrm>
          <a:prstGeom prst="ellipse">
            <a:avLst/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DC2B314-1B85-EACF-F5B5-D193BF156E96}"/>
              </a:ext>
            </a:extLst>
          </p:cNvPr>
          <p:cNvCxnSpPr>
            <a:cxnSpLocks/>
          </p:cNvCxnSpPr>
          <p:nvPr/>
        </p:nvCxnSpPr>
        <p:spPr>
          <a:xfrm flipV="1">
            <a:off x="5400486" y="3035721"/>
            <a:ext cx="1378980" cy="780628"/>
          </a:xfrm>
          <a:prstGeom prst="line">
            <a:avLst/>
          </a:prstGeom>
          <a:ln w="6350">
            <a:solidFill>
              <a:schemeClr val="accent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24C60D0-0AA9-2A16-DD18-55D10BDE2F60}"/>
              </a:ext>
            </a:extLst>
          </p:cNvPr>
          <p:cNvGrpSpPr/>
          <p:nvPr/>
        </p:nvGrpSpPr>
        <p:grpSpPr>
          <a:xfrm>
            <a:off x="5908925" y="3605615"/>
            <a:ext cx="653046" cy="389121"/>
            <a:chOff x="12285628" y="3612111"/>
            <a:chExt cx="1172527" cy="698658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78FF218-4EC4-09C0-C65E-73958D7015BF}"/>
                </a:ext>
              </a:extLst>
            </p:cNvPr>
            <p:cNvSpPr/>
            <p:nvPr/>
          </p:nvSpPr>
          <p:spPr>
            <a:xfrm>
              <a:off x="12414406" y="3612111"/>
              <a:ext cx="156686" cy="186404"/>
            </a:xfrm>
            <a:custGeom>
              <a:avLst/>
              <a:gdLst>
                <a:gd name="connsiteX0" fmla="*/ 23813 w 156686"/>
                <a:gd name="connsiteY0" fmla="*/ 186404 h 186404"/>
                <a:gd name="connsiteX1" fmla="*/ 23813 w 156686"/>
                <a:gd name="connsiteY1" fmla="*/ 84296 h 186404"/>
                <a:gd name="connsiteX2" fmla="*/ 84296 w 156686"/>
                <a:gd name="connsiteY2" fmla="*/ 23813 h 186404"/>
                <a:gd name="connsiteX3" fmla="*/ 156686 w 156686"/>
                <a:gd name="connsiteY3" fmla="*/ 23813 h 186404"/>
                <a:gd name="connsiteX4" fmla="*/ 156686 w 156686"/>
                <a:gd name="connsiteY4" fmla="*/ 0 h 186404"/>
                <a:gd name="connsiteX5" fmla="*/ 84296 w 156686"/>
                <a:gd name="connsiteY5" fmla="*/ 0 h 186404"/>
                <a:gd name="connsiteX6" fmla="*/ 0 w 156686"/>
                <a:gd name="connsiteY6" fmla="*/ 84296 h 186404"/>
                <a:gd name="connsiteX7" fmla="*/ 0 w 156686"/>
                <a:gd name="connsiteY7" fmla="*/ 186404 h 186404"/>
                <a:gd name="connsiteX8" fmla="*/ 23813 w 156686"/>
                <a:gd name="connsiteY8" fmla="*/ 186404 h 18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6686" h="186404">
                  <a:moveTo>
                    <a:pt x="23813" y="186404"/>
                  </a:moveTo>
                  <a:lnTo>
                    <a:pt x="23813" y="84296"/>
                  </a:lnTo>
                  <a:cubicBezTo>
                    <a:pt x="23813" y="50959"/>
                    <a:pt x="50959" y="23813"/>
                    <a:pt x="84296" y="23813"/>
                  </a:cubicBezTo>
                  <a:lnTo>
                    <a:pt x="156686" y="23813"/>
                  </a:lnTo>
                  <a:lnTo>
                    <a:pt x="156686" y="0"/>
                  </a:lnTo>
                  <a:lnTo>
                    <a:pt x="84296" y="0"/>
                  </a:lnTo>
                  <a:cubicBezTo>
                    <a:pt x="37814" y="0"/>
                    <a:pt x="0" y="37814"/>
                    <a:pt x="0" y="84296"/>
                  </a:cubicBezTo>
                  <a:lnTo>
                    <a:pt x="0" y="186404"/>
                  </a:lnTo>
                  <a:lnTo>
                    <a:pt x="23813" y="186404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29865E6-B129-EF84-405C-50598A85C008}"/>
                </a:ext>
              </a:extLst>
            </p:cNvPr>
            <p:cNvSpPr/>
            <p:nvPr/>
          </p:nvSpPr>
          <p:spPr>
            <a:xfrm>
              <a:off x="12414406" y="3612111"/>
              <a:ext cx="917447" cy="698658"/>
            </a:xfrm>
            <a:custGeom>
              <a:avLst/>
              <a:gdLst>
                <a:gd name="connsiteX0" fmla="*/ 833152 w 917447"/>
                <a:gd name="connsiteY0" fmla="*/ 0 h 698658"/>
                <a:gd name="connsiteX1" fmla="*/ 178403 w 917447"/>
                <a:gd name="connsiteY1" fmla="*/ 0 h 698658"/>
                <a:gd name="connsiteX2" fmla="*/ 178403 w 917447"/>
                <a:gd name="connsiteY2" fmla="*/ 23813 h 698658"/>
                <a:gd name="connsiteX3" fmla="*/ 833152 w 917447"/>
                <a:gd name="connsiteY3" fmla="*/ 23813 h 698658"/>
                <a:gd name="connsiteX4" fmla="*/ 893636 w 917447"/>
                <a:gd name="connsiteY4" fmla="*/ 84296 h 698658"/>
                <a:gd name="connsiteX5" fmla="*/ 893636 w 917447"/>
                <a:gd name="connsiteY5" fmla="*/ 614363 h 698658"/>
                <a:gd name="connsiteX6" fmla="*/ 833152 w 917447"/>
                <a:gd name="connsiteY6" fmla="*/ 674846 h 698658"/>
                <a:gd name="connsiteX7" fmla="*/ 84296 w 917447"/>
                <a:gd name="connsiteY7" fmla="*/ 674846 h 698658"/>
                <a:gd name="connsiteX8" fmla="*/ 23813 w 917447"/>
                <a:gd name="connsiteY8" fmla="*/ 614363 h 698658"/>
                <a:gd name="connsiteX9" fmla="*/ 23813 w 917447"/>
                <a:gd name="connsiteY9" fmla="*/ 217646 h 698658"/>
                <a:gd name="connsiteX10" fmla="*/ 0 w 917447"/>
                <a:gd name="connsiteY10" fmla="*/ 217646 h 698658"/>
                <a:gd name="connsiteX11" fmla="*/ 0 w 917447"/>
                <a:gd name="connsiteY11" fmla="*/ 614363 h 698658"/>
                <a:gd name="connsiteX12" fmla="*/ 84296 w 917447"/>
                <a:gd name="connsiteY12" fmla="*/ 698659 h 698658"/>
                <a:gd name="connsiteX13" fmla="*/ 833152 w 917447"/>
                <a:gd name="connsiteY13" fmla="*/ 698659 h 698658"/>
                <a:gd name="connsiteX14" fmla="*/ 917448 w 917447"/>
                <a:gd name="connsiteY14" fmla="*/ 614363 h 698658"/>
                <a:gd name="connsiteX15" fmla="*/ 917448 w 917447"/>
                <a:gd name="connsiteY15" fmla="*/ 84296 h 698658"/>
                <a:gd name="connsiteX16" fmla="*/ 833152 w 917447"/>
                <a:gd name="connsiteY16" fmla="*/ 0 h 698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17447" h="698658">
                  <a:moveTo>
                    <a:pt x="833152" y="0"/>
                  </a:moveTo>
                  <a:lnTo>
                    <a:pt x="178403" y="0"/>
                  </a:lnTo>
                  <a:lnTo>
                    <a:pt x="178403" y="23813"/>
                  </a:lnTo>
                  <a:lnTo>
                    <a:pt x="833152" y="23813"/>
                  </a:lnTo>
                  <a:cubicBezTo>
                    <a:pt x="866489" y="23813"/>
                    <a:pt x="893636" y="50959"/>
                    <a:pt x="893636" y="84296"/>
                  </a:cubicBezTo>
                  <a:lnTo>
                    <a:pt x="893636" y="614363"/>
                  </a:lnTo>
                  <a:cubicBezTo>
                    <a:pt x="893636" y="647700"/>
                    <a:pt x="866489" y="674846"/>
                    <a:pt x="833152" y="674846"/>
                  </a:cubicBezTo>
                  <a:lnTo>
                    <a:pt x="84296" y="674846"/>
                  </a:lnTo>
                  <a:cubicBezTo>
                    <a:pt x="50959" y="674846"/>
                    <a:pt x="23813" y="647700"/>
                    <a:pt x="23813" y="614363"/>
                  </a:cubicBezTo>
                  <a:lnTo>
                    <a:pt x="23813" y="217646"/>
                  </a:lnTo>
                  <a:lnTo>
                    <a:pt x="0" y="217646"/>
                  </a:lnTo>
                  <a:lnTo>
                    <a:pt x="0" y="614363"/>
                  </a:lnTo>
                  <a:cubicBezTo>
                    <a:pt x="0" y="660845"/>
                    <a:pt x="37814" y="698659"/>
                    <a:pt x="84296" y="698659"/>
                  </a:cubicBezTo>
                  <a:lnTo>
                    <a:pt x="833152" y="698659"/>
                  </a:lnTo>
                  <a:cubicBezTo>
                    <a:pt x="879634" y="698659"/>
                    <a:pt x="917448" y="660845"/>
                    <a:pt x="917448" y="614363"/>
                  </a:cubicBezTo>
                  <a:lnTo>
                    <a:pt x="917448" y="84296"/>
                  </a:lnTo>
                  <a:cubicBezTo>
                    <a:pt x="917448" y="37814"/>
                    <a:pt x="879634" y="0"/>
                    <a:pt x="833152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C90E136-859A-77B7-E2FC-25461B2BC38A}"/>
                </a:ext>
              </a:extLst>
            </p:cNvPr>
            <p:cNvSpPr/>
            <p:nvPr/>
          </p:nvSpPr>
          <p:spPr>
            <a:xfrm>
              <a:off x="12666819" y="3727078"/>
              <a:ext cx="23812" cy="468820"/>
            </a:xfrm>
            <a:custGeom>
              <a:avLst/>
              <a:gdLst>
                <a:gd name="connsiteX0" fmla="*/ 11906 w 23812"/>
                <a:gd name="connsiteY0" fmla="*/ 468821 h 468820"/>
                <a:gd name="connsiteX1" fmla="*/ 0 w 23812"/>
                <a:gd name="connsiteY1" fmla="*/ 456914 h 468820"/>
                <a:gd name="connsiteX2" fmla="*/ 0 w 23812"/>
                <a:gd name="connsiteY2" fmla="*/ 11906 h 468820"/>
                <a:gd name="connsiteX3" fmla="*/ 11906 w 23812"/>
                <a:gd name="connsiteY3" fmla="*/ 0 h 468820"/>
                <a:gd name="connsiteX4" fmla="*/ 23813 w 23812"/>
                <a:gd name="connsiteY4" fmla="*/ 11906 h 468820"/>
                <a:gd name="connsiteX5" fmla="*/ 23813 w 23812"/>
                <a:gd name="connsiteY5" fmla="*/ 456914 h 468820"/>
                <a:gd name="connsiteX6" fmla="*/ 11906 w 23812"/>
                <a:gd name="connsiteY6" fmla="*/ 468821 h 46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468820">
                  <a:moveTo>
                    <a:pt x="11906" y="468821"/>
                  </a:moveTo>
                  <a:cubicBezTo>
                    <a:pt x="5334" y="468821"/>
                    <a:pt x="0" y="463487"/>
                    <a:pt x="0" y="456914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8" y="0"/>
                    <a:pt x="23813" y="5334"/>
                    <a:pt x="23813" y="11906"/>
                  </a:cubicBezTo>
                  <a:lnTo>
                    <a:pt x="23813" y="456914"/>
                  </a:lnTo>
                  <a:cubicBezTo>
                    <a:pt x="23813" y="463487"/>
                    <a:pt x="18478" y="468821"/>
                    <a:pt x="11906" y="46882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433EF89-C52B-ED13-732B-5DAC96BC44B8}"/>
                </a:ext>
              </a:extLst>
            </p:cNvPr>
            <p:cNvSpPr/>
            <p:nvPr/>
          </p:nvSpPr>
          <p:spPr>
            <a:xfrm>
              <a:off x="12857319" y="3727078"/>
              <a:ext cx="23812" cy="468820"/>
            </a:xfrm>
            <a:custGeom>
              <a:avLst/>
              <a:gdLst>
                <a:gd name="connsiteX0" fmla="*/ 11906 w 23812"/>
                <a:gd name="connsiteY0" fmla="*/ 468821 h 468820"/>
                <a:gd name="connsiteX1" fmla="*/ 0 w 23812"/>
                <a:gd name="connsiteY1" fmla="*/ 456914 h 468820"/>
                <a:gd name="connsiteX2" fmla="*/ 0 w 23812"/>
                <a:gd name="connsiteY2" fmla="*/ 11906 h 468820"/>
                <a:gd name="connsiteX3" fmla="*/ 11906 w 23812"/>
                <a:gd name="connsiteY3" fmla="*/ 0 h 468820"/>
                <a:gd name="connsiteX4" fmla="*/ 23813 w 23812"/>
                <a:gd name="connsiteY4" fmla="*/ 11906 h 468820"/>
                <a:gd name="connsiteX5" fmla="*/ 23813 w 23812"/>
                <a:gd name="connsiteY5" fmla="*/ 456914 h 468820"/>
                <a:gd name="connsiteX6" fmla="*/ 11906 w 23812"/>
                <a:gd name="connsiteY6" fmla="*/ 468821 h 46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468820">
                  <a:moveTo>
                    <a:pt x="11906" y="468821"/>
                  </a:moveTo>
                  <a:cubicBezTo>
                    <a:pt x="5334" y="468821"/>
                    <a:pt x="0" y="463487"/>
                    <a:pt x="0" y="456914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9" y="0"/>
                    <a:pt x="23813" y="5334"/>
                    <a:pt x="23813" y="11906"/>
                  </a:cubicBezTo>
                  <a:lnTo>
                    <a:pt x="23813" y="456914"/>
                  </a:lnTo>
                  <a:cubicBezTo>
                    <a:pt x="23813" y="463487"/>
                    <a:pt x="18479" y="468821"/>
                    <a:pt x="11906" y="46882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F5C72EE-E673-BBE3-1F98-4E2DAC78A267}"/>
                </a:ext>
              </a:extLst>
            </p:cNvPr>
            <p:cNvSpPr/>
            <p:nvPr/>
          </p:nvSpPr>
          <p:spPr>
            <a:xfrm>
              <a:off x="13047819" y="3727078"/>
              <a:ext cx="23812" cy="468820"/>
            </a:xfrm>
            <a:custGeom>
              <a:avLst/>
              <a:gdLst>
                <a:gd name="connsiteX0" fmla="*/ 11906 w 23812"/>
                <a:gd name="connsiteY0" fmla="*/ 468821 h 468820"/>
                <a:gd name="connsiteX1" fmla="*/ 0 w 23812"/>
                <a:gd name="connsiteY1" fmla="*/ 456914 h 468820"/>
                <a:gd name="connsiteX2" fmla="*/ 0 w 23812"/>
                <a:gd name="connsiteY2" fmla="*/ 11906 h 468820"/>
                <a:gd name="connsiteX3" fmla="*/ 11906 w 23812"/>
                <a:gd name="connsiteY3" fmla="*/ 0 h 468820"/>
                <a:gd name="connsiteX4" fmla="*/ 23813 w 23812"/>
                <a:gd name="connsiteY4" fmla="*/ 11906 h 468820"/>
                <a:gd name="connsiteX5" fmla="*/ 23813 w 23812"/>
                <a:gd name="connsiteY5" fmla="*/ 456914 h 468820"/>
                <a:gd name="connsiteX6" fmla="*/ 11906 w 23812"/>
                <a:gd name="connsiteY6" fmla="*/ 468821 h 46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468820">
                  <a:moveTo>
                    <a:pt x="11906" y="468821"/>
                  </a:moveTo>
                  <a:cubicBezTo>
                    <a:pt x="5334" y="468821"/>
                    <a:pt x="0" y="463487"/>
                    <a:pt x="0" y="456914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9" y="0"/>
                    <a:pt x="23813" y="5334"/>
                    <a:pt x="23813" y="11906"/>
                  </a:cubicBezTo>
                  <a:lnTo>
                    <a:pt x="23813" y="456914"/>
                  </a:lnTo>
                  <a:cubicBezTo>
                    <a:pt x="23813" y="463487"/>
                    <a:pt x="18479" y="468821"/>
                    <a:pt x="11906" y="46882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3BA3EB4-90DB-6EDE-AF1C-8939A28777E2}"/>
                </a:ext>
              </a:extLst>
            </p:cNvPr>
            <p:cNvSpPr/>
            <p:nvPr/>
          </p:nvSpPr>
          <p:spPr>
            <a:xfrm>
              <a:off x="12285628" y="3820804"/>
              <a:ext cx="281368" cy="281368"/>
            </a:xfrm>
            <a:custGeom>
              <a:avLst/>
              <a:gdLst>
                <a:gd name="connsiteX0" fmla="*/ 281369 w 281368"/>
                <a:gd name="connsiteY0" fmla="*/ 140684 h 281368"/>
                <a:gd name="connsiteX1" fmla="*/ 140684 w 281368"/>
                <a:gd name="connsiteY1" fmla="*/ 281368 h 281368"/>
                <a:gd name="connsiteX2" fmla="*/ 0 w 281368"/>
                <a:gd name="connsiteY2" fmla="*/ 140684 h 281368"/>
                <a:gd name="connsiteX3" fmla="*/ 140684 w 281368"/>
                <a:gd name="connsiteY3" fmla="*/ 0 h 281368"/>
                <a:gd name="connsiteX4" fmla="*/ 281369 w 281368"/>
                <a:gd name="connsiteY4" fmla="*/ 140684 h 28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1368" h="281368">
                  <a:moveTo>
                    <a:pt x="281369" y="140684"/>
                  </a:moveTo>
                  <a:cubicBezTo>
                    <a:pt x="281369" y="218382"/>
                    <a:pt x="218382" y="281368"/>
                    <a:pt x="140684" y="281368"/>
                  </a:cubicBezTo>
                  <a:cubicBezTo>
                    <a:pt x="62986" y="281368"/>
                    <a:pt x="0" y="218382"/>
                    <a:pt x="0" y="140684"/>
                  </a:cubicBezTo>
                  <a:cubicBezTo>
                    <a:pt x="0" y="62986"/>
                    <a:pt x="62986" y="0"/>
                    <a:pt x="140684" y="0"/>
                  </a:cubicBezTo>
                  <a:cubicBezTo>
                    <a:pt x="218382" y="0"/>
                    <a:pt x="281369" y="62986"/>
                    <a:pt x="281369" y="14068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6AB3A843-2101-9019-E39A-B46F50EF8D94}"/>
                </a:ext>
              </a:extLst>
            </p:cNvPr>
            <p:cNvSpPr/>
            <p:nvPr/>
          </p:nvSpPr>
          <p:spPr>
            <a:xfrm>
              <a:off x="13176787" y="3820804"/>
              <a:ext cx="281368" cy="281368"/>
            </a:xfrm>
            <a:custGeom>
              <a:avLst/>
              <a:gdLst>
                <a:gd name="connsiteX0" fmla="*/ 281368 w 281368"/>
                <a:gd name="connsiteY0" fmla="*/ 140684 h 281368"/>
                <a:gd name="connsiteX1" fmla="*/ 140684 w 281368"/>
                <a:gd name="connsiteY1" fmla="*/ 281368 h 281368"/>
                <a:gd name="connsiteX2" fmla="*/ 0 w 281368"/>
                <a:gd name="connsiteY2" fmla="*/ 140684 h 281368"/>
                <a:gd name="connsiteX3" fmla="*/ 140684 w 281368"/>
                <a:gd name="connsiteY3" fmla="*/ 0 h 281368"/>
                <a:gd name="connsiteX4" fmla="*/ 281368 w 281368"/>
                <a:gd name="connsiteY4" fmla="*/ 140684 h 28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1368" h="281368">
                  <a:moveTo>
                    <a:pt x="281368" y="140684"/>
                  </a:moveTo>
                  <a:cubicBezTo>
                    <a:pt x="281368" y="218382"/>
                    <a:pt x="218382" y="281368"/>
                    <a:pt x="140684" y="281368"/>
                  </a:cubicBezTo>
                  <a:cubicBezTo>
                    <a:pt x="62986" y="281368"/>
                    <a:pt x="0" y="218382"/>
                    <a:pt x="0" y="140684"/>
                  </a:cubicBezTo>
                  <a:cubicBezTo>
                    <a:pt x="0" y="62986"/>
                    <a:pt x="62987" y="0"/>
                    <a:pt x="140684" y="0"/>
                  </a:cubicBezTo>
                  <a:cubicBezTo>
                    <a:pt x="218382" y="0"/>
                    <a:pt x="281368" y="62986"/>
                    <a:pt x="281368" y="14068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0" name="631 fuel cell">
              <a:extLst>
                <a:ext uri="{FF2B5EF4-FFF2-40B4-BE49-F238E27FC236}">
                  <a16:creationId xmlns:a16="http://schemas.microsoft.com/office/drawing/2014/main" id="{EFAD1B98-DEBA-2105-A91D-91FFB7B5E8FB}"/>
                </a:ext>
              </a:extLst>
            </p:cNvPr>
            <p:cNvGrpSpPr/>
            <p:nvPr/>
          </p:nvGrpSpPr>
          <p:grpSpPr>
            <a:xfrm>
              <a:off x="12349446" y="3900052"/>
              <a:ext cx="161353" cy="140684"/>
              <a:chOff x="12349446" y="3900052"/>
              <a:chExt cx="161353" cy="140684"/>
            </a:xfrm>
            <a:solidFill>
              <a:srgbClr val="FFFFFF"/>
            </a:solidFill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1E59F3B3-2C3E-6A24-08B9-FB071FDE98C0}"/>
                  </a:ext>
                </a:extLst>
              </p:cNvPr>
              <p:cNvSpPr/>
              <p:nvPr/>
            </p:nvSpPr>
            <p:spPr>
              <a:xfrm>
                <a:off x="12349446" y="3900052"/>
                <a:ext cx="93725" cy="113061"/>
              </a:xfrm>
              <a:custGeom>
                <a:avLst/>
                <a:gdLst>
                  <a:gd name="connsiteX0" fmla="*/ 93726 w 93725"/>
                  <a:gd name="connsiteY0" fmla="*/ 0 h 113061"/>
                  <a:gd name="connsiteX1" fmla="*/ 93726 w 93725"/>
                  <a:gd name="connsiteY1" fmla="*/ 113062 h 113061"/>
                  <a:gd name="connsiteX2" fmla="*/ 71057 w 93725"/>
                  <a:gd name="connsiteY2" fmla="*/ 113062 h 113061"/>
                  <a:gd name="connsiteX3" fmla="*/ 71057 w 93725"/>
                  <a:gd name="connsiteY3" fmla="*/ 64961 h 113061"/>
                  <a:gd name="connsiteX4" fmla="*/ 22670 w 93725"/>
                  <a:gd name="connsiteY4" fmla="*/ 64961 h 113061"/>
                  <a:gd name="connsiteX5" fmla="*/ 22670 w 93725"/>
                  <a:gd name="connsiteY5" fmla="*/ 113062 h 113061"/>
                  <a:gd name="connsiteX6" fmla="*/ 0 w 93725"/>
                  <a:gd name="connsiteY6" fmla="*/ 113062 h 113061"/>
                  <a:gd name="connsiteX7" fmla="*/ 0 w 93725"/>
                  <a:gd name="connsiteY7" fmla="*/ 0 h 113061"/>
                  <a:gd name="connsiteX8" fmla="*/ 22670 w 93725"/>
                  <a:gd name="connsiteY8" fmla="*/ 0 h 113061"/>
                  <a:gd name="connsiteX9" fmla="*/ 22670 w 93725"/>
                  <a:gd name="connsiteY9" fmla="*/ 46482 h 113061"/>
                  <a:gd name="connsiteX10" fmla="*/ 71057 w 93725"/>
                  <a:gd name="connsiteY10" fmla="*/ 46482 h 113061"/>
                  <a:gd name="connsiteX11" fmla="*/ 71057 w 93725"/>
                  <a:gd name="connsiteY11" fmla="*/ 0 h 113061"/>
                  <a:gd name="connsiteX12" fmla="*/ 93726 w 93725"/>
                  <a:gd name="connsiteY12" fmla="*/ 0 h 11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3725" h="113061">
                    <a:moveTo>
                      <a:pt x="93726" y="0"/>
                    </a:moveTo>
                    <a:lnTo>
                      <a:pt x="93726" y="113062"/>
                    </a:lnTo>
                    <a:lnTo>
                      <a:pt x="71057" y="113062"/>
                    </a:lnTo>
                    <a:lnTo>
                      <a:pt x="71057" y="64961"/>
                    </a:lnTo>
                    <a:lnTo>
                      <a:pt x="22670" y="64961"/>
                    </a:lnTo>
                    <a:lnTo>
                      <a:pt x="22670" y="113062"/>
                    </a:lnTo>
                    <a:lnTo>
                      <a:pt x="0" y="113062"/>
                    </a:lnTo>
                    <a:lnTo>
                      <a:pt x="0" y="0"/>
                    </a:lnTo>
                    <a:lnTo>
                      <a:pt x="22670" y="0"/>
                    </a:lnTo>
                    <a:lnTo>
                      <a:pt x="22670" y="46482"/>
                    </a:lnTo>
                    <a:lnTo>
                      <a:pt x="71057" y="46482"/>
                    </a:lnTo>
                    <a:lnTo>
                      <a:pt x="71057" y="0"/>
                    </a:lnTo>
                    <a:lnTo>
                      <a:pt x="93726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357465DD-367E-AACE-E4AD-04A1BF525A24}"/>
                  </a:ext>
                </a:extLst>
              </p:cNvPr>
              <p:cNvSpPr/>
              <p:nvPr/>
            </p:nvSpPr>
            <p:spPr>
              <a:xfrm>
                <a:off x="12458888" y="3963679"/>
                <a:ext cx="51911" cy="77057"/>
              </a:xfrm>
              <a:custGeom>
                <a:avLst/>
                <a:gdLst>
                  <a:gd name="connsiteX0" fmla="*/ 5620 w 51911"/>
                  <a:gd name="connsiteY0" fmla="*/ 61436 h 77057"/>
                  <a:gd name="connsiteX1" fmla="*/ 21622 w 51911"/>
                  <a:gd name="connsiteY1" fmla="*/ 47434 h 77057"/>
                  <a:gd name="connsiteX2" fmla="*/ 31528 w 51911"/>
                  <a:gd name="connsiteY2" fmla="*/ 35719 h 77057"/>
                  <a:gd name="connsiteX3" fmla="*/ 35528 w 51911"/>
                  <a:gd name="connsiteY3" fmla="*/ 23813 h 77057"/>
                  <a:gd name="connsiteX4" fmla="*/ 33052 w 51911"/>
                  <a:gd name="connsiteY4" fmla="*/ 15430 h 77057"/>
                  <a:gd name="connsiteX5" fmla="*/ 25337 w 51911"/>
                  <a:gd name="connsiteY5" fmla="*/ 12382 h 77057"/>
                  <a:gd name="connsiteX6" fmla="*/ 17240 w 51911"/>
                  <a:gd name="connsiteY6" fmla="*/ 15907 h 77057"/>
                  <a:gd name="connsiteX7" fmla="*/ 14288 w 51911"/>
                  <a:gd name="connsiteY7" fmla="*/ 25527 h 77057"/>
                  <a:gd name="connsiteX8" fmla="*/ 0 w 51911"/>
                  <a:gd name="connsiteY8" fmla="*/ 25527 h 77057"/>
                  <a:gd name="connsiteX9" fmla="*/ 7525 w 51911"/>
                  <a:gd name="connsiteY9" fmla="*/ 6477 h 77057"/>
                  <a:gd name="connsiteX10" fmla="*/ 25527 w 51911"/>
                  <a:gd name="connsiteY10" fmla="*/ 0 h 77057"/>
                  <a:gd name="connsiteX11" fmla="*/ 43815 w 51911"/>
                  <a:gd name="connsiteY11" fmla="*/ 6382 h 77057"/>
                  <a:gd name="connsiteX12" fmla="*/ 50197 w 51911"/>
                  <a:gd name="connsiteY12" fmla="*/ 23050 h 77057"/>
                  <a:gd name="connsiteX13" fmla="*/ 45815 w 51911"/>
                  <a:gd name="connsiteY13" fmla="*/ 38671 h 77057"/>
                  <a:gd name="connsiteX14" fmla="*/ 35719 w 51911"/>
                  <a:gd name="connsiteY14" fmla="*/ 51625 h 77057"/>
                  <a:gd name="connsiteX15" fmla="*/ 20955 w 51911"/>
                  <a:gd name="connsiteY15" fmla="*/ 64865 h 77057"/>
                  <a:gd name="connsiteX16" fmla="*/ 51911 w 51911"/>
                  <a:gd name="connsiteY16" fmla="*/ 64865 h 77057"/>
                  <a:gd name="connsiteX17" fmla="*/ 51911 w 51911"/>
                  <a:gd name="connsiteY17" fmla="*/ 77057 h 77057"/>
                  <a:gd name="connsiteX18" fmla="*/ 191 w 51911"/>
                  <a:gd name="connsiteY18" fmla="*/ 77057 h 77057"/>
                  <a:gd name="connsiteX19" fmla="*/ 191 w 51911"/>
                  <a:gd name="connsiteY19" fmla="*/ 66199 h 77057"/>
                  <a:gd name="connsiteX20" fmla="*/ 5620 w 51911"/>
                  <a:gd name="connsiteY20" fmla="*/ 61627 h 7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1911" h="77057">
                    <a:moveTo>
                      <a:pt x="5620" y="61436"/>
                    </a:moveTo>
                    <a:cubicBezTo>
                      <a:pt x="12383" y="55816"/>
                      <a:pt x="17717" y="51149"/>
                      <a:pt x="21622" y="47434"/>
                    </a:cubicBezTo>
                    <a:cubicBezTo>
                      <a:pt x="25622" y="43720"/>
                      <a:pt x="28956" y="39815"/>
                      <a:pt x="31528" y="35719"/>
                    </a:cubicBezTo>
                    <a:cubicBezTo>
                      <a:pt x="34195" y="31623"/>
                      <a:pt x="35528" y="27718"/>
                      <a:pt x="35528" y="23813"/>
                    </a:cubicBezTo>
                    <a:cubicBezTo>
                      <a:pt x="35528" y="20193"/>
                      <a:pt x="34671" y="17431"/>
                      <a:pt x="33052" y="15430"/>
                    </a:cubicBezTo>
                    <a:cubicBezTo>
                      <a:pt x="31433" y="13430"/>
                      <a:pt x="28766" y="12382"/>
                      <a:pt x="25337" y="12382"/>
                    </a:cubicBezTo>
                    <a:cubicBezTo>
                      <a:pt x="21908" y="12382"/>
                      <a:pt x="19145" y="13525"/>
                      <a:pt x="17240" y="15907"/>
                    </a:cubicBezTo>
                    <a:cubicBezTo>
                      <a:pt x="15335" y="18288"/>
                      <a:pt x="14383" y="21431"/>
                      <a:pt x="14288" y="25527"/>
                    </a:cubicBezTo>
                    <a:lnTo>
                      <a:pt x="0" y="25527"/>
                    </a:lnTo>
                    <a:cubicBezTo>
                      <a:pt x="286" y="17145"/>
                      <a:pt x="2762" y="10763"/>
                      <a:pt x="7525" y="6477"/>
                    </a:cubicBezTo>
                    <a:cubicBezTo>
                      <a:pt x="12287" y="2095"/>
                      <a:pt x="18193" y="0"/>
                      <a:pt x="25527" y="0"/>
                    </a:cubicBezTo>
                    <a:cubicBezTo>
                      <a:pt x="33528" y="0"/>
                      <a:pt x="39624" y="2095"/>
                      <a:pt x="43815" y="6382"/>
                    </a:cubicBezTo>
                    <a:cubicBezTo>
                      <a:pt x="48006" y="10668"/>
                      <a:pt x="50197" y="16192"/>
                      <a:pt x="50197" y="23050"/>
                    </a:cubicBezTo>
                    <a:cubicBezTo>
                      <a:pt x="50197" y="28480"/>
                      <a:pt x="48768" y="33718"/>
                      <a:pt x="45815" y="38671"/>
                    </a:cubicBezTo>
                    <a:cubicBezTo>
                      <a:pt x="42863" y="43624"/>
                      <a:pt x="39529" y="47911"/>
                      <a:pt x="35719" y="51625"/>
                    </a:cubicBezTo>
                    <a:cubicBezTo>
                      <a:pt x="31909" y="55245"/>
                      <a:pt x="27051" y="59722"/>
                      <a:pt x="20955" y="64865"/>
                    </a:cubicBezTo>
                    <a:lnTo>
                      <a:pt x="51911" y="64865"/>
                    </a:lnTo>
                    <a:lnTo>
                      <a:pt x="51911" y="77057"/>
                    </a:lnTo>
                    <a:lnTo>
                      <a:pt x="191" y="77057"/>
                    </a:lnTo>
                    <a:lnTo>
                      <a:pt x="191" y="66199"/>
                    </a:lnTo>
                    <a:lnTo>
                      <a:pt x="5620" y="6162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43" name="631 fuel cell">
              <a:extLst>
                <a:ext uri="{FF2B5EF4-FFF2-40B4-BE49-F238E27FC236}">
                  <a16:creationId xmlns:a16="http://schemas.microsoft.com/office/drawing/2014/main" id="{C7AA0F8A-0CFC-C189-05B5-722C965CC99A}"/>
                </a:ext>
              </a:extLst>
            </p:cNvPr>
            <p:cNvGrpSpPr/>
            <p:nvPr/>
          </p:nvGrpSpPr>
          <p:grpSpPr>
            <a:xfrm>
              <a:off x="13231651" y="3898433"/>
              <a:ext cx="178022" cy="142303"/>
              <a:chOff x="13231651" y="3898433"/>
              <a:chExt cx="178022" cy="142303"/>
            </a:xfrm>
            <a:solidFill>
              <a:srgbClr val="FFFFFF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1286F6E3-3295-6684-3ECC-6FB6AA1102BA}"/>
                  </a:ext>
                </a:extLst>
              </p:cNvPr>
              <p:cNvSpPr/>
              <p:nvPr/>
            </p:nvSpPr>
            <p:spPr>
              <a:xfrm>
                <a:off x="13231651" y="3898433"/>
                <a:ext cx="115824" cy="115823"/>
              </a:xfrm>
              <a:custGeom>
                <a:avLst/>
                <a:gdLst>
                  <a:gd name="connsiteX0" fmla="*/ 28861 w 115824"/>
                  <a:gd name="connsiteY0" fmla="*/ 108395 h 115823"/>
                  <a:gd name="connsiteX1" fmla="*/ 7811 w 115824"/>
                  <a:gd name="connsiteY1" fmla="*/ 87725 h 115823"/>
                  <a:gd name="connsiteX2" fmla="*/ 0 w 115824"/>
                  <a:gd name="connsiteY2" fmla="*/ 57817 h 115823"/>
                  <a:gd name="connsiteX3" fmla="*/ 7811 w 115824"/>
                  <a:gd name="connsiteY3" fmla="*/ 28099 h 115823"/>
                  <a:gd name="connsiteX4" fmla="*/ 28861 w 115824"/>
                  <a:gd name="connsiteY4" fmla="*/ 7430 h 115823"/>
                  <a:gd name="connsiteX5" fmla="*/ 58007 w 115824"/>
                  <a:gd name="connsiteY5" fmla="*/ 0 h 115823"/>
                  <a:gd name="connsiteX6" fmla="*/ 87249 w 115824"/>
                  <a:gd name="connsiteY6" fmla="*/ 7430 h 115823"/>
                  <a:gd name="connsiteX7" fmla="*/ 108109 w 115824"/>
                  <a:gd name="connsiteY7" fmla="*/ 28099 h 115823"/>
                  <a:gd name="connsiteX8" fmla="*/ 115824 w 115824"/>
                  <a:gd name="connsiteY8" fmla="*/ 57817 h 115823"/>
                  <a:gd name="connsiteX9" fmla="*/ 108109 w 115824"/>
                  <a:gd name="connsiteY9" fmla="*/ 87725 h 115823"/>
                  <a:gd name="connsiteX10" fmla="*/ 87154 w 115824"/>
                  <a:gd name="connsiteY10" fmla="*/ 108395 h 115823"/>
                  <a:gd name="connsiteX11" fmla="*/ 58007 w 115824"/>
                  <a:gd name="connsiteY11" fmla="*/ 115824 h 115823"/>
                  <a:gd name="connsiteX12" fmla="*/ 28861 w 115824"/>
                  <a:gd name="connsiteY12" fmla="*/ 108395 h 115823"/>
                  <a:gd name="connsiteX13" fmla="*/ 76010 w 115824"/>
                  <a:gd name="connsiteY13" fmla="*/ 90964 h 115823"/>
                  <a:gd name="connsiteX14" fmla="*/ 88202 w 115824"/>
                  <a:gd name="connsiteY14" fmla="*/ 77819 h 115823"/>
                  <a:gd name="connsiteX15" fmla="*/ 92583 w 115824"/>
                  <a:gd name="connsiteY15" fmla="*/ 57912 h 115823"/>
                  <a:gd name="connsiteX16" fmla="*/ 88202 w 115824"/>
                  <a:gd name="connsiteY16" fmla="*/ 38100 h 115823"/>
                  <a:gd name="connsiteX17" fmla="*/ 76010 w 115824"/>
                  <a:gd name="connsiteY17" fmla="*/ 25051 h 115823"/>
                  <a:gd name="connsiteX18" fmla="*/ 58007 w 115824"/>
                  <a:gd name="connsiteY18" fmla="*/ 20574 h 115823"/>
                  <a:gd name="connsiteX19" fmla="*/ 39910 w 115824"/>
                  <a:gd name="connsiteY19" fmla="*/ 25051 h 115823"/>
                  <a:gd name="connsiteX20" fmla="*/ 27718 w 115824"/>
                  <a:gd name="connsiteY20" fmla="*/ 38100 h 115823"/>
                  <a:gd name="connsiteX21" fmla="*/ 23336 w 115824"/>
                  <a:gd name="connsiteY21" fmla="*/ 57912 h 115823"/>
                  <a:gd name="connsiteX22" fmla="*/ 27718 w 115824"/>
                  <a:gd name="connsiteY22" fmla="*/ 77819 h 115823"/>
                  <a:gd name="connsiteX23" fmla="*/ 39910 w 115824"/>
                  <a:gd name="connsiteY23" fmla="*/ 90964 h 115823"/>
                  <a:gd name="connsiteX24" fmla="*/ 58007 w 115824"/>
                  <a:gd name="connsiteY24" fmla="*/ 95536 h 115823"/>
                  <a:gd name="connsiteX25" fmla="*/ 76010 w 115824"/>
                  <a:gd name="connsiteY25" fmla="*/ 90964 h 115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15824" h="115823">
                    <a:moveTo>
                      <a:pt x="28861" y="108395"/>
                    </a:moveTo>
                    <a:cubicBezTo>
                      <a:pt x="20003" y="103441"/>
                      <a:pt x="12954" y="96583"/>
                      <a:pt x="7811" y="87725"/>
                    </a:cubicBezTo>
                    <a:cubicBezTo>
                      <a:pt x="2667" y="78962"/>
                      <a:pt x="0" y="68961"/>
                      <a:pt x="0" y="57817"/>
                    </a:cubicBezTo>
                    <a:cubicBezTo>
                      <a:pt x="0" y="46672"/>
                      <a:pt x="2572" y="36862"/>
                      <a:pt x="7811" y="28099"/>
                    </a:cubicBezTo>
                    <a:cubicBezTo>
                      <a:pt x="12954" y="19336"/>
                      <a:pt x="20003" y="12382"/>
                      <a:pt x="28861" y="7430"/>
                    </a:cubicBezTo>
                    <a:cubicBezTo>
                      <a:pt x="37719" y="2476"/>
                      <a:pt x="47435" y="0"/>
                      <a:pt x="58007" y="0"/>
                    </a:cubicBezTo>
                    <a:cubicBezTo>
                      <a:pt x="68580" y="0"/>
                      <a:pt x="78391" y="2476"/>
                      <a:pt x="87249" y="7430"/>
                    </a:cubicBezTo>
                    <a:cubicBezTo>
                      <a:pt x="96107" y="12382"/>
                      <a:pt x="102965" y="19241"/>
                      <a:pt x="108109" y="28099"/>
                    </a:cubicBezTo>
                    <a:cubicBezTo>
                      <a:pt x="113252" y="36862"/>
                      <a:pt x="115824" y="46768"/>
                      <a:pt x="115824" y="57817"/>
                    </a:cubicBezTo>
                    <a:cubicBezTo>
                      <a:pt x="115824" y="68866"/>
                      <a:pt x="113252" y="78867"/>
                      <a:pt x="108109" y="87725"/>
                    </a:cubicBezTo>
                    <a:cubicBezTo>
                      <a:pt x="102965" y="96488"/>
                      <a:pt x="96012" y="103441"/>
                      <a:pt x="87154" y="108395"/>
                    </a:cubicBezTo>
                    <a:cubicBezTo>
                      <a:pt x="78296" y="113347"/>
                      <a:pt x="68580" y="115824"/>
                      <a:pt x="58007" y="115824"/>
                    </a:cubicBezTo>
                    <a:cubicBezTo>
                      <a:pt x="47435" y="115824"/>
                      <a:pt x="37719" y="113347"/>
                      <a:pt x="28861" y="108395"/>
                    </a:cubicBezTo>
                    <a:close/>
                    <a:moveTo>
                      <a:pt x="76010" y="90964"/>
                    </a:moveTo>
                    <a:cubicBezTo>
                      <a:pt x="81153" y="87916"/>
                      <a:pt x="85249" y="83439"/>
                      <a:pt x="88202" y="77819"/>
                    </a:cubicBezTo>
                    <a:cubicBezTo>
                      <a:pt x="91154" y="72104"/>
                      <a:pt x="92583" y="65437"/>
                      <a:pt x="92583" y="57912"/>
                    </a:cubicBezTo>
                    <a:cubicBezTo>
                      <a:pt x="92583" y="50387"/>
                      <a:pt x="91154" y="43720"/>
                      <a:pt x="88202" y="38100"/>
                    </a:cubicBezTo>
                    <a:cubicBezTo>
                      <a:pt x="85249" y="32385"/>
                      <a:pt x="81248" y="28099"/>
                      <a:pt x="76010" y="25051"/>
                    </a:cubicBezTo>
                    <a:cubicBezTo>
                      <a:pt x="70866" y="22003"/>
                      <a:pt x="64865" y="20574"/>
                      <a:pt x="58007" y="20574"/>
                    </a:cubicBezTo>
                    <a:cubicBezTo>
                      <a:pt x="51149" y="20574"/>
                      <a:pt x="45149" y="22098"/>
                      <a:pt x="39910" y="25051"/>
                    </a:cubicBezTo>
                    <a:cubicBezTo>
                      <a:pt x="34671" y="28099"/>
                      <a:pt x="30575" y="32385"/>
                      <a:pt x="27718" y="38100"/>
                    </a:cubicBezTo>
                    <a:cubicBezTo>
                      <a:pt x="24765" y="43815"/>
                      <a:pt x="23336" y="50387"/>
                      <a:pt x="23336" y="57912"/>
                    </a:cubicBezTo>
                    <a:cubicBezTo>
                      <a:pt x="23336" y="65437"/>
                      <a:pt x="24765" y="72104"/>
                      <a:pt x="27718" y="77819"/>
                    </a:cubicBezTo>
                    <a:cubicBezTo>
                      <a:pt x="30671" y="83534"/>
                      <a:pt x="34671" y="87916"/>
                      <a:pt x="39910" y="90964"/>
                    </a:cubicBezTo>
                    <a:cubicBezTo>
                      <a:pt x="45149" y="94012"/>
                      <a:pt x="51149" y="95536"/>
                      <a:pt x="58007" y="95536"/>
                    </a:cubicBezTo>
                    <a:cubicBezTo>
                      <a:pt x="64865" y="95536"/>
                      <a:pt x="70771" y="94012"/>
                      <a:pt x="76010" y="9096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9CC0E1FD-DB05-1069-6D3E-FCB28DCB10EF}"/>
                  </a:ext>
                </a:extLst>
              </p:cNvPr>
              <p:cNvSpPr/>
              <p:nvPr/>
            </p:nvSpPr>
            <p:spPr>
              <a:xfrm>
                <a:off x="13357667" y="3963679"/>
                <a:ext cx="52006" cy="77057"/>
              </a:xfrm>
              <a:custGeom>
                <a:avLst/>
                <a:gdLst>
                  <a:gd name="connsiteX0" fmla="*/ 5620 w 52006"/>
                  <a:gd name="connsiteY0" fmla="*/ 61436 h 77057"/>
                  <a:gd name="connsiteX1" fmla="*/ 21622 w 52006"/>
                  <a:gd name="connsiteY1" fmla="*/ 47434 h 77057"/>
                  <a:gd name="connsiteX2" fmla="*/ 31528 w 52006"/>
                  <a:gd name="connsiteY2" fmla="*/ 35719 h 77057"/>
                  <a:gd name="connsiteX3" fmla="*/ 35528 w 52006"/>
                  <a:gd name="connsiteY3" fmla="*/ 23813 h 77057"/>
                  <a:gd name="connsiteX4" fmla="*/ 33052 w 52006"/>
                  <a:gd name="connsiteY4" fmla="*/ 15430 h 77057"/>
                  <a:gd name="connsiteX5" fmla="*/ 25337 w 52006"/>
                  <a:gd name="connsiteY5" fmla="*/ 12382 h 77057"/>
                  <a:gd name="connsiteX6" fmla="*/ 17240 w 52006"/>
                  <a:gd name="connsiteY6" fmla="*/ 15907 h 77057"/>
                  <a:gd name="connsiteX7" fmla="*/ 14288 w 52006"/>
                  <a:gd name="connsiteY7" fmla="*/ 25527 h 77057"/>
                  <a:gd name="connsiteX8" fmla="*/ 0 w 52006"/>
                  <a:gd name="connsiteY8" fmla="*/ 25527 h 77057"/>
                  <a:gd name="connsiteX9" fmla="*/ 7525 w 52006"/>
                  <a:gd name="connsiteY9" fmla="*/ 6477 h 77057"/>
                  <a:gd name="connsiteX10" fmla="*/ 25527 w 52006"/>
                  <a:gd name="connsiteY10" fmla="*/ 0 h 77057"/>
                  <a:gd name="connsiteX11" fmla="*/ 43910 w 52006"/>
                  <a:gd name="connsiteY11" fmla="*/ 6382 h 77057"/>
                  <a:gd name="connsiteX12" fmla="*/ 50292 w 52006"/>
                  <a:gd name="connsiteY12" fmla="*/ 23050 h 77057"/>
                  <a:gd name="connsiteX13" fmla="*/ 45910 w 52006"/>
                  <a:gd name="connsiteY13" fmla="*/ 38671 h 77057"/>
                  <a:gd name="connsiteX14" fmla="*/ 35814 w 52006"/>
                  <a:gd name="connsiteY14" fmla="*/ 51625 h 77057"/>
                  <a:gd name="connsiteX15" fmla="*/ 21050 w 52006"/>
                  <a:gd name="connsiteY15" fmla="*/ 64865 h 77057"/>
                  <a:gd name="connsiteX16" fmla="*/ 52006 w 52006"/>
                  <a:gd name="connsiteY16" fmla="*/ 64865 h 77057"/>
                  <a:gd name="connsiteX17" fmla="*/ 52006 w 52006"/>
                  <a:gd name="connsiteY17" fmla="*/ 77057 h 77057"/>
                  <a:gd name="connsiteX18" fmla="*/ 286 w 52006"/>
                  <a:gd name="connsiteY18" fmla="*/ 77057 h 77057"/>
                  <a:gd name="connsiteX19" fmla="*/ 286 w 52006"/>
                  <a:gd name="connsiteY19" fmla="*/ 66199 h 77057"/>
                  <a:gd name="connsiteX20" fmla="*/ 5715 w 52006"/>
                  <a:gd name="connsiteY20" fmla="*/ 61627 h 7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2006" h="77057">
                    <a:moveTo>
                      <a:pt x="5620" y="61436"/>
                    </a:moveTo>
                    <a:cubicBezTo>
                      <a:pt x="12287" y="55816"/>
                      <a:pt x="17717" y="51149"/>
                      <a:pt x="21622" y="47434"/>
                    </a:cubicBezTo>
                    <a:cubicBezTo>
                      <a:pt x="25622" y="43720"/>
                      <a:pt x="28956" y="39815"/>
                      <a:pt x="31528" y="35719"/>
                    </a:cubicBezTo>
                    <a:cubicBezTo>
                      <a:pt x="34195" y="31623"/>
                      <a:pt x="35528" y="27718"/>
                      <a:pt x="35528" y="23813"/>
                    </a:cubicBezTo>
                    <a:cubicBezTo>
                      <a:pt x="35528" y="20193"/>
                      <a:pt x="34671" y="17431"/>
                      <a:pt x="33052" y="15430"/>
                    </a:cubicBezTo>
                    <a:cubicBezTo>
                      <a:pt x="31337" y="13430"/>
                      <a:pt x="28765" y="12382"/>
                      <a:pt x="25337" y="12382"/>
                    </a:cubicBezTo>
                    <a:cubicBezTo>
                      <a:pt x="21908" y="12382"/>
                      <a:pt x="19145" y="13525"/>
                      <a:pt x="17240" y="15907"/>
                    </a:cubicBezTo>
                    <a:cubicBezTo>
                      <a:pt x="15335" y="18288"/>
                      <a:pt x="14383" y="21431"/>
                      <a:pt x="14288" y="25527"/>
                    </a:cubicBezTo>
                    <a:lnTo>
                      <a:pt x="0" y="25527"/>
                    </a:lnTo>
                    <a:cubicBezTo>
                      <a:pt x="286" y="17145"/>
                      <a:pt x="2762" y="10763"/>
                      <a:pt x="7525" y="6477"/>
                    </a:cubicBezTo>
                    <a:cubicBezTo>
                      <a:pt x="12287" y="2095"/>
                      <a:pt x="18193" y="0"/>
                      <a:pt x="25527" y="0"/>
                    </a:cubicBezTo>
                    <a:cubicBezTo>
                      <a:pt x="33528" y="0"/>
                      <a:pt x="39624" y="2095"/>
                      <a:pt x="43910" y="6382"/>
                    </a:cubicBezTo>
                    <a:cubicBezTo>
                      <a:pt x="48196" y="10668"/>
                      <a:pt x="50292" y="16192"/>
                      <a:pt x="50292" y="23050"/>
                    </a:cubicBezTo>
                    <a:cubicBezTo>
                      <a:pt x="50292" y="28480"/>
                      <a:pt x="48863" y="33718"/>
                      <a:pt x="45910" y="38671"/>
                    </a:cubicBezTo>
                    <a:cubicBezTo>
                      <a:pt x="42958" y="43624"/>
                      <a:pt x="39624" y="47911"/>
                      <a:pt x="35814" y="51625"/>
                    </a:cubicBezTo>
                    <a:cubicBezTo>
                      <a:pt x="32004" y="55340"/>
                      <a:pt x="27146" y="59722"/>
                      <a:pt x="21050" y="64865"/>
                    </a:cubicBezTo>
                    <a:lnTo>
                      <a:pt x="52006" y="64865"/>
                    </a:lnTo>
                    <a:lnTo>
                      <a:pt x="52006" y="77057"/>
                    </a:lnTo>
                    <a:lnTo>
                      <a:pt x="286" y="77057"/>
                    </a:lnTo>
                    <a:lnTo>
                      <a:pt x="286" y="66199"/>
                    </a:lnTo>
                    <a:lnTo>
                      <a:pt x="5715" y="6162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47" name="137 battery full (red)">
            <a:extLst>
              <a:ext uri="{FF2B5EF4-FFF2-40B4-BE49-F238E27FC236}">
                <a16:creationId xmlns:a16="http://schemas.microsoft.com/office/drawing/2014/main" id="{1400277D-A4A1-FB04-BBCA-B34D32146DC5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69848" y="2685512"/>
            <a:ext cx="851490" cy="851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016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>
            <a:extLst>
              <a:ext uri="{FF2B5EF4-FFF2-40B4-BE49-F238E27FC236}">
                <a16:creationId xmlns:a16="http://schemas.microsoft.com/office/drawing/2014/main" id="{FF650070-03D6-1214-83B5-3D3845F187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650070-03D6-1214-83B5-3D3845F18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62" name="Picture 14" descr="World premiere of the new battery electric Freightliner eCascadia | Daimler">
            <a:extLst>
              <a:ext uri="{FF2B5EF4-FFF2-40B4-BE49-F238E27FC236}">
                <a16:creationId xmlns:a16="http://schemas.microsoft.com/office/drawing/2014/main" id="{E58C1DB3-0A84-93AA-4599-129D100DE9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18" b="17146"/>
          <a:stretch/>
        </p:blipFill>
        <p:spPr bwMode="auto">
          <a:xfrm>
            <a:off x="-5332" y="-4"/>
            <a:ext cx="12197332" cy="6858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AED7DB22-B51A-423F-D4D8-DBF9F4D52C19}"/>
              </a:ext>
            </a:extLst>
          </p:cNvPr>
          <p:cNvSpPr/>
          <p:nvPr/>
        </p:nvSpPr>
        <p:spPr>
          <a:xfrm flipV="1">
            <a:off x="-1732" y="-2"/>
            <a:ext cx="12192000" cy="6858001"/>
          </a:xfrm>
          <a:prstGeom prst="rtTriangle">
            <a:avLst/>
          </a:prstGeom>
          <a:solidFill>
            <a:schemeClr val="tx2">
              <a:alpha val="71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7E60512D-E8D4-2C14-4282-F0857E60115F}"/>
              </a:ext>
            </a:extLst>
          </p:cNvPr>
          <p:cNvSpPr/>
          <p:nvPr/>
        </p:nvSpPr>
        <p:spPr>
          <a:xfrm flipH="1">
            <a:off x="0" y="-1"/>
            <a:ext cx="12192000" cy="6858001"/>
          </a:xfrm>
          <a:prstGeom prst="rtTriangle">
            <a:avLst/>
          </a:prstGeom>
          <a:solidFill>
            <a:schemeClr val="accent4">
              <a:alpha val="75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F2715E-FE58-E372-C28A-92812B6EAB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5BEF61-A531-1CE0-A54D-E98BEE6BC5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68F7A9D-AD44-BA8C-B42B-689643DB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F7BE86-8587-EC27-8B7B-00FDF8FFE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D780BD-A73A-569C-2299-C393542304D0}"/>
              </a:ext>
            </a:extLst>
          </p:cNvPr>
          <p:cNvSpPr txBox="1"/>
          <p:nvPr/>
        </p:nvSpPr>
        <p:spPr>
          <a:xfrm>
            <a:off x="1870788" y="2489987"/>
            <a:ext cx="3564379" cy="7638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2000" b="1">
                <a:solidFill>
                  <a:schemeClr val="bg1"/>
                </a:solidFill>
              </a:rPr>
              <a:t>Thermal</a:t>
            </a:r>
            <a:r>
              <a:rPr lang="en-US" sz="2000" b="1">
                <a:solidFill>
                  <a:schemeClr val="bg1"/>
                </a:solidFill>
                <a:latin typeface="+mn-lt"/>
              </a:rPr>
              <a:t> </a:t>
            </a:r>
            <a:r>
              <a:rPr lang="en-US" sz="2000" b="1">
                <a:solidFill>
                  <a:schemeClr val="bg1"/>
                </a:solidFill>
              </a:rPr>
              <a:t>Management system</a:t>
            </a:r>
            <a:endParaRPr lang="en-US" sz="2000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535631421">
            <a:extLst>
              <a:ext uri="{FF2B5EF4-FFF2-40B4-BE49-F238E27FC236}">
                <a16:creationId xmlns:a16="http://schemas.microsoft.com/office/drawing/2014/main" id="{670D8F60-1E37-7767-13F6-3A76F114E161}"/>
              </a:ext>
            </a:extLst>
          </p:cNvPr>
          <p:cNvSpPr txBox="1"/>
          <p:nvPr/>
        </p:nvSpPr>
        <p:spPr>
          <a:xfrm>
            <a:off x="555806" y="2543278"/>
            <a:ext cx="1181761" cy="492443"/>
          </a:xfrm>
          <a:prstGeom prst="roundRect">
            <a:avLst>
              <a:gd name="adj" fmla="val 1626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05A4688-3362-4CA9-107B-4321E751E21A}"/>
              </a:ext>
            </a:extLst>
          </p:cNvPr>
          <p:cNvSpPr txBox="1"/>
          <p:nvPr/>
        </p:nvSpPr>
        <p:spPr>
          <a:xfrm>
            <a:off x="672505" y="2562540"/>
            <a:ext cx="948363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3200" b="1">
                <a:solidFill>
                  <a:schemeClr val="tx2"/>
                </a:solidFill>
                <a:latin typeface="+mn-lt"/>
              </a:rPr>
              <a:t>BEV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EE14BBF-60C8-77C0-85DC-64AED80D4163}"/>
              </a:ext>
            </a:extLst>
          </p:cNvPr>
          <p:cNvSpPr txBox="1"/>
          <p:nvPr/>
        </p:nvSpPr>
        <p:spPr>
          <a:xfrm>
            <a:off x="8625889" y="4519825"/>
            <a:ext cx="3564379" cy="7638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2000" b="1">
                <a:solidFill>
                  <a:schemeClr val="bg1"/>
                </a:solidFill>
              </a:rPr>
              <a:t>Thermal</a:t>
            </a:r>
            <a:r>
              <a:rPr lang="en-US" sz="2000" b="1">
                <a:solidFill>
                  <a:schemeClr val="bg1"/>
                </a:solidFill>
                <a:latin typeface="+mn-lt"/>
              </a:rPr>
              <a:t> </a:t>
            </a:r>
            <a:r>
              <a:rPr lang="en-US" sz="2000" b="1">
                <a:solidFill>
                  <a:schemeClr val="bg1"/>
                </a:solidFill>
              </a:rPr>
              <a:t>Management system</a:t>
            </a:r>
            <a:endParaRPr lang="en-US" sz="2000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Box535631421">
            <a:extLst>
              <a:ext uri="{FF2B5EF4-FFF2-40B4-BE49-F238E27FC236}">
                <a16:creationId xmlns:a16="http://schemas.microsoft.com/office/drawing/2014/main" id="{E2006CFB-F336-A2D0-FA0D-F32C421D5EC9}"/>
              </a:ext>
            </a:extLst>
          </p:cNvPr>
          <p:cNvSpPr txBox="1"/>
          <p:nvPr/>
        </p:nvSpPr>
        <p:spPr>
          <a:xfrm>
            <a:off x="7310907" y="4573116"/>
            <a:ext cx="1181761" cy="492443"/>
          </a:xfrm>
          <a:prstGeom prst="roundRect">
            <a:avLst>
              <a:gd name="adj" fmla="val 1626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96DA7BF-E364-938D-3995-621A2B4270CD}"/>
              </a:ext>
            </a:extLst>
          </p:cNvPr>
          <p:cNvSpPr txBox="1"/>
          <p:nvPr/>
        </p:nvSpPr>
        <p:spPr>
          <a:xfrm>
            <a:off x="7310907" y="4592378"/>
            <a:ext cx="118176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3200" b="1">
                <a:solidFill>
                  <a:schemeClr val="accent4"/>
                </a:solidFill>
                <a:latin typeface="+mn-lt"/>
              </a:rPr>
              <a:t>FCEV</a:t>
            </a:r>
          </a:p>
        </p:txBody>
      </p:sp>
      <p:sp>
        <p:nvSpPr>
          <p:cNvPr id="13" name="TextBox535631421">
            <a:extLst>
              <a:ext uri="{FF2B5EF4-FFF2-40B4-BE49-F238E27FC236}">
                <a16:creationId xmlns:a16="http://schemas.microsoft.com/office/drawing/2014/main" id="{A0945AD8-D9B0-9270-DF95-932439CF1006}"/>
              </a:ext>
            </a:extLst>
          </p:cNvPr>
          <p:cNvSpPr txBox="1"/>
          <p:nvPr/>
        </p:nvSpPr>
        <p:spPr>
          <a:xfrm>
            <a:off x="5296613" y="2631745"/>
            <a:ext cx="1579725" cy="1575461"/>
          </a:xfrm>
          <a:prstGeom prst="ellipse">
            <a:avLst/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DC2B314-1B85-EACF-F5B5-D193BF156E96}"/>
              </a:ext>
            </a:extLst>
          </p:cNvPr>
          <p:cNvCxnSpPr>
            <a:cxnSpLocks/>
          </p:cNvCxnSpPr>
          <p:nvPr/>
        </p:nvCxnSpPr>
        <p:spPr>
          <a:xfrm flipV="1">
            <a:off x="5400486" y="3035721"/>
            <a:ext cx="1378980" cy="780628"/>
          </a:xfrm>
          <a:prstGeom prst="line">
            <a:avLst/>
          </a:prstGeom>
          <a:ln w="6350">
            <a:solidFill>
              <a:schemeClr val="accent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24C60D0-0AA9-2A16-DD18-55D10BDE2F60}"/>
              </a:ext>
            </a:extLst>
          </p:cNvPr>
          <p:cNvGrpSpPr/>
          <p:nvPr/>
        </p:nvGrpSpPr>
        <p:grpSpPr>
          <a:xfrm>
            <a:off x="5908925" y="3605615"/>
            <a:ext cx="653046" cy="389121"/>
            <a:chOff x="12285628" y="3612111"/>
            <a:chExt cx="1172527" cy="698658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78FF218-4EC4-09C0-C65E-73958D7015BF}"/>
                </a:ext>
              </a:extLst>
            </p:cNvPr>
            <p:cNvSpPr/>
            <p:nvPr/>
          </p:nvSpPr>
          <p:spPr>
            <a:xfrm>
              <a:off x="12414406" y="3612111"/>
              <a:ext cx="156686" cy="186404"/>
            </a:xfrm>
            <a:custGeom>
              <a:avLst/>
              <a:gdLst>
                <a:gd name="connsiteX0" fmla="*/ 23813 w 156686"/>
                <a:gd name="connsiteY0" fmla="*/ 186404 h 186404"/>
                <a:gd name="connsiteX1" fmla="*/ 23813 w 156686"/>
                <a:gd name="connsiteY1" fmla="*/ 84296 h 186404"/>
                <a:gd name="connsiteX2" fmla="*/ 84296 w 156686"/>
                <a:gd name="connsiteY2" fmla="*/ 23813 h 186404"/>
                <a:gd name="connsiteX3" fmla="*/ 156686 w 156686"/>
                <a:gd name="connsiteY3" fmla="*/ 23813 h 186404"/>
                <a:gd name="connsiteX4" fmla="*/ 156686 w 156686"/>
                <a:gd name="connsiteY4" fmla="*/ 0 h 186404"/>
                <a:gd name="connsiteX5" fmla="*/ 84296 w 156686"/>
                <a:gd name="connsiteY5" fmla="*/ 0 h 186404"/>
                <a:gd name="connsiteX6" fmla="*/ 0 w 156686"/>
                <a:gd name="connsiteY6" fmla="*/ 84296 h 186404"/>
                <a:gd name="connsiteX7" fmla="*/ 0 w 156686"/>
                <a:gd name="connsiteY7" fmla="*/ 186404 h 186404"/>
                <a:gd name="connsiteX8" fmla="*/ 23813 w 156686"/>
                <a:gd name="connsiteY8" fmla="*/ 186404 h 18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6686" h="186404">
                  <a:moveTo>
                    <a:pt x="23813" y="186404"/>
                  </a:moveTo>
                  <a:lnTo>
                    <a:pt x="23813" y="84296"/>
                  </a:lnTo>
                  <a:cubicBezTo>
                    <a:pt x="23813" y="50959"/>
                    <a:pt x="50959" y="23813"/>
                    <a:pt x="84296" y="23813"/>
                  </a:cubicBezTo>
                  <a:lnTo>
                    <a:pt x="156686" y="23813"/>
                  </a:lnTo>
                  <a:lnTo>
                    <a:pt x="156686" y="0"/>
                  </a:lnTo>
                  <a:lnTo>
                    <a:pt x="84296" y="0"/>
                  </a:lnTo>
                  <a:cubicBezTo>
                    <a:pt x="37814" y="0"/>
                    <a:pt x="0" y="37814"/>
                    <a:pt x="0" y="84296"/>
                  </a:cubicBezTo>
                  <a:lnTo>
                    <a:pt x="0" y="186404"/>
                  </a:lnTo>
                  <a:lnTo>
                    <a:pt x="23813" y="186404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29865E6-B129-EF84-405C-50598A85C008}"/>
                </a:ext>
              </a:extLst>
            </p:cNvPr>
            <p:cNvSpPr/>
            <p:nvPr/>
          </p:nvSpPr>
          <p:spPr>
            <a:xfrm>
              <a:off x="12414406" y="3612111"/>
              <a:ext cx="917447" cy="698658"/>
            </a:xfrm>
            <a:custGeom>
              <a:avLst/>
              <a:gdLst>
                <a:gd name="connsiteX0" fmla="*/ 833152 w 917447"/>
                <a:gd name="connsiteY0" fmla="*/ 0 h 698658"/>
                <a:gd name="connsiteX1" fmla="*/ 178403 w 917447"/>
                <a:gd name="connsiteY1" fmla="*/ 0 h 698658"/>
                <a:gd name="connsiteX2" fmla="*/ 178403 w 917447"/>
                <a:gd name="connsiteY2" fmla="*/ 23813 h 698658"/>
                <a:gd name="connsiteX3" fmla="*/ 833152 w 917447"/>
                <a:gd name="connsiteY3" fmla="*/ 23813 h 698658"/>
                <a:gd name="connsiteX4" fmla="*/ 893636 w 917447"/>
                <a:gd name="connsiteY4" fmla="*/ 84296 h 698658"/>
                <a:gd name="connsiteX5" fmla="*/ 893636 w 917447"/>
                <a:gd name="connsiteY5" fmla="*/ 614363 h 698658"/>
                <a:gd name="connsiteX6" fmla="*/ 833152 w 917447"/>
                <a:gd name="connsiteY6" fmla="*/ 674846 h 698658"/>
                <a:gd name="connsiteX7" fmla="*/ 84296 w 917447"/>
                <a:gd name="connsiteY7" fmla="*/ 674846 h 698658"/>
                <a:gd name="connsiteX8" fmla="*/ 23813 w 917447"/>
                <a:gd name="connsiteY8" fmla="*/ 614363 h 698658"/>
                <a:gd name="connsiteX9" fmla="*/ 23813 w 917447"/>
                <a:gd name="connsiteY9" fmla="*/ 217646 h 698658"/>
                <a:gd name="connsiteX10" fmla="*/ 0 w 917447"/>
                <a:gd name="connsiteY10" fmla="*/ 217646 h 698658"/>
                <a:gd name="connsiteX11" fmla="*/ 0 w 917447"/>
                <a:gd name="connsiteY11" fmla="*/ 614363 h 698658"/>
                <a:gd name="connsiteX12" fmla="*/ 84296 w 917447"/>
                <a:gd name="connsiteY12" fmla="*/ 698659 h 698658"/>
                <a:gd name="connsiteX13" fmla="*/ 833152 w 917447"/>
                <a:gd name="connsiteY13" fmla="*/ 698659 h 698658"/>
                <a:gd name="connsiteX14" fmla="*/ 917448 w 917447"/>
                <a:gd name="connsiteY14" fmla="*/ 614363 h 698658"/>
                <a:gd name="connsiteX15" fmla="*/ 917448 w 917447"/>
                <a:gd name="connsiteY15" fmla="*/ 84296 h 698658"/>
                <a:gd name="connsiteX16" fmla="*/ 833152 w 917447"/>
                <a:gd name="connsiteY16" fmla="*/ 0 h 698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17447" h="698658">
                  <a:moveTo>
                    <a:pt x="833152" y="0"/>
                  </a:moveTo>
                  <a:lnTo>
                    <a:pt x="178403" y="0"/>
                  </a:lnTo>
                  <a:lnTo>
                    <a:pt x="178403" y="23813"/>
                  </a:lnTo>
                  <a:lnTo>
                    <a:pt x="833152" y="23813"/>
                  </a:lnTo>
                  <a:cubicBezTo>
                    <a:pt x="866489" y="23813"/>
                    <a:pt x="893636" y="50959"/>
                    <a:pt x="893636" y="84296"/>
                  </a:cubicBezTo>
                  <a:lnTo>
                    <a:pt x="893636" y="614363"/>
                  </a:lnTo>
                  <a:cubicBezTo>
                    <a:pt x="893636" y="647700"/>
                    <a:pt x="866489" y="674846"/>
                    <a:pt x="833152" y="674846"/>
                  </a:cubicBezTo>
                  <a:lnTo>
                    <a:pt x="84296" y="674846"/>
                  </a:lnTo>
                  <a:cubicBezTo>
                    <a:pt x="50959" y="674846"/>
                    <a:pt x="23813" y="647700"/>
                    <a:pt x="23813" y="614363"/>
                  </a:cubicBezTo>
                  <a:lnTo>
                    <a:pt x="23813" y="217646"/>
                  </a:lnTo>
                  <a:lnTo>
                    <a:pt x="0" y="217646"/>
                  </a:lnTo>
                  <a:lnTo>
                    <a:pt x="0" y="614363"/>
                  </a:lnTo>
                  <a:cubicBezTo>
                    <a:pt x="0" y="660845"/>
                    <a:pt x="37814" y="698659"/>
                    <a:pt x="84296" y="698659"/>
                  </a:cubicBezTo>
                  <a:lnTo>
                    <a:pt x="833152" y="698659"/>
                  </a:lnTo>
                  <a:cubicBezTo>
                    <a:pt x="879634" y="698659"/>
                    <a:pt x="917448" y="660845"/>
                    <a:pt x="917448" y="614363"/>
                  </a:cubicBezTo>
                  <a:lnTo>
                    <a:pt x="917448" y="84296"/>
                  </a:lnTo>
                  <a:cubicBezTo>
                    <a:pt x="917448" y="37814"/>
                    <a:pt x="879634" y="0"/>
                    <a:pt x="833152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C90E136-859A-77B7-E2FC-25461B2BC38A}"/>
                </a:ext>
              </a:extLst>
            </p:cNvPr>
            <p:cNvSpPr/>
            <p:nvPr/>
          </p:nvSpPr>
          <p:spPr>
            <a:xfrm>
              <a:off x="12666819" y="3727078"/>
              <a:ext cx="23812" cy="468820"/>
            </a:xfrm>
            <a:custGeom>
              <a:avLst/>
              <a:gdLst>
                <a:gd name="connsiteX0" fmla="*/ 11906 w 23812"/>
                <a:gd name="connsiteY0" fmla="*/ 468821 h 468820"/>
                <a:gd name="connsiteX1" fmla="*/ 0 w 23812"/>
                <a:gd name="connsiteY1" fmla="*/ 456914 h 468820"/>
                <a:gd name="connsiteX2" fmla="*/ 0 w 23812"/>
                <a:gd name="connsiteY2" fmla="*/ 11906 h 468820"/>
                <a:gd name="connsiteX3" fmla="*/ 11906 w 23812"/>
                <a:gd name="connsiteY3" fmla="*/ 0 h 468820"/>
                <a:gd name="connsiteX4" fmla="*/ 23813 w 23812"/>
                <a:gd name="connsiteY4" fmla="*/ 11906 h 468820"/>
                <a:gd name="connsiteX5" fmla="*/ 23813 w 23812"/>
                <a:gd name="connsiteY5" fmla="*/ 456914 h 468820"/>
                <a:gd name="connsiteX6" fmla="*/ 11906 w 23812"/>
                <a:gd name="connsiteY6" fmla="*/ 468821 h 46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468820">
                  <a:moveTo>
                    <a:pt x="11906" y="468821"/>
                  </a:moveTo>
                  <a:cubicBezTo>
                    <a:pt x="5334" y="468821"/>
                    <a:pt x="0" y="463487"/>
                    <a:pt x="0" y="456914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8" y="0"/>
                    <a:pt x="23813" y="5334"/>
                    <a:pt x="23813" y="11906"/>
                  </a:cubicBezTo>
                  <a:lnTo>
                    <a:pt x="23813" y="456914"/>
                  </a:lnTo>
                  <a:cubicBezTo>
                    <a:pt x="23813" y="463487"/>
                    <a:pt x="18478" y="468821"/>
                    <a:pt x="11906" y="46882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433EF89-C52B-ED13-732B-5DAC96BC44B8}"/>
                </a:ext>
              </a:extLst>
            </p:cNvPr>
            <p:cNvSpPr/>
            <p:nvPr/>
          </p:nvSpPr>
          <p:spPr>
            <a:xfrm>
              <a:off x="12857319" y="3727078"/>
              <a:ext cx="23812" cy="468820"/>
            </a:xfrm>
            <a:custGeom>
              <a:avLst/>
              <a:gdLst>
                <a:gd name="connsiteX0" fmla="*/ 11906 w 23812"/>
                <a:gd name="connsiteY0" fmla="*/ 468821 h 468820"/>
                <a:gd name="connsiteX1" fmla="*/ 0 w 23812"/>
                <a:gd name="connsiteY1" fmla="*/ 456914 h 468820"/>
                <a:gd name="connsiteX2" fmla="*/ 0 w 23812"/>
                <a:gd name="connsiteY2" fmla="*/ 11906 h 468820"/>
                <a:gd name="connsiteX3" fmla="*/ 11906 w 23812"/>
                <a:gd name="connsiteY3" fmla="*/ 0 h 468820"/>
                <a:gd name="connsiteX4" fmla="*/ 23813 w 23812"/>
                <a:gd name="connsiteY4" fmla="*/ 11906 h 468820"/>
                <a:gd name="connsiteX5" fmla="*/ 23813 w 23812"/>
                <a:gd name="connsiteY5" fmla="*/ 456914 h 468820"/>
                <a:gd name="connsiteX6" fmla="*/ 11906 w 23812"/>
                <a:gd name="connsiteY6" fmla="*/ 468821 h 46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468820">
                  <a:moveTo>
                    <a:pt x="11906" y="468821"/>
                  </a:moveTo>
                  <a:cubicBezTo>
                    <a:pt x="5334" y="468821"/>
                    <a:pt x="0" y="463487"/>
                    <a:pt x="0" y="456914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9" y="0"/>
                    <a:pt x="23813" y="5334"/>
                    <a:pt x="23813" y="11906"/>
                  </a:cubicBezTo>
                  <a:lnTo>
                    <a:pt x="23813" y="456914"/>
                  </a:lnTo>
                  <a:cubicBezTo>
                    <a:pt x="23813" y="463487"/>
                    <a:pt x="18479" y="468821"/>
                    <a:pt x="11906" y="46882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F5C72EE-E673-BBE3-1F98-4E2DAC78A267}"/>
                </a:ext>
              </a:extLst>
            </p:cNvPr>
            <p:cNvSpPr/>
            <p:nvPr/>
          </p:nvSpPr>
          <p:spPr>
            <a:xfrm>
              <a:off x="13047819" y="3727078"/>
              <a:ext cx="23812" cy="468820"/>
            </a:xfrm>
            <a:custGeom>
              <a:avLst/>
              <a:gdLst>
                <a:gd name="connsiteX0" fmla="*/ 11906 w 23812"/>
                <a:gd name="connsiteY0" fmla="*/ 468821 h 468820"/>
                <a:gd name="connsiteX1" fmla="*/ 0 w 23812"/>
                <a:gd name="connsiteY1" fmla="*/ 456914 h 468820"/>
                <a:gd name="connsiteX2" fmla="*/ 0 w 23812"/>
                <a:gd name="connsiteY2" fmla="*/ 11906 h 468820"/>
                <a:gd name="connsiteX3" fmla="*/ 11906 w 23812"/>
                <a:gd name="connsiteY3" fmla="*/ 0 h 468820"/>
                <a:gd name="connsiteX4" fmla="*/ 23813 w 23812"/>
                <a:gd name="connsiteY4" fmla="*/ 11906 h 468820"/>
                <a:gd name="connsiteX5" fmla="*/ 23813 w 23812"/>
                <a:gd name="connsiteY5" fmla="*/ 456914 h 468820"/>
                <a:gd name="connsiteX6" fmla="*/ 11906 w 23812"/>
                <a:gd name="connsiteY6" fmla="*/ 468821 h 46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468820">
                  <a:moveTo>
                    <a:pt x="11906" y="468821"/>
                  </a:moveTo>
                  <a:cubicBezTo>
                    <a:pt x="5334" y="468821"/>
                    <a:pt x="0" y="463487"/>
                    <a:pt x="0" y="456914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9" y="0"/>
                    <a:pt x="23813" y="5334"/>
                    <a:pt x="23813" y="11906"/>
                  </a:cubicBezTo>
                  <a:lnTo>
                    <a:pt x="23813" y="456914"/>
                  </a:lnTo>
                  <a:cubicBezTo>
                    <a:pt x="23813" y="463487"/>
                    <a:pt x="18479" y="468821"/>
                    <a:pt x="11906" y="46882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3BA3EB4-90DB-6EDE-AF1C-8939A28777E2}"/>
                </a:ext>
              </a:extLst>
            </p:cNvPr>
            <p:cNvSpPr/>
            <p:nvPr/>
          </p:nvSpPr>
          <p:spPr>
            <a:xfrm>
              <a:off x="12285628" y="3820804"/>
              <a:ext cx="281368" cy="281368"/>
            </a:xfrm>
            <a:custGeom>
              <a:avLst/>
              <a:gdLst>
                <a:gd name="connsiteX0" fmla="*/ 281369 w 281368"/>
                <a:gd name="connsiteY0" fmla="*/ 140684 h 281368"/>
                <a:gd name="connsiteX1" fmla="*/ 140684 w 281368"/>
                <a:gd name="connsiteY1" fmla="*/ 281368 h 281368"/>
                <a:gd name="connsiteX2" fmla="*/ 0 w 281368"/>
                <a:gd name="connsiteY2" fmla="*/ 140684 h 281368"/>
                <a:gd name="connsiteX3" fmla="*/ 140684 w 281368"/>
                <a:gd name="connsiteY3" fmla="*/ 0 h 281368"/>
                <a:gd name="connsiteX4" fmla="*/ 281369 w 281368"/>
                <a:gd name="connsiteY4" fmla="*/ 140684 h 28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1368" h="281368">
                  <a:moveTo>
                    <a:pt x="281369" y="140684"/>
                  </a:moveTo>
                  <a:cubicBezTo>
                    <a:pt x="281369" y="218382"/>
                    <a:pt x="218382" y="281368"/>
                    <a:pt x="140684" y="281368"/>
                  </a:cubicBezTo>
                  <a:cubicBezTo>
                    <a:pt x="62986" y="281368"/>
                    <a:pt x="0" y="218382"/>
                    <a:pt x="0" y="140684"/>
                  </a:cubicBezTo>
                  <a:cubicBezTo>
                    <a:pt x="0" y="62986"/>
                    <a:pt x="62986" y="0"/>
                    <a:pt x="140684" y="0"/>
                  </a:cubicBezTo>
                  <a:cubicBezTo>
                    <a:pt x="218382" y="0"/>
                    <a:pt x="281369" y="62986"/>
                    <a:pt x="281369" y="14068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6AB3A843-2101-9019-E39A-B46F50EF8D94}"/>
                </a:ext>
              </a:extLst>
            </p:cNvPr>
            <p:cNvSpPr/>
            <p:nvPr/>
          </p:nvSpPr>
          <p:spPr>
            <a:xfrm>
              <a:off x="13176787" y="3820804"/>
              <a:ext cx="281368" cy="281368"/>
            </a:xfrm>
            <a:custGeom>
              <a:avLst/>
              <a:gdLst>
                <a:gd name="connsiteX0" fmla="*/ 281368 w 281368"/>
                <a:gd name="connsiteY0" fmla="*/ 140684 h 281368"/>
                <a:gd name="connsiteX1" fmla="*/ 140684 w 281368"/>
                <a:gd name="connsiteY1" fmla="*/ 281368 h 281368"/>
                <a:gd name="connsiteX2" fmla="*/ 0 w 281368"/>
                <a:gd name="connsiteY2" fmla="*/ 140684 h 281368"/>
                <a:gd name="connsiteX3" fmla="*/ 140684 w 281368"/>
                <a:gd name="connsiteY3" fmla="*/ 0 h 281368"/>
                <a:gd name="connsiteX4" fmla="*/ 281368 w 281368"/>
                <a:gd name="connsiteY4" fmla="*/ 140684 h 28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1368" h="281368">
                  <a:moveTo>
                    <a:pt x="281368" y="140684"/>
                  </a:moveTo>
                  <a:cubicBezTo>
                    <a:pt x="281368" y="218382"/>
                    <a:pt x="218382" y="281368"/>
                    <a:pt x="140684" y="281368"/>
                  </a:cubicBezTo>
                  <a:cubicBezTo>
                    <a:pt x="62986" y="281368"/>
                    <a:pt x="0" y="218382"/>
                    <a:pt x="0" y="140684"/>
                  </a:cubicBezTo>
                  <a:cubicBezTo>
                    <a:pt x="0" y="62986"/>
                    <a:pt x="62987" y="0"/>
                    <a:pt x="140684" y="0"/>
                  </a:cubicBezTo>
                  <a:cubicBezTo>
                    <a:pt x="218382" y="0"/>
                    <a:pt x="281368" y="62986"/>
                    <a:pt x="281368" y="14068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0" name="631 fuel cell">
              <a:extLst>
                <a:ext uri="{FF2B5EF4-FFF2-40B4-BE49-F238E27FC236}">
                  <a16:creationId xmlns:a16="http://schemas.microsoft.com/office/drawing/2014/main" id="{EFAD1B98-DEBA-2105-A91D-91FFB7B5E8FB}"/>
                </a:ext>
              </a:extLst>
            </p:cNvPr>
            <p:cNvGrpSpPr/>
            <p:nvPr/>
          </p:nvGrpSpPr>
          <p:grpSpPr>
            <a:xfrm>
              <a:off x="12349446" y="3900052"/>
              <a:ext cx="161353" cy="140684"/>
              <a:chOff x="12349446" y="3900052"/>
              <a:chExt cx="161353" cy="140684"/>
            </a:xfrm>
            <a:solidFill>
              <a:srgbClr val="FFFFFF"/>
            </a:solidFill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1E59F3B3-2C3E-6A24-08B9-FB071FDE98C0}"/>
                  </a:ext>
                </a:extLst>
              </p:cNvPr>
              <p:cNvSpPr/>
              <p:nvPr/>
            </p:nvSpPr>
            <p:spPr>
              <a:xfrm>
                <a:off x="12349446" y="3900052"/>
                <a:ext cx="93725" cy="113061"/>
              </a:xfrm>
              <a:custGeom>
                <a:avLst/>
                <a:gdLst>
                  <a:gd name="connsiteX0" fmla="*/ 93726 w 93725"/>
                  <a:gd name="connsiteY0" fmla="*/ 0 h 113061"/>
                  <a:gd name="connsiteX1" fmla="*/ 93726 w 93725"/>
                  <a:gd name="connsiteY1" fmla="*/ 113062 h 113061"/>
                  <a:gd name="connsiteX2" fmla="*/ 71057 w 93725"/>
                  <a:gd name="connsiteY2" fmla="*/ 113062 h 113061"/>
                  <a:gd name="connsiteX3" fmla="*/ 71057 w 93725"/>
                  <a:gd name="connsiteY3" fmla="*/ 64961 h 113061"/>
                  <a:gd name="connsiteX4" fmla="*/ 22670 w 93725"/>
                  <a:gd name="connsiteY4" fmla="*/ 64961 h 113061"/>
                  <a:gd name="connsiteX5" fmla="*/ 22670 w 93725"/>
                  <a:gd name="connsiteY5" fmla="*/ 113062 h 113061"/>
                  <a:gd name="connsiteX6" fmla="*/ 0 w 93725"/>
                  <a:gd name="connsiteY6" fmla="*/ 113062 h 113061"/>
                  <a:gd name="connsiteX7" fmla="*/ 0 w 93725"/>
                  <a:gd name="connsiteY7" fmla="*/ 0 h 113061"/>
                  <a:gd name="connsiteX8" fmla="*/ 22670 w 93725"/>
                  <a:gd name="connsiteY8" fmla="*/ 0 h 113061"/>
                  <a:gd name="connsiteX9" fmla="*/ 22670 w 93725"/>
                  <a:gd name="connsiteY9" fmla="*/ 46482 h 113061"/>
                  <a:gd name="connsiteX10" fmla="*/ 71057 w 93725"/>
                  <a:gd name="connsiteY10" fmla="*/ 46482 h 113061"/>
                  <a:gd name="connsiteX11" fmla="*/ 71057 w 93725"/>
                  <a:gd name="connsiteY11" fmla="*/ 0 h 113061"/>
                  <a:gd name="connsiteX12" fmla="*/ 93726 w 93725"/>
                  <a:gd name="connsiteY12" fmla="*/ 0 h 11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3725" h="113061">
                    <a:moveTo>
                      <a:pt x="93726" y="0"/>
                    </a:moveTo>
                    <a:lnTo>
                      <a:pt x="93726" y="113062"/>
                    </a:lnTo>
                    <a:lnTo>
                      <a:pt x="71057" y="113062"/>
                    </a:lnTo>
                    <a:lnTo>
                      <a:pt x="71057" y="64961"/>
                    </a:lnTo>
                    <a:lnTo>
                      <a:pt x="22670" y="64961"/>
                    </a:lnTo>
                    <a:lnTo>
                      <a:pt x="22670" y="113062"/>
                    </a:lnTo>
                    <a:lnTo>
                      <a:pt x="0" y="113062"/>
                    </a:lnTo>
                    <a:lnTo>
                      <a:pt x="0" y="0"/>
                    </a:lnTo>
                    <a:lnTo>
                      <a:pt x="22670" y="0"/>
                    </a:lnTo>
                    <a:lnTo>
                      <a:pt x="22670" y="46482"/>
                    </a:lnTo>
                    <a:lnTo>
                      <a:pt x="71057" y="46482"/>
                    </a:lnTo>
                    <a:lnTo>
                      <a:pt x="71057" y="0"/>
                    </a:lnTo>
                    <a:lnTo>
                      <a:pt x="93726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357465DD-367E-AACE-E4AD-04A1BF525A24}"/>
                  </a:ext>
                </a:extLst>
              </p:cNvPr>
              <p:cNvSpPr/>
              <p:nvPr/>
            </p:nvSpPr>
            <p:spPr>
              <a:xfrm>
                <a:off x="12458888" y="3963679"/>
                <a:ext cx="51911" cy="77057"/>
              </a:xfrm>
              <a:custGeom>
                <a:avLst/>
                <a:gdLst>
                  <a:gd name="connsiteX0" fmla="*/ 5620 w 51911"/>
                  <a:gd name="connsiteY0" fmla="*/ 61436 h 77057"/>
                  <a:gd name="connsiteX1" fmla="*/ 21622 w 51911"/>
                  <a:gd name="connsiteY1" fmla="*/ 47434 h 77057"/>
                  <a:gd name="connsiteX2" fmla="*/ 31528 w 51911"/>
                  <a:gd name="connsiteY2" fmla="*/ 35719 h 77057"/>
                  <a:gd name="connsiteX3" fmla="*/ 35528 w 51911"/>
                  <a:gd name="connsiteY3" fmla="*/ 23813 h 77057"/>
                  <a:gd name="connsiteX4" fmla="*/ 33052 w 51911"/>
                  <a:gd name="connsiteY4" fmla="*/ 15430 h 77057"/>
                  <a:gd name="connsiteX5" fmla="*/ 25337 w 51911"/>
                  <a:gd name="connsiteY5" fmla="*/ 12382 h 77057"/>
                  <a:gd name="connsiteX6" fmla="*/ 17240 w 51911"/>
                  <a:gd name="connsiteY6" fmla="*/ 15907 h 77057"/>
                  <a:gd name="connsiteX7" fmla="*/ 14288 w 51911"/>
                  <a:gd name="connsiteY7" fmla="*/ 25527 h 77057"/>
                  <a:gd name="connsiteX8" fmla="*/ 0 w 51911"/>
                  <a:gd name="connsiteY8" fmla="*/ 25527 h 77057"/>
                  <a:gd name="connsiteX9" fmla="*/ 7525 w 51911"/>
                  <a:gd name="connsiteY9" fmla="*/ 6477 h 77057"/>
                  <a:gd name="connsiteX10" fmla="*/ 25527 w 51911"/>
                  <a:gd name="connsiteY10" fmla="*/ 0 h 77057"/>
                  <a:gd name="connsiteX11" fmla="*/ 43815 w 51911"/>
                  <a:gd name="connsiteY11" fmla="*/ 6382 h 77057"/>
                  <a:gd name="connsiteX12" fmla="*/ 50197 w 51911"/>
                  <a:gd name="connsiteY12" fmla="*/ 23050 h 77057"/>
                  <a:gd name="connsiteX13" fmla="*/ 45815 w 51911"/>
                  <a:gd name="connsiteY13" fmla="*/ 38671 h 77057"/>
                  <a:gd name="connsiteX14" fmla="*/ 35719 w 51911"/>
                  <a:gd name="connsiteY14" fmla="*/ 51625 h 77057"/>
                  <a:gd name="connsiteX15" fmla="*/ 20955 w 51911"/>
                  <a:gd name="connsiteY15" fmla="*/ 64865 h 77057"/>
                  <a:gd name="connsiteX16" fmla="*/ 51911 w 51911"/>
                  <a:gd name="connsiteY16" fmla="*/ 64865 h 77057"/>
                  <a:gd name="connsiteX17" fmla="*/ 51911 w 51911"/>
                  <a:gd name="connsiteY17" fmla="*/ 77057 h 77057"/>
                  <a:gd name="connsiteX18" fmla="*/ 191 w 51911"/>
                  <a:gd name="connsiteY18" fmla="*/ 77057 h 77057"/>
                  <a:gd name="connsiteX19" fmla="*/ 191 w 51911"/>
                  <a:gd name="connsiteY19" fmla="*/ 66199 h 77057"/>
                  <a:gd name="connsiteX20" fmla="*/ 5620 w 51911"/>
                  <a:gd name="connsiteY20" fmla="*/ 61627 h 7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1911" h="77057">
                    <a:moveTo>
                      <a:pt x="5620" y="61436"/>
                    </a:moveTo>
                    <a:cubicBezTo>
                      <a:pt x="12383" y="55816"/>
                      <a:pt x="17717" y="51149"/>
                      <a:pt x="21622" y="47434"/>
                    </a:cubicBezTo>
                    <a:cubicBezTo>
                      <a:pt x="25622" y="43720"/>
                      <a:pt x="28956" y="39815"/>
                      <a:pt x="31528" y="35719"/>
                    </a:cubicBezTo>
                    <a:cubicBezTo>
                      <a:pt x="34195" y="31623"/>
                      <a:pt x="35528" y="27718"/>
                      <a:pt x="35528" y="23813"/>
                    </a:cubicBezTo>
                    <a:cubicBezTo>
                      <a:pt x="35528" y="20193"/>
                      <a:pt x="34671" y="17431"/>
                      <a:pt x="33052" y="15430"/>
                    </a:cubicBezTo>
                    <a:cubicBezTo>
                      <a:pt x="31433" y="13430"/>
                      <a:pt x="28766" y="12382"/>
                      <a:pt x="25337" y="12382"/>
                    </a:cubicBezTo>
                    <a:cubicBezTo>
                      <a:pt x="21908" y="12382"/>
                      <a:pt x="19145" y="13525"/>
                      <a:pt x="17240" y="15907"/>
                    </a:cubicBezTo>
                    <a:cubicBezTo>
                      <a:pt x="15335" y="18288"/>
                      <a:pt x="14383" y="21431"/>
                      <a:pt x="14288" y="25527"/>
                    </a:cubicBezTo>
                    <a:lnTo>
                      <a:pt x="0" y="25527"/>
                    </a:lnTo>
                    <a:cubicBezTo>
                      <a:pt x="286" y="17145"/>
                      <a:pt x="2762" y="10763"/>
                      <a:pt x="7525" y="6477"/>
                    </a:cubicBezTo>
                    <a:cubicBezTo>
                      <a:pt x="12287" y="2095"/>
                      <a:pt x="18193" y="0"/>
                      <a:pt x="25527" y="0"/>
                    </a:cubicBezTo>
                    <a:cubicBezTo>
                      <a:pt x="33528" y="0"/>
                      <a:pt x="39624" y="2095"/>
                      <a:pt x="43815" y="6382"/>
                    </a:cubicBezTo>
                    <a:cubicBezTo>
                      <a:pt x="48006" y="10668"/>
                      <a:pt x="50197" y="16192"/>
                      <a:pt x="50197" y="23050"/>
                    </a:cubicBezTo>
                    <a:cubicBezTo>
                      <a:pt x="50197" y="28480"/>
                      <a:pt x="48768" y="33718"/>
                      <a:pt x="45815" y="38671"/>
                    </a:cubicBezTo>
                    <a:cubicBezTo>
                      <a:pt x="42863" y="43624"/>
                      <a:pt x="39529" y="47911"/>
                      <a:pt x="35719" y="51625"/>
                    </a:cubicBezTo>
                    <a:cubicBezTo>
                      <a:pt x="31909" y="55245"/>
                      <a:pt x="27051" y="59722"/>
                      <a:pt x="20955" y="64865"/>
                    </a:cubicBezTo>
                    <a:lnTo>
                      <a:pt x="51911" y="64865"/>
                    </a:lnTo>
                    <a:lnTo>
                      <a:pt x="51911" y="77057"/>
                    </a:lnTo>
                    <a:lnTo>
                      <a:pt x="191" y="77057"/>
                    </a:lnTo>
                    <a:lnTo>
                      <a:pt x="191" y="66199"/>
                    </a:lnTo>
                    <a:lnTo>
                      <a:pt x="5620" y="6162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43" name="631 fuel cell">
              <a:extLst>
                <a:ext uri="{FF2B5EF4-FFF2-40B4-BE49-F238E27FC236}">
                  <a16:creationId xmlns:a16="http://schemas.microsoft.com/office/drawing/2014/main" id="{C7AA0F8A-0CFC-C189-05B5-722C965CC99A}"/>
                </a:ext>
              </a:extLst>
            </p:cNvPr>
            <p:cNvGrpSpPr/>
            <p:nvPr/>
          </p:nvGrpSpPr>
          <p:grpSpPr>
            <a:xfrm>
              <a:off x="13231651" y="3898433"/>
              <a:ext cx="178022" cy="142303"/>
              <a:chOff x="13231651" y="3898433"/>
              <a:chExt cx="178022" cy="142303"/>
            </a:xfrm>
            <a:solidFill>
              <a:srgbClr val="FFFFFF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1286F6E3-3295-6684-3ECC-6FB6AA1102BA}"/>
                  </a:ext>
                </a:extLst>
              </p:cNvPr>
              <p:cNvSpPr/>
              <p:nvPr/>
            </p:nvSpPr>
            <p:spPr>
              <a:xfrm>
                <a:off x="13231651" y="3898433"/>
                <a:ext cx="115824" cy="115823"/>
              </a:xfrm>
              <a:custGeom>
                <a:avLst/>
                <a:gdLst>
                  <a:gd name="connsiteX0" fmla="*/ 28861 w 115824"/>
                  <a:gd name="connsiteY0" fmla="*/ 108395 h 115823"/>
                  <a:gd name="connsiteX1" fmla="*/ 7811 w 115824"/>
                  <a:gd name="connsiteY1" fmla="*/ 87725 h 115823"/>
                  <a:gd name="connsiteX2" fmla="*/ 0 w 115824"/>
                  <a:gd name="connsiteY2" fmla="*/ 57817 h 115823"/>
                  <a:gd name="connsiteX3" fmla="*/ 7811 w 115824"/>
                  <a:gd name="connsiteY3" fmla="*/ 28099 h 115823"/>
                  <a:gd name="connsiteX4" fmla="*/ 28861 w 115824"/>
                  <a:gd name="connsiteY4" fmla="*/ 7430 h 115823"/>
                  <a:gd name="connsiteX5" fmla="*/ 58007 w 115824"/>
                  <a:gd name="connsiteY5" fmla="*/ 0 h 115823"/>
                  <a:gd name="connsiteX6" fmla="*/ 87249 w 115824"/>
                  <a:gd name="connsiteY6" fmla="*/ 7430 h 115823"/>
                  <a:gd name="connsiteX7" fmla="*/ 108109 w 115824"/>
                  <a:gd name="connsiteY7" fmla="*/ 28099 h 115823"/>
                  <a:gd name="connsiteX8" fmla="*/ 115824 w 115824"/>
                  <a:gd name="connsiteY8" fmla="*/ 57817 h 115823"/>
                  <a:gd name="connsiteX9" fmla="*/ 108109 w 115824"/>
                  <a:gd name="connsiteY9" fmla="*/ 87725 h 115823"/>
                  <a:gd name="connsiteX10" fmla="*/ 87154 w 115824"/>
                  <a:gd name="connsiteY10" fmla="*/ 108395 h 115823"/>
                  <a:gd name="connsiteX11" fmla="*/ 58007 w 115824"/>
                  <a:gd name="connsiteY11" fmla="*/ 115824 h 115823"/>
                  <a:gd name="connsiteX12" fmla="*/ 28861 w 115824"/>
                  <a:gd name="connsiteY12" fmla="*/ 108395 h 115823"/>
                  <a:gd name="connsiteX13" fmla="*/ 76010 w 115824"/>
                  <a:gd name="connsiteY13" fmla="*/ 90964 h 115823"/>
                  <a:gd name="connsiteX14" fmla="*/ 88202 w 115824"/>
                  <a:gd name="connsiteY14" fmla="*/ 77819 h 115823"/>
                  <a:gd name="connsiteX15" fmla="*/ 92583 w 115824"/>
                  <a:gd name="connsiteY15" fmla="*/ 57912 h 115823"/>
                  <a:gd name="connsiteX16" fmla="*/ 88202 w 115824"/>
                  <a:gd name="connsiteY16" fmla="*/ 38100 h 115823"/>
                  <a:gd name="connsiteX17" fmla="*/ 76010 w 115824"/>
                  <a:gd name="connsiteY17" fmla="*/ 25051 h 115823"/>
                  <a:gd name="connsiteX18" fmla="*/ 58007 w 115824"/>
                  <a:gd name="connsiteY18" fmla="*/ 20574 h 115823"/>
                  <a:gd name="connsiteX19" fmla="*/ 39910 w 115824"/>
                  <a:gd name="connsiteY19" fmla="*/ 25051 h 115823"/>
                  <a:gd name="connsiteX20" fmla="*/ 27718 w 115824"/>
                  <a:gd name="connsiteY20" fmla="*/ 38100 h 115823"/>
                  <a:gd name="connsiteX21" fmla="*/ 23336 w 115824"/>
                  <a:gd name="connsiteY21" fmla="*/ 57912 h 115823"/>
                  <a:gd name="connsiteX22" fmla="*/ 27718 w 115824"/>
                  <a:gd name="connsiteY22" fmla="*/ 77819 h 115823"/>
                  <a:gd name="connsiteX23" fmla="*/ 39910 w 115824"/>
                  <a:gd name="connsiteY23" fmla="*/ 90964 h 115823"/>
                  <a:gd name="connsiteX24" fmla="*/ 58007 w 115824"/>
                  <a:gd name="connsiteY24" fmla="*/ 95536 h 115823"/>
                  <a:gd name="connsiteX25" fmla="*/ 76010 w 115824"/>
                  <a:gd name="connsiteY25" fmla="*/ 90964 h 115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15824" h="115823">
                    <a:moveTo>
                      <a:pt x="28861" y="108395"/>
                    </a:moveTo>
                    <a:cubicBezTo>
                      <a:pt x="20003" y="103441"/>
                      <a:pt x="12954" y="96583"/>
                      <a:pt x="7811" y="87725"/>
                    </a:cubicBezTo>
                    <a:cubicBezTo>
                      <a:pt x="2667" y="78962"/>
                      <a:pt x="0" y="68961"/>
                      <a:pt x="0" y="57817"/>
                    </a:cubicBezTo>
                    <a:cubicBezTo>
                      <a:pt x="0" y="46672"/>
                      <a:pt x="2572" y="36862"/>
                      <a:pt x="7811" y="28099"/>
                    </a:cubicBezTo>
                    <a:cubicBezTo>
                      <a:pt x="12954" y="19336"/>
                      <a:pt x="20003" y="12382"/>
                      <a:pt x="28861" y="7430"/>
                    </a:cubicBezTo>
                    <a:cubicBezTo>
                      <a:pt x="37719" y="2476"/>
                      <a:pt x="47435" y="0"/>
                      <a:pt x="58007" y="0"/>
                    </a:cubicBezTo>
                    <a:cubicBezTo>
                      <a:pt x="68580" y="0"/>
                      <a:pt x="78391" y="2476"/>
                      <a:pt x="87249" y="7430"/>
                    </a:cubicBezTo>
                    <a:cubicBezTo>
                      <a:pt x="96107" y="12382"/>
                      <a:pt x="102965" y="19241"/>
                      <a:pt x="108109" y="28099"/>
                    </a:cubicBezTo>
                    <a:cubicBezTo>
                      <a:pt x="113252" y="36862"/>
                      <a:pt x="115824" y="46768"/>
                      <a:pt x="115824" y="57817"/>
                    </a:cubicBezTo>
                    <a:cubicBezTo>
                      <a:pt x="115824" y="68866"/>
                      <a:pt x="113252" y="78867"/>
                      <a:pt x="108109" y="87725"/>
                    </a:cubicBezTo>
                    <a:cubicBezTo>
                      <a:pt x="102965" y="96488"/>
                      <a:pt x="96012" y="103441"/>
                      <a:pt x="87154" y="108395"/>
                    </a:cubicBezTo>
                    <a:cubicBezTo>
                      <a:pt x="78296" y="113347"/>
                      <a:pt x="68580" y="115824"/>
                      <a:pt x="58007" y="115824"/>
                    </a:cubicBezTo>
                    <a:cubicBezTo>
                      <a:pt x="47435" y="115824"/>
                      <a:pt x="37719" y="113347"/>
                      <a:pt x="28861" y="108395"/>
                    </a:cubicBezTo>
                    <a:close/>
                    <a:moveTo>
                      <a:pt x="76010" y="90964"/>
                    </a:moveTo>
                    <a:cubicBezTo>
                      <a:pt x="81153" y="87916"/>
                      <a:pt x="85249" y="83439"/>
                      <a:pt x="88202" y="77819"/>
                    </a:cubicBezTo>
                    <a:cubicBezTo>
                      <a:pt x="91154" y="72104"/>
                      <a:pt x="92583" y="65437"/>
                      <a:pt x="92583" y="57912"/>
                    </a:cubicBezTo>
                    <a:cubicBezTo>
                      <a:pt x="92583" y="50387"/>
                      <a:pt x="91154" y="43720"/>
                      <a:pt x="88202" y="38100"/>
                    </a:cubicBezTo>
                    <a:cubicBezTo>
                      <a:pt x="85249" y="32385"/>
                      <a:pt x="81248" y="28099"/>
                      <a:pt x="76010" y="25051"/>
                    </a:cubicBezTo>
                    <a:cubicBezTo>
                      <a:pt x="70866" y="22003"/>
                      <a:pt x="64865" y="20574"/>
                      <a:pt x="58007" y="20574"/>
                    </a:cubicBezTo>
                    <a:cubicBezTo>
                      <a:pt x="51149" y="20574"/>
                      <a:pt x="45149" y="22098"/>
                      <a:pt x="39910" y="25051"/>
                    </a:cubicBezTo>
                    <a:cubicBezTo>
                      <a:pt x="34671" y="28099"/>
                      <a:pt x="30575" y="32385"/>
                      <a:pt x="27718" y="38100"/>
                    </a:cubicBezTo>
                    <a:cubicBezTo>
                      <a:pt x="24765" y="43815"/>
                      <a:pt x="23336" y="50387"/>
                      <a:pt x="23336" y="57912"/>
                    </a:cubicBezTo>
                    <a:cubicBezTo>
                      <a:pt x="23336" y="65437"/>
                      <a:pt x="24765" y="72104"/>
                      <a:pt x="27718" y="77819"/>
                    </a:cubicBezTo>
                    <a:cubicBezTo>
                      <a:pt x="30671" y="83534"/>
                      <a:pt x="34671" y="87916"/>
                      <a:pt x="39910" y="90964"/>
                    </a:cubicBezTo>
                    <a:cubicBezTo>
                      <a:pt x="45149" y="94012"/>
                      <a:pt x="51149" y="95536"/>
                      <a:pt x="58007" y="95536"/>
                    </a:cubicBezTo>
                    <a:cubicBezTo>
                      <a:pt x="64865" y="95536"/>
                      <a:pt x="70771" y="94012"/>
                      <a:pt x="76010" y="9096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9CC0E1FD-DB05-1069-6D3E-FCB28DCB10EF}"/>
                  </a:ext>
                </a:extLst>
              </p:cNvPr>
              <p:cNvSpPr/>
              <p:nvPr/>
            </p:nvSpPr>
            <p:spPr>
              <a:xfrm>
                <a:off x="13357667" y="3963679"/>
                <a:ext cx="52006" cy="77057"/>
              </a:xfrm>
              <a:custGeom>
                <a:avLst/>
                <a:gdLst>
                  <a:gd name="connsiteX0" fmla="*/ 5620 w 52006"/>
                  <a:gd name="connsiteY0" fmla="*/ 61436 h 77057"/>
                  <a:gd name="connsiteX1" fmla="*/ 21622 w 52006"/>
                  <a:gd name="connsiteY1" fmla="*/ 47434 h 77057"/>
                  <a:gd name="connsiteX2" fmla="*/ 31528 w 52006"/>
                  <a:gd name="connsiteY2" fmla="*/ 35719 h 77057"/>
                  <a:gd name="connsiteX3" fmla="*/ 35528 w 52006"/>
                  <a:gd name="connsiteY3" fmla="*/ 23813 h 77057"/>
                  <a:gd name="connsiteX4" fmla="*/ 33052 w 52006"/>
                  <a:gd name="connsiteY4" fmla="*/ 15430 h 77057"/>
                  <a:gd name="connsiteX5" fmla="*/ 25337 w 52006"/>
                  <a:gd name="connsiteY5" fmla="*/ 12382 h 77057"/>
                  <a:gd name="connsiteX6" fmla="*/ 17240 w 52006"/>
                  <a:gd name="connsiteY6" fmla="*/ 15907 h 77057"/>
                  <a:gd name="connsiteX7" fmla="*/ 14288 w 52006"/>
                  <a:gd name="connsiteY7" fmla="*/ 25527 h 77057"/>
                  <a:gd name="connsiteX8" fmla="*/ 0 w 52006"/>
                  <a:gd name="connsiteY8" fmla="*/ 25527 h 77057"/>
                  <a:gd name="connsiteX9" fmla="*/ 7525 w 52006"/>
                  <a:gd name="connsiteY9" fmla="*/ 6477 h 77057"/>
                  <a:gd name="connsiteX10" fmla="*/ 25527 w 52006"/>
                  <a:gd name="connsiteY10" fmla="*/ 0 h 77057"/>
                  <a:gd name="connsiteX11" fmla="*/ 43910 w 52006"/>
                  <a:gd name="connsiteY11" fmla="*/ 6382 h 77057"/>
                  <a:gd name="connsiteX12" fmla="*/ 50292 w 52006"/>
                  <a:gd name="connsiteY12" fmla="*/ 23050 h 77057"/>
                  <a:gd name="connsiteX13" fmla="*/ 45910 w 52006"/>
                  <a:gd name="connsiteY13" fmla="*/ 38671 h 77057"/>
                  <a:gd name="connsiteX14" fmla="*/ 35814 w 52006"/>
                  <a:gd name="connsiteY14" fmla="*/ 51625 h 77057"/>
                  <a:gd name="connsiteX15" fmla="*/ 21050 w 52006"/>
                  <a:gd name="connsiteY15" fmla="*/ 64865 h 77057"/>
                  <a:gd name="connsiteX16" fmla="*/ 52006 w 52006"/>
                  <a:gd name="connsiteY16" fmla="*/ 64865 h 77057"/>
                  <a:gd name="connsiteX17" fmla="*/ 52006 w 52006"/>
                  <a:gd name="connsiteY17" fmla="*/ 77057 h 77057"/>
                  <a:gd name="connsiteX18" fmla="*/ 286 w 52006"/>
                  <a:gd name="connsiteY18" fmla="*/ 77057 h 77057"/>
                  <a:gd name="connsiteX19" fmla="*/ 286 w 52006"/>
                  <a:gd name="connsiteY19" fmla="*/ 66199 h 77057"/>
                  <a:gd name="connsiteX20" fmla="*/ 5715 w 52006"/>
                  <a:gd name="connsiteY20" fmla="*/ 61627 h 7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2006" h="77057">
                    <a:moveTo>
                      <a:pt x="5620" y="61436"/>
                    </a:moveTo>
                    <a:cubicBezTo>
                      <a:pt x="12287" y="55816"/>
                      <a:pt x="17717" y="51149"/>
                      <a:pt x="21622" y="47434"/>
                    </a:cubicBezTo>
                    <a:cubicBezTo>
                      <a:pt x="25622" y="43720"/>
                      <a:pt x="28956" y="39815"/>
                      <a:pt x="31528" y="35719"/>
                    </a:cubicBezTo>
                    <a:cubicBezTo>
                      <a:pt x="34195" y="31623"/>
                      <a:pt x="35528" y="27718"/>
                      <a:pt x="35528" y="23813"/>
                    </a:cubicBezTo>
                    <a:cubicBezTo>
                      <a:pt x="35528" y="20193"/>
                      <a:pt x="34671" y="17431"/>
                      <a:pt x="33052" y="15430"/>
                    </a:cubicBezTo>
                    <a:cubicBezTo>
                      <a:pt x="31337" y="13430"/>
                      <a:pt x="28765" y="12382"/>
                      <a:pt x="25337" y="12382"/>
                    </a:cubicBezTo>
                    <a:cubicBezTo>
                      <a:pt x="21908" y="12382"/>
                      <a:pt x="19145" y="13525"/>
                      <a:pt x="17240" y="15907"/>
                    </a:cubicBezTo>
                    <a:cubicBezTo>
                      <a:pt x="15335" y="18288"/>
                      <a:pt x="14383" y="21431"/>
                      <a:pt x="14288" y="25527"/>
                    </a:cubicBezTo>
                    <a:lnTo>
                      <a:pt x="0" y="25527"/>
                    </a:lnTo>
                    <a:cubicBezTo>
                      <a:pt x="286" y="17145"/>
                      <a:pt x="2762" y="10763"/>
                      <a:pt x="7525" y="6477"/>
                    </a:cubicBezTo>
                    <a:cubicBezTo>
                      <a:pt x="12287" y="2095"/>
                      <a:pt x="18193" y="0"/>
                      <a:pt x="25527" y="0"/>
                    </a:cubicBezTo>
                    <a:cubicBezTo>
                      <a:pt x="33528" y="0"/>
                      <a:pt x="39624" y="2095"/>
                      <a:pt x="43910" y="6382"/>
                    </a:cubicBezTo>
                    <a:cubicBezTo>
                      <a:pt x="48196" y="10668"/>
                      <a:pt x="50292" y="16192"/>
                      <a:pt x="50292" y="23050"/>
                    </a:cubicBezTo>
                    <a:cubicBezTo>
                      <a:pt x="50292" y="28480"/>
                      <a:pt x="48863" y="33718"/>
                      <a:pt x="45910" y="38671"/>
                    </a:cubicBezTo>
                    <a:cubicBezTo>
                      <a:pt x="42958" y="43624"/>
                      <a:pt x="39624" y="47911"/>
                      <a:pt x="35814" y="51625"/>
                    </a:cubicBezTo>
                    <a:cubicBezTo>
                      <a:pt x="32004" y="55340"/>
                      <a:pt x="27146" y="59722"/>
                      <a:pt x="21050" y="64865"/>
                    </a:cubicBezTo>
                    <a:lnTo>
                      <a:pt x="52006" y="64865"/>
                    </a:lnTo>
                    <a:lnTo>
                      <a:pt x="52006" y="77057"/>
                    </a:lnTo>
                    <a:lnTo>
                      <a:pt x="286" y="77057"/>
                    </a:lnTo>
                    <a:lnTo>
                      <a:pt x="286" y="66199"/>
                    </a:lnTo>
                    <a:lnTo>
                      <a:pt x="5715" y="6162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47" name="137 battery full (red)">
            <a:extLst>
              <a:ext uri="{FF2B5EF4-FFF2-40B4-BE49-F238E27FC236}">
                <a16:creationId xmlns:a16="http://schemas.microsoft.com/office/drawing/2014/main" id="{1400277D-A4A1-FB04-BBCA-B34D32146DC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469848" y="2685512"/>
            <a:ext cx="851490" cy="851490"/>
          </a:xfrm>
          <a:prstGeom prst="rect">
            <a:avLst/>
          </a:prstGeom>
        </p:spPr>
      </p:pic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82E43BF3-EBEE-8D70-705B-D5F925895410}"/>
              </a:ext>
            </a:extLst>
          </p:cNvPr>
          <p:cNvSpPr/>
          <p:nvPr/>
        </p:nvSpPr>
        <p:spPr>
          <a:xfrm flipH="1">
            <a:off x="-14984" y="-3"/>
            <a:ext cx="12192000" cy="6858001"/>
          </a:xfrm>
          <a:prstGeom prst="rtTriangle">
            <a:avLst/>
          </a:prstGeom>
          <a:solidFill>
            <a:schemeClr val="accent2">
              <a:alpha val="92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FEV Consulting Logo white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83855D04-08AD-1F58-20E2-F531A568C70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10654270" y="759898"/>
            <a:ext cx="986867" cy="375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407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6268136-5335-01C6-93F3-A784D20C95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657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268136-5335-01C6-93F3-A784D20C9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1643651909">
            <a:extLst>
              <a:ext uri="{FF2B5EF4-FFF2-40B4-BE49-F238E27FC236}">
                <a16:creationId xmlns:a16="http://schemas.microsoft.com/office/drawing/2014/main" id="{0754B4A4-69EA-41EC-F681-3195BA1F8A1F}"/>
              </a:ext>
            </a:extLst>
          </p:cNvPr>
          <p:cNvSpPr txBox="1"/>
          <p:nvPr/>
        </p:nvSpPr>
        <p:spPr>
          <a:xfrm>
            <a:off x="550863" y="4019025"/>
            <a:ext cx="5545137" cy="2303462"/>
          </a:xfrm>
          <a:prstGeom prst="roundRect">
            <a:avLst>
              <a:gd name="adj" fmla="val 2206"/>
            </a:avLst>
          </a:prstGeom>
          <a:gradFill flip="none" rotWithShape="1">
            <a:gsLst>
              <a:gs pos="0">
                <a:schemeClr val="accent1">
                  <a:lumMod val="75000"/>
                </a:schemeClr>
              </a:gs>
              <a:gs pos="100000">
                <a:schemeClr val="bg1">
                  <a:lumMod val="85000"/>
                </a:schemeClr>
              </a:gs>
              <a:gs pos="50000">
                <a:schemeClr val="accent1">
                  <a:lumMod val="90000"/>
                </a:schemeClr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>
            <a:defPPr>
              <a:defRPr lang="de-DE"/>
            </a:defPPr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bg1"/>
              </a:buClr>
              <a:buSzPct val="100000"/>
              <a:buFont typeface="FEV" panose="020B0604020202020204" charset="0"/>
              <a:buChar char="•"/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rgbClr val="FFFFFF"/>
                </a:solidFill>
                <a:cs typeface="Poppins" panose="00000500000000000000" pitchFamily="2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chemeClr val="bg1"/>
                </a:solidFill>
                <a:cs typeface="Poppins" panose="00000500000000000000" pitchFamily="2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5" name="TextBox1643651909">
            <a:extLst>
              <a:ext uri="{FF2B5EF4-FFF2-40B4-BE49-F238E27FC236}">
                <a16:creationId xmlns:a16="http://schemas.microsoft.com/office/drawing/2014/main" id="{A6219DDD-B52E-F7CF-15FC-D71E31CF6036}"/>
              </a:ext>
            </a:extLst>
          </p:cNvPr>
          <p:cNvSpPr txBox="1"/>
          <p:nvPr/>
        </p:nvSpPr>
        <p:spPr>
          <a:xfrm>
            <a:off x="6096001" y="4019025"/>
            <a:ext cx="5545137" cy="2303462"/>
          </a:xfrm>
          <a:prstGeom prst="roundRect">
            <a:avLst>
              <a:gd name="adj" fmla="val 2206"/>
            </a:avLst>
          </a:prstGeom>
          <a:gradFill flip="none" rotWithShape="1">
            <a:gsLst>
              <a:gs pos="0">
                <a:srgbClr val="004754"/>
              </a:gs>
              <a:gs pos="100000">
                <a:srgbClr val="29BBCE"/>
              </a:gs>
              <a:gs pos="50000">
                <a:srgbClr val="0087A0"/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>
            <a:defPPr>
              <a:defRPr lang="de-DE"/>
            </a:defPPr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bg1"/>
              </a:buClr>
              <a:buSzPct val="100000"/>
              <a:buFont typeface="FEV" panose="020B0604020202020204" charset="0"/>
              <a:buChar char="•"/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rgbClr val="FFFFFF"/>
                </a:solidFill>
                <a:cs typeface="Poppins" panose="00000500000000000000" pitchFamily="2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chemeClr val="bg1"/>
                </a:solidFill>
                <a:cs typeface="Poppins" panose="00000500000000000000" pitchFamily="2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A374AC-2255-0C6A-025B-71922CCF07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CV TMS – SUB-system 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AF4CD6-326B-E993-E599-8759949BB4E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1384" y="6406354"/>
            <a:ext cx="2255426" cy="246221"/>
          </a:xfrm>
        </p:spPr>
        <p:txBody>
          <a:bodyPr/>
          <a:lstStyle/>
          <a:p>
            <a:r>
              <a:rPr lang="en-US"/>
              <a:t>EDU: electric drive unit; PE: power electronics</a:t>
            </a:r>
            <a:br>
              <a:rPr lang="en-US"/>
            </a:br>
            <a:r>
              <a:rPr lang="en-US"/>
              <a:t>Source: FEV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1E71BE2-5560-BD5A-00B2-59FEDDAC7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ommercial vehicles’ TMS is divided in 4 main sub-systems with specific requirements: battery, EDU &amp; PE, cabin and brake resistor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C5C133-7AB7-A191-1F9D-1D930918A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9" name="TextBox1643651909">
            <a:extLst>
              <a:ext uri="{FF2B5EF4-FFF2-40B4-BE49-F238E27FC236}">
                <a16:creationId xmlns:a16="http://schemas.microsoft.com/office/drawing/2014/main" id="{12753F64-C74D-FFE5-0CFF-950F250509BC}"/>
              </a:ext>
            </a:extLst>
          </p:cNvPr>
          <p:cNvSpPr txBox="1"/>
          <p:nvPr/>
        </p:nvSpPr>
        <p:spPr>
          <a:xfrm>
            <a:off x="6096001" y="1700214"/>
            <a:ext cx="5545137" cy="2303462"/>
          </a:xfrm>
          <a:prstGeom prst="roundRect">
            <a:avLst>
              <a:gd name="adj" fmla="val 2206"/>
            </a:avLst>
          </a:prstGeom>
          <a:gradFill>
            <a:gsLst>
              <a:gs pos="0">
                <a:schemeClr val="accent2"/>
              </a:gs>
              <a:gs pos="100000">
                <a:schemeClr val="accent2">
                  <a:alpha val="74000"/>
                </a:schemeClr>
              </a:gs>
              <a:gs pos="50000">
                <a:schemeClr val="accent2">
                  <a:alpha val="97000"/>
                </a:schemeClr>
              </a:gs>
            </a:gsLst>
            <a:lin ang="19800000" scaled="1"/>
          </a:gra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0" name="TextBox1643651909">
            <a:extLst>
              <a:ext uri="{FF2B5EF4-FFF2-40B4-BE49-F238E27FC236}">
                <a16:creationId xmlns:a16="http://schemas.microsoft.com/office/drawing/2014/main" id="{3ADFD294-7BCE-0DEF-3577-61BF5917CA6E}"/>
              </a:ext>
            </a:extLst>
          </p:cNvPr>
          <p:cNvSpPr txBox="1"/>
          <p:nvPr/>
        </p:nvSpPr>
        <p:spPr>
          <a:xfrm>
            <a:off x="550863" y="1700214"/>
            <a:ext cx="5545137" cy="2303462"/>
          </a:xfrm>
          <a:prstGeom prst="roundRect">
            <a:avLst>
              <a:gd name="adj" fmla="val 2206"/>
            </a:avLst>
          </a:prstGeom>
          <a:gradFill>
            <a:gsLst>
              <a:gs pos="0">
                <a:srgbClr val="6E031B"/>
              </a:gs>
              <a:gs pos="100000">
                <a:srgbClr val="CE506C"/>
              </a:gs>
              <a:gs pos="50000">
                <a:srgbClr val="B9052D"/>
              </a:gs>
            </a:gsLst>
            <a:lin ang="19800000" scaled="1"/>
          </a:gra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B73C87F-F13D-29E0-724C-2DD8CD58215C}"/>
              </a:ext>
            </a:extLst>
          </p:cNvPr>
          <p:cNvCxnSpPr>
            <a:cxnSpLocks/>
          </p:cNvCxnSpPr>
          <p:nvPr/>
        </p:nvCxnSpPr>
        <p:spPr>
          <a:xfrm flipH="1">
            <a:off x="465448" y="4011399"/>
            <a:ext cx="11312422" cy="0"/>
          </a:xfrm>
          <a:prstGeom prst="line">
            <a:avLst/>
          </a:prstGeom>
          <a:ln w="127000">
            <a:solidFill>
              <a:schemeClr val="bg1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EE82F025-120A-FF88-DF15-4E413536DBE1}"/>
              </a:ext>
            </a:extLst>
          </p:cNvPr>
          <p:cNvSpPr txBox="1"/>
          <p:nvPr/>
        </p:nvSpPr>
        <p:spPr>
          <a:xfrm>
            <a:off x="809462" y="2075303"/>
            <a:ext cx="2504932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+mn-lt"/>
              </a:rPr>
              <a:t>BATTERY THERMAL MANAGEMENT SYSTEM (BTMS)</a:t>
            </a:r>
          </a:p>
        </p:txBody>
      </p:sp>
      <p:sp>
        <p:nvSpPr>
          <p:cNvPr id="18" name="TextBox607018367">
            <a:extLst>
              <a:ext uri="{FF2B5EF4-FFF2-40B4-BE49-F238E27FC236}">
                <a16:creationId xmlns:a16="http://schemas.microsoft.com/office/drawing/2014/main" id="{21B6B1CE-999C-4149-DC28-4301F088C906}"/>
              </a:ext>
            </a:extLst>
          </p:cNvPr>
          <p:cNvSpPr txBox="1"/>
          <p:nvPr/>
        </p:nvSpPr>
        <p:spPr>
          <a:xfrm>
            <a:off x="3804727" y="2886632"/>
            <a:ext cx="4581333" cy="2303459"/>
          </a:xfrm>
          <a:prstGeom prst="roundRect">
            <a:avLst>
              <a:gd name="adj" fmla="val 2206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/>
          </a:p>
          <a:p>
            <a:endParaRPr lang="en-US" err="1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502CEA3-4641-C31F-218E-6AE8B028D092}"/>
              </a:ext>
            </a:extLst>
          </p:cNvPr>
          <p:cNvCxnSpPr>
            <a:cxnSpLocks/>
            <a:stCxn id="2" idx="2"/>
          </p:cNvCxnSpPr>
          <p:nvPr/>
        </p:nvCxnSpPr>
        <p:spPr>
          <a:xfrm>
            <a:off x="6095395" y="1628768"/>
            <a:ext cx="605" cy="4900696"/>
          </a:xfrm>
          <a:prstGeom prst="line">
            <a:avLst/>
          </a:prstGeom>
          <a:ln w="127000">
            <a:solidFill>
              <a:schemeClr val="bg1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A18D275-137C-5AD4-7DFF-34D4DB098507}"/>
              </a:ext>
            </a:extLst>
          </p:cNvPr>
          <p:cNvGrpSpPr/>
          <p:nvPr/>
        </p:nvGrpSpPr>
        <p:grpSpPr>
          <a:xfrm>
            <a:off x="3939673" y="1773087"/>
            <a:ext cx="2020776" cy="1038964"/>
            <a:chOff x="4074618" y="1830695"/>
            <a:chExt cx="2020776" cy="1038964"/>
          </a:xfrm>
        </p:grpSpPr>
        <p:pic>
          <p:nvPicPr>
            <p:cNvPr id="21" name="136 battery full (black)">
              <a:extLst>
                <a:ext uri="{FF2B5EF4-FFF2-40B4-BE49-F238E27FC236}">
                  <a16:creationId xmlns:a16="http://schemas.microsoft.com/office/drawing/2014/main" id="{3BA04734-31B5-8E9C-4146-7013795AE31C}"/>
                </a:ext>
              </a:extLst>
            </p:cNvPr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4577163" y="1830695"/>
              <a:ext cx="1038964" cy="1038964"/>
            </a:xfrm>
            <a:prstGeom prst="rect">
              <a:avLst/>
            </a:prstGeom>
          </p:spPr>
        </p:pic>
        <p:pic>
          <p:nvPicPr>
            <p:cNvPr id="22" name="717 snowflake">
              <a:extLst>
                <a:ext uri="{FF2B5EF4-FFF2-40B4-BE49-F238E27FC236}">
                  <a16:creationId xmlns:a16="http://schemas.microsoft.com/office/drawing/2014/main" id="{E01EACBE-F5B6-0A3F-5120-148020DCD1C6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4074618" y="2088534"/>
              <a:ext cx="523286" cy="523286"/>
            </a:xfrm>
            <a:prstGeom prst="rect">
              <a:avLst/>
            </a:prstGeom>
          </p:spPr>
        </p:pic>
        <p:pic>
          <p:nvPicPr>
            <p:cNvPr id="23" name="718 thermometer">
              <a:extLst>
                <a:ext uri="{FF2B5EF4-FFF2-40B4-BE49-F238E27FC236}">
                  <a16:creationId xmlns:a16="http://schemas.microsoft.com/office/drawing/2014/main" id="{5041686B-E96B-26E9-3F8D-D4464CA51FA6}"/>
                </a:ext>
              </a:extLst>
            </p:cNvPr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5554113" y="2079537"/>
              <a:ext cx="541281" cy="541281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9EBE221-07E4-ACD9-BE4C-B7792F9FA9E9}"/>
              </a:ext>
            </a:extLst>
          </p:cNvPr>
          <p:cNvGrpSpPr/>
          <p:nvPr/>
        </p:nvGrpSpPr>
        <p:grpSpPr>
          <a:xfrm>
            <a:off x="6325749" y="2021929"/>
            <a:ext cx="2020776" cy="541281"/>
            <a:chOff x="4074618" y="2079537"/>
            <a:chExt cx="2020776" cy="541281"/>
          </a:xfrm>
        </p:grpSpPr>
        <p:pic>
          <p:nvPicPr>
            <p:cNvPr id="29" name="717 snowflake">
              <a:extLst>
                <a:ext uri="{FF2B5EF4-FFF2-40B4-BE49-F238E27FC236}">
                  <a16:creationId xmlns:a16="http://schemas.microsoft.com/office/drawing/2014/main" id="{5C39BE04-BCF5-85CB-30E8-BB69C5EE0AB7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4074618" y="2088534"/>
              <a:ext cx="523286" cy="523286"/>
            </a:xfrm>
            <a:prstGeom prst="rect">
              <a:avLst/>
            </a:prstGeom>
          </p:spPr>
        </p:pic>
        <p:pic>
          <p:nvPicPr>
            <p:cNvPr id="30" name="718 thermometer">
              <a:extLst>
                <a:ext uri="{FF2B5EF4-FFF2-40B4-BE49-F238E27FC236}">
                  <a16:creationId xmlns:a16="http://schemas.microsoft.com/office/drawing/2014/main" id="{B4F57410-F9BA-6DC4-AC54-9B78FBCE9852}"/>
                </a:ext>
              </a:extLst>
            </p:cNvPr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5554113" y="2079537"/>
              <a:ext cx="541281" cy="541281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49E77A23-2EC1-77CC-707C-6612224C4CFA}"/>
              </a:ext>
            </a:extLst>
          </p:cNvPr>
          <p:cNvSpPr txBox="1"/>
          <p:nvPr/>
        </p:nvSpPr>
        <p:spPr>
          <a:xfrm>
            <a:off x="809462" y="4432091"/>
            <a:ext cx="2504932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+mn-lt"/>
              </a:rPr>
              <a:t>CABIN </a:t>
            </a:r>
            <a:br>
              <a:rPr lang="en-US" sz="2400" b="1">
                <a:solidFill>
                  <a:schemeClr val="bg1"/>
                </a:solidFill>
                <a:latin typeface="+mn-lt"/>
              </a:rPr>
            </a:br>
            <a:r>
              <a:rPr lang="en-US" sz="2400" b="1">
                <a:solidFill>
                  <a:schemeClr val="bg1"/>
                </a:solidFill>
                <a:latin typeface="+mn-lt"/>
              </a:rPr>
              <a:t>THERMAL MANAGEMENT SYSTEM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378A2E8-6BFD-8F20-CE41-50265E442546}"/>
              </a:ext>
            </a:extLst>
          </p:cNvPr>
          <p:cNvGrpSpPr/>
          <p:nvPr/>
        </p:nvGrpSpPr>
        <p:grpSpPr>
          <a:xfrm>
            <a:off x="3939673" y="5519529"/>
            <a:ext cx="2020776" cy="541281"/>
            <a:chOff x="4074618" y="2079537"/>
            <a:chExt cx="2020776" cy="541281"/>
          </a:xfrm>
        </p:grpSpPr>
        <p:pic>
          <p:nvPicPr>
            <p:cNvPr id="34" name="717 snowflake">
              <a:extLst>
                <a:ext uri="{FF2B5EF4-FFF2-40B4-BE49-F238E27FC236}">
                  <a16:creationId xmlns:a16="http://schemas.microsoft.com/office/drawing/2014/main" id="{6EE808DE-A9EA-3171-AFF5-7C5CE7149727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4074618" y="2088534"/>
              <a:ext cx="523286" cy="523286"/>
            </a:xfrm>
            <a:prstGeom prst="rect">
              <a:avLst/>
            </a:prstGeom>
          </p:spPr>
        </p:pic>
        <p:pic>
          <p:nvPicPr>
            <p:cNvPr id="35" name="718 thermometer">
              <a:extLst>
                <a:ext uri="{FF2B5EF4-FFF2-40B4-BE49-F238E27FC236}">
                  <a16:creationId xmlns:a16="http://schemas.microsoft.com/office/drawing/2014/main" id="{938F98A0-BD36-8467-B314-6B4C9FF33245}"/>
                </a:ext>
              </a:extLst>
            </p:cNvPr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5554113" y="2079537"/>
              <a:ext cx="541281" cy="541281"/>
            </a:xfrm>
            <a:prstGeom prst="rect">
              <a:avLst/>
            </a:prstGeom>
          </p:spPr>
        </p:pic>
      </p:grpSp>
      <p:pic>
        <p:nvPicPr>
          <p:cNvPr id="36" name="418 smart steering wheel">
            <a:extLst>
              <a:ext uri="{FF2B5EF4-FFF2-40B4-BE49-F238E27FC236}">
                <a16:creationId xmlns:a16="http://schemas.microsoft.com/office/drawing/2014/main" id="{EAC3294C-DAF3-B2FE-80BF-D883E6A94BB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516139" y="5294613"/>
            <a:ext cx="943667" cy="943667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BFC8936B-F878-664B-17F5-E7B88989CD2E}"/>
              </a:ext>
            </a:extLst>
          </p:cNvPr>
          <p:cNvSpPr txBox="1"/>
          <p:nvPr/>
        </p:nvSpPr>
        <p:spPr>
          <a:xfrm>
            <a:off x="8858405" y="4247426"/>
            <a:ext cx="2504932" cy="18466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+mn-lt"/>
              </a:rPr>
              <a:t>BRAKE RESISTORS </a:t>
            </a:r>
            <a:br>
              <a:rPr lang="en-US" sz="2400" b="1">
                <a:solidFill>
                  <a:schemeClr val="bg1"/>
                </a:solidFill>
                <a:latin typeface="+mn-lt"/>
              </a:rPr>
            </a:br>
            <a:r>
              <a:rPr lang="en-US" sz="2400" b="1">
                <a:solidFill>
                  <a:schemeClr val="bg1"/>
                </a:solidFill>
                <a:latin typeface="+mn-lt"/>
              </a:rPr>
              <a:t>THERMAL MANAGEMENT SYSTEM</a:t>
            </a:r>
          </a:p>
        </p:txBody>
      </p:sp>
      <p:pic>
        <p:nvPicPr>
          <p:cNvPr id="38" name="612 pedal">
            <a:extLst>
              <a:ext uri="{FF2B5EF4-FFF2-40B4-BE49-F238E27FC236}">
                <a16:creationId xmlns:a16="http://schemas.microsoft.com/office/drawing/2014/main" id="{1669CA70-6F28-1A0E-73AB-559099097FD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6863478" y="5416631"/>
            <a:ext cx="1001548" cy="725611"/>
          </a:xfrm>
          <a:prstGeom prst="rect">
            <a:avLst/>
          </a:prstGeom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178091B3-ED29-9B0D-2139-A2E783C10732}"/>
              </a:ext>
            </a:extLst>
          </p:cNvPr>
          <p:cNvGrpSpPr/>
          <p:nvPr/>
        </p:nvGrpSpPr>
        <p:grpSpPr>
          <a:xfrm>
            <a:off x="6316145" y="5519529"/>
            <a:ext cx="2020776" cy="541281"/>
            <a:chOff x="4074618" y="2079537"/>
            <a:chExt cx="2020776" cy="541281"/>
          </a:xfrm>
        </p:grpSpPr>
        <p:pic>
          <p:nvPicPr>
            <p:cNvPr id="40" name="717 snowflake">
              <a:extLst>
                <a:ext uri="{FF2B5EF4-FFF2-40B4-BE49-F238E27FC236}">
                  <a16:creationId xmlns:a16="http://schemas.microsoft.com/office/drawing/2014/main" id="{6FC1C5CA-1BAD-271B-B19F-42045A0CE86A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4074618" y="2088534"/>
              <a:ext cx="523286" cy="523286"/>
            </a:xfrm>
            <a:prstGeom prst="rect">
              <a:avLst/>
            </a:prstGeom>
          </p:spPr>
        </p:pic>
        <p:pic>
          <p:nvPicPr>
            <p:cNvPr id="41" name="718 thermometer">
              <a:extLst>
                <a:ext uri="{FF2B5EF4-FFF2-40B4-BE49-F238E27FC236}">
                  <a16:creationId xmlns:a16="http://schemas.microsoft.com/office/drawing/2014/main" id="{BFABC8E6-84AF-EBCA-E235-1A28027F0069}"/>
                </a:ext>
              </a:extLst>
            </p:cNvPr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5554113" y="2079537"/>
              <a:ext cx="541281" cy="541281"/>
            </a:xfrm>
            <a:prstGeom prst="rect">
              <a:avLst/>
            </a:prstGeom>
          </p:spPr>
        </p:pic>
      </p:grpSp>
      <p:pic>
        <p:nvPicPr>
          <p:cNvPr id="42" name="624 electric motor">
            <a:extLst>
              <a:ext uri="{FF2B5EF4-FFF2-40B4-BE49-F238E27FC236}">
                <a16:creationId xmlns:a16="http://schemas.microsoft.com/office/drawing/2014/main" id="{F397E5A4-A237-B612-5029-CF7914F9B09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849035" y="1771336"/>
            <a:ext cx="1044174" cy="1044174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7478BE77-5B6D-FA38-AE58-C0A3D392B930}"/>
              </a:ext>
            </a:extLst>
          </p:cNvPr>
          <p:cNvSpPr txBox="1"/>
          <p:nvPr/>
        </p:nvSpPr>
        <p:spPr>
          <a:xfrm>
            <a:off x="8858405" y="2075303"/>
            <a:ext cx="2504932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+mn-lt"/>
              </a:rPr>
              <a:t>EDU AND PE THERMAL MANAGEMENT SYSTEM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BF1B065-7457-E09E-D53F-8AF9515E461E}"/>
              </a:ext>
            </a:extLst>
          </p:cNvPr>
          <p:cNvSpPr txBox="1"/>
          <p:nvPr/>
        </p:nvSpPr>
        <p:spPr>
          <a:xfrm>
            <a:off x="4335104" y="3484363"/>
            <a:ext cx="3520581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400" b="1">
                <a:latin typeface="+mn-lt"/>
              </a:rPr>
              <a:t>4 main sub-systems </a:t>
            </a:r>
            <a:r>
              <a:rPr lang="en-US" sz="2400">
                <a:latin typeface="+mn-lt"/>
              </a:rPr>
              <a:t>compose CV therma</a:t>
            </a:r>
            <a:r>
              <a:rPr lang="en-US" sz="2400"/>
              <a:t>l management system</a:t>
            </a:r>
            <a:endParaRPr lang="en-US" sz="2400">
              <a:solidFill>
                <a:schemeClr val="accent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9697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9B3FE592-5732-41DD-77AD-5356658810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0022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3FE592-5732-41DD-77AD-5356658810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1643651909">
            <a:extLst>
              <a:ext uri="{FF2B5EF4-FFF2-40B4-BE49-F238E27FC236}">
                <a16:creationId xmlns:a16="http://schemas.microsoft.com/office/drawing/2014/main" id="{E6B7F00C-F5AE-EDCE-3EB0-093D5645F490}"/>
              </a:ext>
            </a:extLst>
          </p:cNvPr>
          <p:cNvSpPr txBox="1"/>
          <p:nvPr/>
        </p:nvSpPr>
        <p:spPr>
          <a:xfrm>
            <a:off x="550863" y="4019025"/>
            <a:ext cx="5545137" cy="2303462"/>
          </a:xfrm>
          <a:prstGeom prst="roundRect">
            <a:avLst>
              <a:gd name="adj" fmla="val 2206"/>
            </a:avLst>
          </a:prstGeom>
          <a:gradFill flip="none" rotWithShape="1">
            <a:gsLst>
              <a:gs pos="0">
                <a:schemeClr val="accent1">
                  <a:lumMod val="75000"/>
                </a:schemeClr>
              </a:gs>
              <a:gs pos="100000">
                <a:schemeClr val="bg1">
                  <a:lumMod val="85000"/>
                </a:schemeClr>
              </a:gs>
              <a:gs pos="50000">
                <a:schemeClr val="accent1">
                  <a:lumMod val="90000"/>
                </a:schemeClr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>
            <a:defPPr>
              <a:defRPr lang="de-DE"/>
            </a:defPPr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bg1"/>
              </a:buClr>
              <a:buSzPct val="100000"/>
              <a:buFont typeface="FEV" panose="020B0604020202020204" charset="0"/>
              <a:buChar char="•"/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rgbClr val="FFFFFF"/>
                </a:solidFill>
                <a:cs typeface="Poppins" panose="00000500000000000000" pitchFamily="2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chemeClr val="bg1"/>
                </a:solidFill>
                <a:cs typeface="Poppins" panose="00000500000000000000" pitchFamily="2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1" name="TextBox1643651909">
            <a:extLst>
              <a:ext uri="{FF2B5EF4-FFF2-40B4-BE49-F238E27FC236}">
                <a16:creationId xmlns:a16="http://schemas.microsoft.com/office/drawing/2014/main" id="{553EAE8C-4DEE-2D63-01B4-0A45FEDDB5FA}"/>
              </a:ext>
            </a:extLst>
          </p:cNvPr>
          <p:cNvSpPr txBox="1"/>
          <p:nvPr/>
        </p:nvSpPr>
        <p:spPr>
          <a:xfrm>
            <a:off x="6096001" y="1700214"/>
            <a:ext cx="5545137" cy="2303462"/>
          </a:xfrm>
          <a:prstGeom prst="roundRect">
            <a:avLst>
              <a:gd name="adj" fmla="val 2206"/>
            </a:avLst>
          </a:prstGeom>
          <a:gradFill>
            <a:gsLst>
              <a:gs pos="0">
                <a:schemeClr val="accent2"/>
              </a:gs>
              <a:gs pos="100000">
                <a:schemeClr val="accent2">
                  <a:alpha val="74000"/>
                </a:schemeClr>
              </a:gs>
              <a:gs pos="50000">
                <a:schemeClr val="accent2">
                  <a:alpha val="97000"/>
                </a:schemeClr>
              </a:gs>
            </a:gsLst>
            <a:lin ang="19800000" scaled="1"/>
          </a:gra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AF4CD6-326B-E993-E599-8759949BB4E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1384" y="6406354"/>
            <a:ext cx="4727256" cy="246221"/>
          </a:xfrm>
        </p:spPr>
        <p:txBody>
          <a:bodyPr/>
          <a:lstStyle/>
          <a:p>
            <a:r>
              <a:rPr lang="en-US"/>
              <a:t>CV: commercial vehicle; PV: passenger vehicle; EDU: electric drive unit; PE: power electronics </a:t>
            </a:r>
            <a:br>
              <a:rPr lang="en-US"/>
            </a:br>
            <a:r>
              <a:rPr lang="en-US"/>
              <a:t>Source: FEV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1E71BE2-5560-BD5A-00B2-59FEDDAC7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Lower level of integration between the different thermal management systems is currently observed in the CV segment compared to PV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C5C133-7AB7-A191-1F9D-1D930918A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8" name="TextBox1643651909">
            <a:extLst>
              <a:ext uri="{FF2B5EF4-FFF2-40B4-BE49-F238E27FC236}">
                <a16:creationId xmlns:a16="http://schemas.microsoft.com/office/drawing/2014/main" id="{E5664CB0-68C1-AFC7-AC49-D584365A5677}"/>
              </a:ext>
            </a:extLst>
          </p:cNvPr>
          <p:cNvSpPr txBox="1"/>
          <p:nvPr/>
        </p:nvSpPr>
        <p:spPr>
          <a:xfrm>
            <a:off x="6096001" y="4019025"/>
            <a:ext cx="5545137" cy="2303462"/>
          </a:xfrm>
          <a:prstGeom prst="roundRect">
            <a:avLst>
              <a:gd name="adj" fmla="val 2206"/>
            </a:avLst>
          </a:prstGeom>
          <a:gradFill flip="none" rotWithShape="1">
            <a:gsLst>
              <a:gs pos="0">
                <a:srgbClr val="004754"/>
              </a:gs>
              <a:gs pos="100000">
                <a:srgbClr val="29BBCE"/>
              </a:gs>
              <a:gs pos="50000">
                <a:srgbClr val="0087A0"/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>
            <a:defPPr>
              <a:defRPr lang="de-DE"/>
            </a:defPPr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bg1"/>
              </a:buClr>
              <a:buSzPct val="100000"/>
              <a:buFont typeface="FEV" panose="020B0604020202020204" charset="0"/>
              <a:buChar char="•"/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rgbClr val="FFFFFF"/>
                </a:solidFill>
                <a:cs typeface="Poppins" panose="00000500000000000000" pitchFamily="2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chemeClr val="bg1"/>
                </a:solidFill>
                <a:cs typeface="Poppins" panose="00000500000000000000" pitchFamily="2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0" name="TextBox1643651909">
            <a:extLst>
              <a:ext uri="{FF2B5EF4-FFF2-40B4-BE49-F238E27FC236}">
                <a16:creationId xmlns:a16="http://schemas.microsoft.com/office/drawing/2014/main" id="{3ADFD294-7BCE-0DEF-3577-61BF5917CA6E}"/>
              </a:ext>
            </a:extLst>
          </p:cNvPr>
          <p:cNvSpPr txBox="1"/>
          <p:nvPr/>
        </p:nvSpPr>
        <p:spPr>
          <a:xfrm>
            <a:off x="550863" y="1700214"/>
            <a:ext cx="5545137" cy="2303462"/>
          </a:xfrm>
          <a:prstGeom prst="roundRect">
            <a:avLst>
              <a:gd name="adj" fmla="val 2206"/>
            </a:avLst>
          </a:prstGeom>
          <a:gradFill>
            <a:gsLst>
              <a:gs pos="0">
                <a:srgbClr val="6E031B"/>
              </a:gs>
              <a:gs pos="100000">
                <a:srgbClr val="CE506C"/>
              </a:gs>
              <a:gs pos="50000">
                <a:srgbClr val="B9052D"/>
              </a:gs>
            </a:gsLst>
            <a:lin ang="19800000" scaled="1"/>
          </a:gra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B73C87F-F13D-29E0-724C-2DD8CD58215C}"/>
              </a:ext>
            </a:extLst>
          </p:cNvPr>
          <p:cNvCxnSpPr>
            <a:cxnSpLocks/>
          </p:cNvCxnSpPr>
          <p:nvPr/>
        </p:nvCxnSpPr>
        <p:spPr>
          <a:xfrm flipH="1">
            <a:off x="465448" y="4011399"/>
            <a:ext cx="11312422" cy="0"/>
          </a:xfrm>
          <a:prstGeom prst="line">
            <a:avLst/>
          </a:prstGeom>
          <a:ln w="127000">
            <a:solidFill>
              <a:schemeClr val="bg1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EE82F025-120A-FF88-DF15-4E413536DBE1}"/>
              </a:ext>
            </a:extLst>
          </p:cNvPr>
          <p:cNvSpPr txBox="1"/>
          <p:nvPr/>
        </p:nvSpPr>
        <p:spPr>
          <a:xfrm>
            <a:off x="809462" y="2075303"/>
            <a:ext cx="2504932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+mn-lt"/>
              </a:rPr>
              <a:t>BATTERY THERMAL MANAGEMENT SYSTEM (BTMS)</a:t>
            </a:r>
          </a:p>
        </p:txBody>
      </p:sp>
      <p:sp>
        <p:nvSpPr>
          <p:cNvPr id="18" name="TextBox607018367">
            <a:extLst>
              <a:ext uri="{FF2B5EF4-FFF2-40B4-BE49-F238E27FC236}">
                <a16:creationId xmlns:a16="http://schemas.microsoft.com/office/drawing/2014/main" id="{21B6B1CE-999C-4149-DC28-4301F088C906}"/>
              </a:ext>
            </a:extLst>
          </p:cNvPr>
          <p:cNvSpPr txBox="1"/>
          <p:nvPr/>
        </p:nvSpPr>
        <p:spPr>
          <a:xfrm>
            <a:off x="3804727" y="2886632"/>
            <a:ext cx="4581333" cy="2303459"/>
          </a:xfrm>
          <a:prstGeom prst="roundRect">
            <a:avLst>
              <a:gd name="adj" fmla="val 2206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/>
          </a:p>
          <a:p>
            <a:endParaRPr lang="en-US" err="1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502CEA3-4641-C31F-218E-6AE8B028D092}"/>
              </a:ext>
            </a:extLst>
          </p:cNvPr>
          <p:cNvCxnSpPr>
            <a:cxnSpLocks/>
          </p:cNvCxnSpPr>
          <p:nvPr/>
        </p:nvCxnSpPr>
        <p:spPr>
          <a:xfrm>
            <a:off x="6095395" y="1628768"/>
            <a:ext cx="605" cy="4900696"/>
          </a:xfrm>
          <a:prstGeom prst="line">
            <a:avLst/>
          </a:prstGeom>
          <a:ln w="127000">
            <a:solidFill>
              <a:schemeClr val="bg1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A18D275-137C-5AD4-7DFF-34D4DB098507}"/>
              </a:ext>
            </a:extLst>
          </p:cNvPr>
          <p:cNvGrpSpPr/>
          <p:nvPr/>
        </p:nvGrpSpPr>
        <p:grpSpPr>
          <a:xfrm>
            <a:off x="3939673" y="1773087"/>
            <a:ext cx="2020776" cy="1038964"/>
            <a:chOff x="4074618" y="1830695"/>
            <a:chExt cx="2020776" cy="1038964"/>
          </a:xfrm>
        </p:grpSpPr>
        <p:pic>
          <p:nvPicPr>
            <p:cNvPr id="21" name="136 battery full (black)">
              <a:extLst>
                <a:ext uri="{FF2B5EF4-FFF2-40B4-BE49-F238E27FC236}">
                  <a16:creationId xmlns:a16="http://schemas.microsoft.com/office/drawing/2014/main" id="{3BA04734-31B5-8E9C-4146-7013795AE31C}"/>
                </a:ext>
              </a:extLst>
            </p:cNvPr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4577163" y="1830695"/>
              <a:ext cx="1038964" cy="1038964"/>
            </a:xfrm>
            <a:prstGeom prst="rect">
              <a:avLst/>
            </a:prstGeom>
          </p:spPr>
        </p:pic>
        <p:pic>
          <p:nvPicPr>
            <p:cNvPr id="22" name="717 snowflake">
              <a:extLst>
                <a:ext uri="{FF2B5EF4-FFF2-40B4-BE49-F238E27FC236}">
                  <a16:creationId xmlns:a16="http://schemas.microsoft.com/office/drawing/2014/main" id="{E01EACBE-F5B6-0A3F-5120-148020DCD1C6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4074618" y="2088534"/>
              <a:ext cx="523286" cy="523286"/>
            </a:xfrm>
            <a:prstGeom prst="rect">
              <a:avLst/>
            </a:prstGeom>
          </p:spPr>
        </p:pic>
        <p:pic>
          <p:nvPicPr>
            <p:cNvPr id="23" name="718 thermometer">
              <a:extLst>
                <a:ext uri="{FF2B5EF4-FFF2-40B4-BE49-F238E27FC236}">
                  <a16:creationId xmlns:a16="http://schemas.microsoft.com/office/drawing/2014/main" id="{5041686B-E96B-26E9-3F8D-D4464CA51FA6}"/>
                </a:ext>
              </a:extLst>
            </p:cNvPr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5554113" y="2079537"/>
              <a:ext cx="541281" cy="541281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9EBE221-07E4-ACD9-BE4C-B7792F9FA9E9}"/>
              </a:ext>
            </a:extLst>
          </p:cNvPr>
          <p:cNvGrpSpPr/>
          <p:nvPr/>
        </p:nvGrpSpPr>
        <p:grpSpPr>
          <a:xfrm>
            <a:off x="6325749" y="2021929"/>
            <a:ext cx="2020776" cy="541281"/>
            <a:chOff x="4074618" y="2079537"/>
            <a:chExt cx="2020776" cy="541281"/>
          </a:xfrm>
        </p:grpSpPr>
        <p:pic>
          <p:nvPicPr>
            <p:cNvPr id="29" name="717 snowflake">
              <a:extLst>
                <a:ext uri="{FF2B5EF4-FFF2-40B4-BE49-F238E27FC236}">
                  <a16:creationId xmlns:a16="http://schemas.microsoft.com/office/drawing/2014/main" id="{5C39BE04-BCF5-85CB-30E8-BB69C5EE0AB7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4074618" y="2088534"/>
              <a:ext cx="523286" cy="523286"/>
            </a:xfrm>
            <a:prstGeom prst="rect">
              <a:avLst/>
            </a:prstGeom>
          </p:spPr>
        </p:pic>
        <p:pic>
          <p:nvPicPr>
            <p:cNvPr id="30" name="718 thermometer">
              <a:extLst>
                <a:ext uri="{FF2B5EF4-FFF2-40B4-BE49-F238E27FC236}">
                  <a16:creationId xmlns:a16="http://schemas.microsoft.com/office/drawing/2014/main" id="{B4F57410-F9BA-6DC4-AC54-9B78FBCE9852}"/>
                </a:ext>
              </a:extLst>
            </p:cNvPr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5554113" y="2079537"/>
              <a:ext cx="541281" cy="541281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49E77A23-2EC1-77CC-707C-6612224C4CFA}"/>
              </a:ext>
            </a:extLst>
          </p:cNvPr>
          <p:cNvSpPr txBox="1"/>
          <p:nvPr/>
        </p:nvSpPr>
        <p:spPr>
          <a:xfrm>
            <a:off x="809462" y="4432091"/>
            <a:ext cx="2504932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+mn-lt"/>
              </a:rPr>
              <a:t>CABIN </a:t>
            </a:r>
            <a:br>
              <a:rPr lang="en-US" sz="2400" b="1">
                <a:solidFill>
                  <a:schemeClr val="bg1"/>
                </a:solidFill>
                <a:latin typeface="+mn-lt"/>
              </a:rPr>
            </a:br>
            <a:r>
              <a:rPr lang="en-US" sz="2400" b="1">
                <a:solidFill>
                  <a:schemeClr val="bg1"/>
                </a:solidFill>
                <a:latin typeface="+mn-lt"/>
              </a:rPr>
              <a:t>THERMAL MANAGEMENT SYSTEM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378A2E8-6BFD-8F20-CE41-50265E442546}"/>
              </a:ext>
            </a:extLst>
          </p:cNvPr>
          <p:cNvGrpSpPr/>
          <p:nvPr/>
        </p:nvGrpSpPr>
        <p:grpSpPr>
          <a:xfrm>
            <a:off x="3939673" y="5519529"/>
            <a:ext cx="2020776" cy="541281"/>
            <a:chOff x="4074618" y="2079537"/>
            <a:chExt cx="2020776" cy="541281"/>
          </a:xfrm>
        </p:grpSpPr>
        <p:pic>
          <p:nvPicPr>
            <p:cNvPr id="34" name="717 snowflake">
              <a:extLst>
                <a:ext uri="{FF2B5EF4-FFF2-40B4-BE49-F238E27FC236}">
                  <a16:creationId xmlns:a16="http://schemas.microsoft.com/office/drawing/2014/main" id="{6EE808DE-A9EA-3171-AFF5-7C5CE7149727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4074618" y="2088534"/>
              <a:ext cx="523286" cy="523286"/>
            </a:xfrm>
            <a:prstGeom prst="rect">
              <a:avLst/>
            </a:prstGeom>
          </p:spPr>
        </p:pic>
        <p:pic>
          <p:nvPicPr>
            <p:cNvPr id="35" name="718 thermometer">
              <a:extLst>
                <a:ext uri="{FF2B5EF4-FFF2-40B4-BE49-F238E27FC236}">
                  <a16:creationId xmlns:a16="http://schemas.microsoft.com/office/drawing/2014/main" id="{938F98A0-BD36-8467-B314-6B4C9FF33245}"/>
                </a:ext>
              </a:extLst>
            </p:cNvPr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5554113" y="2079537"/>
              <a:ext cx="541281" cy="541281"/>
            </a:xfrm>
            <a:prstGeom prst="rect">
              <a:avLst/>
            </a:prstGeom>
          </p:spPr>
        </p:pic>
      </p:grpSp>
      <p:pic>
        <p:nvPicPr>
          <p:cNvPr id="36" name="418 smart steering wheel">
            <a:extLst>
              <a:ext uri="{FF2B5EF4-FFF2-40B4-BE49-F238E27FC236}">
                <a16:creationId xmlns:a16="http://schemas.microsoft.com/office/drawing/2014/main" id="{EAC3294C-DAF3-B2FE-80BF-D883E6A94BB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516139" y="5294613"/>
            <a:ext cx="943667" cy="943667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BFC8936B-F878-664B-17F5-E7B88989CD2E}"/>
              </a:ext>
            </a:extLst>
          </p:cNvPr>
          <p:cNvSpPr txBox="1"/>
          <p:nvPr/>
        </p:nvSpPr>
        <p:spPr>
          <a:xfrm>
            <a:off x="8858405" y="4247426"/>
            <a:ext cx="2504932" cy="18466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+mn-lt"/>
              </a:rPr>
              <a:t>BRAKE RESISTORS </a:t>
            </a:r>
            <a:br>
              <a:rPr lang="en-US" sz="2400" b="1">
                <a:solidFill>
                  <a:schemeClr val="bg1"/>
                </a:solidFill>
                <a:latin typeface="+mn-lt"/>
              </a:rPr>
            </a:br>
            <a:r>
              <a:rPr lang="en-US" sz="2400" b="1">
                <a:solidFill>
                  <a:schemeClr val="bg1"/>
                </a:solidFill>
                <a:latin typeface="+mn-lt"/>
              </a:rPr>
              <a:t>THERMAL MANAGEMENT SYSTEM</a:t>
            </a:r>
          </a:p>
        </p:txBody>
      </p:sp>
      <p:pic>
        <p:nvPicPr>
          <p:cNvPr id="38" name="612 pedal">
            <a:extLst>
              <a:ext uri="{FF2B5EF4-FFF2-40B4-BE49-F238E27FC236}">
                <a16:creationId xmlns:a16="http://schemas.microsoft.com/office/drawing/2014/main" id="{1669CA70-6F28-1A0E-73AB-559099097FD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6863478" y="5416631"/>
            <a:ext cx="1001548" cy="725611"/>
          </a:xfrm>
          <a:prstGeom prst="rect">
            <a:avLst/>
          </a:prstGeom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178091B3-ED29-9B0D-2139-A2E783C10732}"/>
              </a:ext>
            </a:extLst>
          </p:cNvPr>
          <p:cNvGrpSpPr/>
          <p:nvPr/>
        </p:nvGrpSpPr>
        <p:grpSpPr>
          <a:xfrm>
            <a:off x="6316145" y="5519529"/>
            <a:ext cx="2020776" cy="541281"/>
            <a:chOff x="4074618" y="2079537"/>
            <a:chExt cx="2020776" cy="541281"/>
          </a:xfrm>
        </p:grpSpPr>
        <p:pic>
          <p:nvPicPr>
            <p:cNvPr id="40" name="717 snowflake">
              <a:extLst>
                <a:ext uri="{FF2B5EF4-FFF2-40B4-BE49-F238E27FC236}">
                  <a16:creationId xmlns:a16="http://schemas.microsoft.com/office/drawing/2014/main" id="{6FC1C5CA-1BAD-271B-B19F-42045A0CE86A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4074618" y="2088534"/>
              <a:ext cx="523286" cy="523286"/>
            </a:xfrm>
            <a:prstGeom prst="rect">
              <a:avLst/>
            </a:prstGeom>
          </p:spPr>
        </p:pic>
        <p:pic>
          <p:nvPicPr>
            <p:cNvPr id="41" name="718 thermometer">
              <a:extLst>
                <a:ext uri="{FF2B5EF4-FFF2-40B4-BE49-F238E27FC236}">
                  <a16:creationId xmlns:a16="http://schemas.microsoft.com/office/drawing/2014/main" id="{BFABC8E6-84AF-EBCA-E235-1A28027F0069}"/>
                </a:ext>
              </a:extLst>
            </p:cNvPr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5554113" y="2079537"/>
              <a:ext cx="541281" cy="541281"/>
            </a:xfrm>
            <a:prstGeom prst="rect">
              <a:avLst/>
            </a:prstGeom>
          </p:spPr>
        </p:pic>
      </p:grpSp>
      <p:pic>
        <p:nvPicPr>
          <p:cNvPr id="42" name="624 electric motor">
            <a:extLst>
              <a:ext uri="{FF2B5EF4-FFF2-40B4-BE49-F238E27FC236}">
                <a16:creationId xmlns:a16="http://schemas.microsoft.com/office/drawing/2014/main" id="{F397E5A4-A237-B612-5029-CF7914F9B09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849035" y="1771336"/>
            <a:ext cx="1044174" cy="1044174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7478BE77-5B6D-FA38-AE58-C0A3D392B930}"/>
              </a:ext>
            </a:extLst>
          </p:cNvPr>
          <p:cNvSpPr txBox="1"/>
          <p:nvPr/>
        </p:nvSpPr>
        <p:spPr>
          <a:xfrm>
            <a:off x="8858405" y="2075303"/>
            <a:ext cx="2504932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+mn-lt"/>
              </a:rPr>
              <a:t>EDU AND PE THERMAL MANAGEMENT SYSTEM</a:t>
            </a: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08078C1E-FFB7-5106-208E-D997C8F85FCD}"/>
              </a:ext>
            </a:extLst>
          </p:cNvPr>
          <p:cNvSpPr/>
          <p:nvPr/>
        </p:nvSpPr>
        <p:spPr>
          <a:xfrm rot="18900000">
            <a:off x="3991659" y="4631322"/>
            <a:ext cx="575861" cy="300891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75000"/>
                </a:schemeClr>
              </a:gs>
              <a:gs pos="100000">
                <a:schemeClr val="bg1">
                  <a:lumMod val="85000"/>
                </a:schemeClr>
              </a:gs>
              <a:gs pos="50000">
                <a:schemeClr val="accent1">
                  <a:lumMod val="90000"/>
                </a:schemeClr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400">
              <a:solidFill>
                <a:srgbClr val="FFFFFF"/>
              </a:solidFill>
              <a:cs typeface="Poppins" panose="00000500000000000000" pitchFamily="2" charset="0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E3EDA99B-F8A5-D837-9F63-5E427D7BD0C8}"/>
              </a:ext>
            </a:extLst>
          </p:cNvPr>
          <p:cNvSpPr/>
          <p:nvPr/>
        </p:nvSpPr>
        <p:spPr>
          <a:xfrm rot="13500000">
            <a:off x="7640918" y="4631323"/>
            <a:ext cx="575861" cy="300891"/>
          </a:xfrm>
          <a:prstGeom prst="rightArrow">
            <a:avLst/>
          </a:prstGeom>
          <a:gradFill flip="none" rotWithShape="1">
            <a:gsLst>
              <a:gs pos="0">
                <a:srgbClr val="004754"/>
              </a:gs>
              <a:gs pos="100000">
                <a:srgbClr val="29BBCE"/>
              </a:gs>
              <a:gs pos="50000">
                <a:srgbClr val="0087A0"/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400">
              <a:solidFill>
                <a:srgbClr val="FFFFFF"/>
              </a:solidFill>
              <a:cs typeface="Poppins" panose="00000500000000000000" pitchFamily="2" charset="0"/>
            </a:endParaRP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E6A870AD-CC45-24D1-9F29-541ED6043B1B}"/>
              </a:ext>
            </a:extLst>
          </p:cNvPr>
          <p:cNvSpPr/>
          <p:nvPr/>
        </p:nvSpPr>
        <p:spPr>
          <a:xfrm rot="8100000">
            <a:off x="7640918" y="3144864"/>
            <a:ext cx="575861" cy="300891"/>
          </a:xfrm>
          <a:prstGeom prst="rightArrow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alpha val="74000"/>
                </a:schemeClr>
              </a:gs>
              <a:gs pos="50000">
                <a:schemeClr val="accent2">
                  <a:alpha val="97000"/>
                </a:schemeClr>
              </a:gs>
            </a:gsLst>
            <a:lin ang="19800000" scaled="1"/>
          </a:gra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400">
              <a:cs typeface="Poppins" panose="00000500000000000000" pitchFamily="2" charset="0"/>
            </a:endParaRPr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3F60F2FA-7D20-A3DE-E271-ADEE0C0EFE04}"/>
              </a:ext>
            </a:extLst>
          </p:cNvPr>
          <p:cNvSpPr/>
          <p:nvPr/>
        </p:nvSpPr>
        <p:spPr>
          <a:xfrm rot="2700000">
            <a:off x="3991659" y="3144863"/>
            <a:ext cx="575861" cy="300891"/>
          </a:xfrm>
          <a:prstGeom prst="rightArrow">
            <a:avLst/>
          </a:prstGeom>
          <a:gradFill>
            <a:gsLst>
              <a:gs pos="0">
                <a:srgbClr val="6E031B"/>
              </a:gs>
              <a:gs pos="100000">
                <a:srgbClr val="CE506C"/>
              </a:gs>
              <a:gs pos="50000">
                <a:srgbClr val="B9052D"/>
              </a:gs>
            </a:gsLst>
            <a:lin ang="19800000" scaled="1"/>
          </a:gra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400">
              <a:cs typeface="Poppins" panose="00000500000000000000" pitchFamily="2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BF1B065-7457-E09E-D53F-8AF9515E461E}"/>
              </a:ext>
            </a:extLst>
          </p:cNvPr>
          <p:cNvSpPr txBox="1"/>
          <p:nvPr/>
        </p:nvSpPr>
        <p:spPr>
          <a:xfrm>
            <a:off x="4701024" y="3376642"/>
            <a:ext cx="2788739" cy="13234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>
                <a:latin typeface="+mn-lt"/>
              </a:rPr>
              <a:t>Currently</a:t>
            </a:r>
            <a:r>
              <a:rPr lang="en-US" b="1">
                <a:latin typeface="+mn-lt"/>
              </a:rPr>
              <a:t> lower integration and interactions </a:t>
            </a:r>
            <a:r>
              <a:rPr lang="en-US">
                <a:latin typeface="+mn-lt"/>
              </a:rPr>
              <a:t>observed</a:t>
            </a:r>
            <a:r>
              <a:rPr lang="en-US" b="1">
                <a:latin typeface="+mn-lt"/>
              </a:rPr>
              <a:t> </a:t>
            </a:r>
            <a:br>
              <a:rPr lang="en-US" b="1">
                <a:latin typeface="+mn-lt"/>
              </a:rPr>
            </a:br>
            <a:r>
              <a:rPr lang="en-US" sz="1600">
                <a:solidFill>
                  <a:schemeClr val="accent2"/>
                </a:solidFill>
                <a:latin typeface="+mn-lt"/>
              </a:rPr>
              <a:t>between the different TMS in CVs compared to PVs</a:t>
            </a:r>
            <a:endParaRPr lang="en-US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79A51E6A-8C5F-4F81-47A6-F5C032C330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1340768"/>
            <a:ext cx="11088021" cy="288000"/>
          </a:xfrm>
        </p:spPr>
        <p:txBody>
          <a:bodyPr/>
          <a:lstStyle/>
          <a:p>
            <a:r>
              <a:rPr lang="en-US"/>
              <a:t>CV TMS – SUB-system overview</a:t>
            </a:r>
          </a:p>
        </p:txBody>
      </p:sp>
    </p:spTree>
    <p:extLst>
      <p:ext uri="{BB962C8B-B14F-4D97-AF65-F5344CB8AC3E}">
        <p14:creationId xmlns:p14="http://schemas.microsoft.com/office/powerpoint/2010/main" val="944787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868C49-A618-E768-56BB-8BA4D2858C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DFD482BE-D264-D8DC-2DE5-7651D468B6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47" imgH="348" progId="TCLayout.ActiveDocument.1">
                  <p:embed/>
                </p:oleObj>
              </mc:Choice>
              <mc:Fallback>
                <p:oleObj name="think-cell Slide" r:id="rId19" imgW="347" imgH="34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D482BE-D264-D8DC-2DE5-7651D468B6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1643651909">
            <a:extLst>
              <a:ext uri="{FF2B5EF4-FFF2-40B4-BE49-F238E27FC236}">
                <a16:creationId xmlns:a16="http://schemas.microsoft.com/office/drawing/2014/main" id="{D4F72797-D97F-C01F-737B-1A7D01E98B66}"/>
              </a:ext>
            </a:extLst>
          </p:cNvPr>
          <p:cNvSpPr txBox="1"/>
          <p:nvPr/>
        </p:nvSpPr>
        <p:spPr>
          <a:xfrm>
            <a:off x="6096001" y="1700214"/>
            <a:ext cx="5545137" cy="2303462"/>
          </a:xfrm>
          <a:prstGeom prst="roundRect">
            <a:avLst>
              <a:gd name="adj" fmla="val 2206"/>
            </a:avLst>
          </a:prstGeom>
          <a:gradFill>
            <a:gsLst>
              <a:gs pos="0">
                <a:schemeClr val="accent2"/>
              </a:gs>
              <a:gs pos="100000">
                <a:schemeClr val="accent2">
                  <a:alpha val="74000"/>
                </a:schemeClr>
              </a:gs>
              <a:gs pos="50000">
                <a:schemeClr val="accent2">
                  <a:alpha val="97000"/>
                </a:schemeClr>
              </a:gs>
            </a:gsLst>
            <a:lin ang="19800000" scaled="1"/>
          </a:gra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8F48FE-A8B7-30A3-29DB-E7563356B1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1384" y="6406354"/>
            <a:ext cx="5208157" cy="246221"/>
          </a:xfrm>
        </p:spPr>
        <p:txBody>
          <a:bodyPr/>
          <a:lstStyle/>
          <a:p>
            <a:r>
              <a:rPr lang="en-US"/>
              <a:t>CV: commercial vehicle; PV: passenger vehicle; EDU: electric drive unit; ICE: internal combustion engine</a:t>
            </a:r>
            <a:br>
              <a:rPr lang="en-US"/>
            </a:br>
            <a:r>
              <a:rPr lang="en-US"/>
              <a:t>Source: FEV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44859B-4F26-C2E0-7106-F7C119B887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he current low level of TMS integration for CVs can be explained by factors linked both to market conditions and technological challeng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87661B-ADC0-57FF-8555-6BE58E50B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7" name="TextBox1643651909">
            <a:extLst>
              <a:ext uri="{FF2B5EF4-FFF2-40B4-BE49-F238E27FC236}">
                <a16:creationId xmlns:a16="http://schemas.microsoft.com/office/drawing/2014/main" id="{32F624FC-4E8A-D093-1599-67E46366FB62}"/>
              </a:ext>
            </a:extLst>
          </p:cNvPr>
          <p:cNvSpPr txBox="1"/>
          <p:nvPr/>
        </p:nvSpPr>
        <p:spPr>
          <a:xfrm>
            <a:off x="550863" y="1700214"/>
            <a:ext cx="5545137" cy="2303462"/>
          </a:xfrm>
          <a:prstGeom prst="roundRect">
            <a:avLst>
              <a:gd name="adj" fmla="val 2206"/>
            </a:avLst>
          </a:prstGeom>
          <a:gradFill>
            <a:gsLst>
              <a:gs pos="0">
                <a:schemeClr val="accent3"/>
              </a:gs>
              <a:gs pos="55000">
                <a:schemeClr val="accent3">
                  <a:alpha val="81000"/>
                </a:schemeClr>
              </a:gs>
              <a:gs pos="100000">
                <a:schemeClr val="accent3">
                  <a:alpha val="31000"/>
                </a:schemeClr>
              </a:gs>
            </a:gsLst>
            <a:lin ang="19800000" scaled="0"/>
          </a:gra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8" name="TextBox1643651909">
            <a:extLst>
              <a:ext uri="{FF2B5EF4-FFF2-40B4-BE49-F238E27FC236}">
                <a16:creationId xmlns:a16="http://schemas.microsoft.com/office/drawing/2014/main" id="{10B0E99A-0B2A-5E6B-FD2E-7840D4AF6103}"/>
              </a:ext>
            </a:extLst>
          </p:cNvPr>
          <p:cNvSpPr txBox="1"/>
          <p:nvPr/>
        </p:nvSpPr>
        <p:spPr>
          <a:xfrm>
            <a:off x="550863" y="4019025"/>
            <a:ext cx="5545137" cy="2303462"/>
          </a:xfrm>
          <a:prstGeom prst="roundRect">
            <a:avLst>
              <a:gd name="adj" fmla="val 2206"/>
            </a:avLst>
          </a:prstGeom>
          <a:gradFill flip="none" rotWithShape="1">
            <a:gsLst>
              <a:gs pos="0">
                <a:srgbClr val="004754"/>
              </a:gs>
              <a:gs pos="100000">
                <a:srgbClr val="29BBCE"/>
              </a:gs>
              <a:gs pos="50000">
                <a:srgbClr val="0087A0"/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>
            <a:defPPr>
              <a:defRPr lang="de-DE"/>
            </a:defPPr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bg1"/>
              </a:buClr>
              <a:buSzPct val="100000"/>
              <a:buFont typeface="FEV" panose="020B0604020202020204" charset="0"/>
              <a:buChar char="•"/>
              <a:defRPr sz="14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400">
                <a:solidFill>
                  <a:srgbClr val="FFFFFF"/>
                </a:solidFill>
                <a:cs typeface="Poppins" panose="00000500000000000000" pitchFamily="2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rgbClr val="FFFFFF"/>
                </a:solidFill>
                <a:cs typeface="Poppins" panose="00000500000000000000" pitchFamily="2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sz="1200">
                <a:solidFill>
                  <a:schemeClr val="bg1"/>
                </a:solidFill>
                <a:cs typeface="Poppins" panose="00000500000000000000" pitchFamily="2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sz="1600">
                <a:latin typeface="Segoe UI" panose="020B0502040204020203" pitchFamily="34" charset="0"/>
                <a:cs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0" name="TextBox1643651909">
            <a:extLst>
              <a:ext uri="{FF2B5EF4-FFF2-40B4-BE49-F238E27FC236}">
                <a16:creationId xmlns:a16="http://schemas.microsoft.com/office/drawing/2014/main" id="{B7100368-8984-D626-32F9-EC735918290F}"/>
              </a:ext>
            </a:extLst>
          </p:cNvPr>
          <p:cNvSpPr txBox="1"/>
          <p:nvPr/>
        </p:nvSpPr>
        <p:spPr>
          <a:xfrm>
            <a:off x="6096001" y="4019025"/>
            <a:ext cx="5545137" cy="2303462"/>
          </a:xfrm>
          <a:prstGeom prst="roundRect">
            <a:avLst>
              <a:gd name="adj" fmla="val 2206"/>
            </a:avLst>
          </a:prstGeom>
          <a:gradFill>
            <a:gsLst>
              <a:gs pos="0">
                <a:srgbClr val="6E031B"/>
              </a:gs>
              <a:gs pos="100000">
                <a:srgbClr val="CE506C"/>
              </a:gs>
              <a:gs pos="50000">
                <a:srgbClr val="B9052D"/>
              </a:gs>
            </a:gsLst>
            <a:lin ang="19800000" scaled="1"/>
          </a:gra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50CBDDF-F3EA-2CD8-EA5D-E00DBEB6717E}"/>
              </a:ext>
            </a:extLst>
          </p:cNvPr>
          <p:cNvCxnSpPr>
            <a:cxnSpLocks/>
          </p:cNvCxnSpPr>
          <p:nvPr/>
        </p:nvCxnSpPr>
        <p:spPr>
          <a:xfrm flipH="1">
            <a:off x="465448" y="4011399"/>
            <a:ext cx="11312422" cy="0"/>
          </a:xfrm>
          <a:prstGeom prst="line">
            <a:avLst/>
          </a:prstGeom>
          <a:ln w="127000">
            <a:solidFill>
              <a:schemeClr val="bg1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0AA7AD06-AC1B-A4A1-16E2-9A6D6A0124D8}"/>
              </a:ext>
            </a:extLst>
          </p:cNvPr>
          <p:cNvSpPr txBox="1"/>
          <p:nvPr/>
        </p:nvSpPr>
        <p:spPr>
          <a:xfrm>
            <a:off x="809462" y="2075303"/>
            <a:ext cx="2504932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+mn-lt"/>
              </a:rPr>
              <a:t>BATTERY THERMAL MANAGEMENT SYSTEM (BTMS)</a:t>
            </a:r>
          </a:p>
        </p:txBody>
      </p:sp>
      <p:sp>
        <p:nvSpPr>
          <p:cNvPr id="18" name="TextBox607018367">
            <a:extLst>
              <a:ext uri="{FF2B5EF4-FFF2-40B4-BE49-F238E27FC236}">
                <a16:creationId xmlns:a16="http://schemas.microsoft.com/office/drawing/2014/main" id="{1BB5BDC6-BDBA-B1D6-3110-94CC6E799161}"/>
              </a:ext>
            </a:extLst>
          </p:cNvPr>
          <p:cNvSpPr txBox="1"/>
          <p:nvPr/>
        </p:nvSpPr>
        <p:spPr>
          <a:xfrm>
            <a:off x="3804727" y="2886632"/>
            <a:ext cx="4581333" cy="2303459"/>
          </a:xfrm>
          <a:prstGeom prst="roundRect">
            <a:avLst>
              <a:gd name="adj" fmla="val 2206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/>
          </a:p>
          <a:p>
            <a:endParaRPr lang="en-US" err="1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2C11079-23F6-EEBC-4A87-4FBB509C0301}"/>
              </a:ext>
            </a:extLst>
          </p:cNvPr>
          <p:cNvCxnSpPr>
            <a:cxnSpLocks/>
          </p:cNvCxnSpPr>
          <p:nvPr/>
        </p:nvCxnSpPr>
        <p:spPr>
          <a:xfrm>
            <a:off x="6095395" y="1628768"/>
            <a:ext cx="605" cy="4900696"/>
          </a:xfrm>
          <a:prstGeom prst="line">
            <a:avLst/>
          </a:prstGeom>
          <a:ln w="127000">
            <a:solidFill>
              <a:schemeClr val="bg1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0C94577-0EF9-75E1-839C-FDFB10CC4A29}"/>
              </a:ext>
            </a:extLst>
          </p:cNvPr>
          <p:cNvGrpSpPr/>
          <p:nvPr/>
        </p:nvGrpSpPr>
        <p:grpSpPr>
          <a:xfrm>
            <a:off x="3939673" y="1773087"/>
            <a:ext cx="2020776" cy="1038964"/>
            <a:chOff x="4074618" y="1830695"/>
            <a:chExt cx="2020776" cy="1038964"/>
          </a:xfrm>
        </p:grpSpPr>
        <p:pic>
          <p:nvPicPr>
            <p:cNvPr id="21" name="136 battery full (black)">
              <a:extLst>
                <a:ext uri="{FF2B5EF4-FFF2-40B4-BE49-F238E27FC236}">
                  <a16:creationId xmlns:a16="http://schemas.microsoft.com/office/drawing/2014/main" id="{E6C9FA50-4D00-AAEA-D7BF-D0480B85F6CD}"/>
                </a:ext>
              </a:extLst>
            </p:cNvPr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4577163" y="1830695"/>
              <a:ext cx="1038964" cy="1038964"/>
            </a:xfrm>
            <a:prstGeom prst="rect">
              <a:avLst/>
            </a:prstGeom>
          </p:spPr>
        </p:pic>
        <p:pic>
          <p:nvPicPr>
            <p:cNvPr id="22" name="717 snowflake">
              <a:extLst>
                <a:ext uri="{FF2B5EF4-FFF2-40B4-BE49-F238E27FC236}">
                  <a16:creationId xmlns:a16="http://schemas.microsoft.com/office/drawing/2014/main" id="{29F6A2C6-6EBE-B9C0-347A-A7C96CC331A9}"/>
                </a:ext>
              </a:extLst>
            </p:cNvPr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4074618" y="2088534"/>
              <a:ext cx="523286" cy="523286"/>
            </a:xfrm>
            <a:prstGeom prst="rect">
              <a:avLst/>
            </a:prstGeom>
          </p:spPr>
        </p:pic>
        <p:pic>
          <p:nvPicPr>
            <p:cNvPr id="23" name="718 thermometer">
              <a:extLst>
                <a:ext uri="{FF2B5EF4-FFF2-40B4-BE49-F238E27FC236}">
                  <a16:creationId xmlns:a16="http://schemas.microsoft.com/office/drawing/2014/main" id="{2394E656-FFD3-290E-6097-9BA3573E0A9E}"/>
                </a:ext>
              </a:extLst>
            </p:cNvPr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5554113" y="2079537"/>
              <a:ext cx="541281" cy="541281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F4721EF-CE5D-DEFF-82AF-902C5564234D}"/>
              </a:ext>
            </a:extLst>
          </p:cNvPr>
          <p:cNvGrpSpPr/>
          <p:nvPr/>
        </p:nvGrpSpPr>
        <p:grpSpPr>
          <a:xfrm>
            <a:off x="6325749" y="2021929"/>
            <a:ext cx="2020776" cy="541281"/>
            <a:chOff x="4074618" y="2079537"/>
            <a:chExt cx="2020776" cy="541281"/>
          </a:xfrm>
        </p:grpSpPr>
        <p:pic>
          <p:nvPicPr>
            <p:cNvPr id="29" name="717 snowflake">
              <a:extLst>
                <a:ext uri="{FF2B5EF4-FFF2-40B4-BE49-F238E27FC236}">
                  <a16:creationId xmlns:a16="http://schemas.microsoft.com/office/drawing/2014/main" id="{2E3208C5-E1A2-F630-9EE5-0628E36D8A96}"/>
                </a:ext>
              </a:extLst>
            </p:cNvPr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4074618" y="2088534"/>
              <a:ext cx="523286" cy="523286"/>
            </a:xfrm>
            <a:prstGeom prst="rect">
              <a:avLst/>
            </a:prstGeom>
          </p:spPr>
        </p:pic>
        <p:pic>
          <p:nvPicPr>
            <p:cNvPr id="30" name="718 thermometer">
              <a:extLst>
                <a:ext uri="{FF2B5EF4-FFF2-40B4-BE49-F238E27FC236}">
                  <a16:creationId xmlns:a16="http://schemas.microsoft.com/office/drawing/2014/main" id="{F14B7F6F-4B90-8BB8-7A86-21B153723547}"/>
                </a:ext>
              </a:extLst>
            </p:cNvPr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5554113" y="2079537"/>
              <a:ext cx="541281" cy="541281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0D9ABE71-00F7-BB3D-5D44-932D2C492299}"/>
              </a:ext>
            </a:extLst>
          </p:cNvPr>
          <p:cNvSpPr txBox="1"/>
          <p:nvPr/>
        </p:nvSpPr>
        <p:spPr>
          <a:xfrm>
            <a:off x="809462" y="4432091"/>
            <a:ext cx="2504932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+mn-lt"/>
              </a:rPr>
              <a:t>CABIN </a:t>
            </a:r>
            <a:br>
              <a:rPr lang="en-US" sz="2400" b="1">
                <a:solidFill>
                  <a:schemeClr val="bg1"/>
                </a:solidFill>
                <a:latin typeface="+mn-lt"/>
              </a:rPr>
            </a:br>
            <a:r>
              <a:rPr lang="en-US" sz="2400" b="1">
                <a:solidFill>
                  <a:schemeClr val="bg1"/>
                </a:solidFill>
                <a:latin typeface="+mn-lt"/>
              </a:rPr>
              <a:t>THERMAL MANAGEMENT SYSTEM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156616E-920F-DBA7-B77F-D5038D64BEC7}"/>
              </a:ext>
            </a:extLst>
          </p:cNvPr>
          <p:cNvGrpSpPr/>
          <p:nvPr/>
        </p:nvGrpSpPr>
        <p:grpSpPr>
          <a:xfrm>
            <a:off x="3939673" y="5519529"/>
            <a:ext cx="2020776" cy="541281"/>
            <a:chOff x="4074618" y="2079537"/>
            <a:chExt cx="2020776" cy="541281"/>
          </a:xfrm>
        </p:grpSpPr>
        <p:pic>
          <p:nvPicPr>
            <p:cNvPr id="34" name="717 snowflake">
              <a:extLst>
                <a:ext uri="{FF2B5EF4-FFF2-40B4-BE49-F238E27FC236}">
                  <a16:creationId xmlns:a16="http://schemas.microsoft.com/office/drawing/2014/main" id="{20D5F93D-85AE-1869-1EA9-0B14C19CE32A}"/>
                </a:ext>
              </a:extLst>
            </p:cNvPr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4074618" y="2088534"/>
              <a:ext cx="523286" cy="523286"/>
            </a:xfrm>
            <a:prstGeom prst="rect">
              <a:avLst/>
            </a:prstGeom>
          </p:spPr>
        </p:pic>
        <p:pic>
          <p:nvPicPr>
            <p:cNvPr id="35" name="718 thermometer">
              <a:extLst>
                <a:ext uri="{FF2B5EF4-FFF2-40B4-BE49-F238E27FC236}">
                  <a16:creationId xmlns:a16="http://schemas.microsoft.com/office/drawing/2014/main" id="{286CA26D-1BEB-784E-BF48-6BEF2E741BD4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5554113" y="2079537"/>
              <a:ext cx="541281" cy="541281"/>
            </a:xfrm>
            <a:prstGeom prst="rect">
              <a:avLst/>
            </a:prstGeom>
          </p:spPr>
        </p:pic>
      </p:grpSp>
      <p:pic>
        <p:nvPicPr>
          <p:cNvPr id="36" name="418 smart steering wheel">
            <a:extLst>
              <a:ext uri="{FF2B5EF4-FFF2-40B4-BE49-F238E27FC236}">
                <a16:creationId xmlns:a16="http://schemas.microsoft.com/office/drawing/2014/main" id="{38B23A0B-8862-234D-735A-F8B5567F365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4516139" y="5294613"/>
            <a:ext cx="943667" cy="943667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F6E68FB6-EF42-2CA7-EE34-EFD31031C0A1}"/>
              </a:ext>
            </a:extLst>
          </p:cNvPr>
          <p:cNvSpPr txBox="1"/>
          <p:nvPr/>
        </p:nvSpPr>
        <p:spPr>
          <a:xfrm>
            <a:off x="8858405" y="4247426"/>
            <a:ext cx="2504932" cy="18466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+mn-lt"/>
              </a:rPr>
              <a:t>BRAKE RESISTORS </a:t>
            </a:r>
            <a:br>
              <a:rPr lang="en-US" sz="2400" b="1">
                <a:solidFill>
                  <a:schemeClr val="bg1"/>
                </a:solidFill>
                <a:latin typeface="+mn-lt"/>
              </a:rPr>
            </a:br>
            <a:r>
              <a:rPr lang="en-US" sz="2400" b="1">
                <a:solidFill>
                  <a:schemeClr val="bg1"/>
                </a:solidFill>
                <a:latin typeface="+mn-lt"/>
              </a:rPr>
              <a:t>THERMAL MANAGEMENT SYSTEM</a:t>
            </a:r>
          </a:p>
        </p:txBody>
      </p:sp>
      <p:pic>
        <p:nvPicPr>
          <p:cNvPr id="38" name="612 pedal">
            <a:extLst>
              <a:ext uri="{FF2B5EF4-FFF2-40B4-BE49-F238E27FC236}">
                <a16:creationId xmlns:a16="http://schemas.microsoft.com/office/drawing/2014/main" id="{870C221B-DD14-1071-5077-682A75C7A34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6863478" y="5416631"/>
            <a:ext cx="1001548" cy="725611"/>
          </a:xfrm>
          <a:prstGeom prst="rect">
            <a:avLst/>
          </a:prstGeom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5E85025D-23D1-BBA8-D6EC-6A91509EBE7C}"/>
              </a:ext>
            </a:extLst>
          </p:cNvPr>
          <p:cNvGrpSpPr/>
          <p:nvPr/>
        </p:nvGrpSpPr>
        <p:grpSpPr>
          <a:xfrm>
            <a:off x="6316145" y="5519529"/>
            <a:ext cx="2020776" cy="541281"/>
            <a:chOff x="4074618" y="2079537"/>
            <a:chExt cx="2020776" cy="541281"/>
          </a:xfrm>
        </p:grpSpPr>
        <p:pic>
          <p:nvPicPr>
            <p:cNvPr id="40" name="717 snowflake">
              <a:extLst>
                <a:ext uri="{FF2B5EF4-FFF2-40B4-BE49-F238E27FC236}">
                  <a16:creationId xmlns:a16="http://schemas.microsoft.com/office/drawing/2014/main" id="{27412821-7008-9D6A-8F8A-B12DF3A6AD02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4074618" y="2088534"/>
              <a:ext cx="523286" cy="523286"/>
            </a:xfrm>
            <a:prstGeom prst="rect">
              <a:avLst/>
            </a:prstGeom>
          </p:spPr>
        </p:pic>
        <p:pic>
          <p:nvPicPr>
            <p:cNvPr id="41" name="718 thermometer">
              <a:extLst>
                <a:ext uri="{FF2B5EF4-FFF2-40B4-BE49-F238E27FC236}">
                  <a16:creationId xmlns:a16="http://schemas.microsoft.com/office/drawing/2014/main" id="{42BCE5DB-E513-EDF9-CA48-753EA6592E3C}"/>
                </a:ext>
              </a:extLst>
            </p:cNvPr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5554113" y="2079537"/>
              <a:ext cx="541281" cy="541281"/>
            </a:xfrm>
            <a:prstGeom prst="rect">
              <a:avLst/>
            </a:prstGeom>
          </p:spPr>
        </p:pic>
      </p:grpSp>
      <p:pic>
        <p:nvPicPr>
          <p:cNvPr id="42" name="624 electric motor">
            <a:extLst>
              <a:ext uri="{FF2B5EF4-FFF2-40B4-BE49-F238E27FC236}">
                <a16:creationId xmlns:a16="http://schemas.microsoft.com/office/drawing/2014/main" id="{A7289EF2-C2A6-946E-9ED3-0216E8317F3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6849035" y="1771336"/>
            <a:ext cx="1044174" cy="1044174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9E4E7EFC-B7FD-18C4-F1FB-BBCE9C1883D8}"/>
              </a:ext>
            </a:extLst>
          </p:cNvPr>
          <p:cNvSpPr txBox="1"/>
          <p:nvPr/>
        </p:nvSpPr>
        <p:spPr>
          <a:xfrm>
            <a:off x="8858405" y="2075303"/>
            <a:ext cx="2504932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  <a:latin typeface="+mn-lt"/>
              </a:rPr>
              <a:t>EDU AND PE THERMAL MANAGEMENT SYSTEM</a:t>
            </a:r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8FE0E39A-5901-E708-07BE-A5AD4AE19C46}"/>
              </a:ext>
            </a:extLst>
          </p:cNvPr>
          <p:cNvSpPr/>
          <p:nvPr/>
        </p:nvSpPr>
        <p:spPr>
          <a:xfrm rot="2700000">
            <a:off x="3991659" y="3144863"/>
            <a:ext cx="575861" cy="300891"/>
          </a:xfrm>
          <a:prstGeom prst="rightArrow">
            <a:avLst/>
          </a:prstGeom>
          <a:gradFill>
            <a:gsLst>
              <a:gs pos="0">
                <a:schemeClr val="accent3"/>
              </a:gs>
              <a:gs pos="55000">
                <a:schemeClr val="accent3">
                  <a:alpha val="81000"/>
                </a:schemeClr>
              </a:gs>
              <a:gs pos="100000">
                <a:schemeClr val="accent3">
                  <a:alpha val="31000"/>
                </a:schemeClr>
              </a:gs>
            </a:gsLst>
            <a:lin ang="19800000" scaled="0"/>
          </a:gra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400">
              <a:cs typeface="Poppins" panose="00000500000000000000" pitchFamily="2" charset="0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6B4EAC12-EA21-799A-2590-1BD378B3B3A6}"/>
              </a:ext>
            </a:extLst>
          </p:cNvPr>
          <p:cNvSpPr/>
          <p:nvPr/>
        </p:nvSpPr>
        <p:spPr>
          <a:xfrm rot="18900000">
            <a:off x="3991659" y="4631322"/>
            <a:ext cx="575861" cy="300891"/>
          </a:xfrm>
          <a:prstGeom prst="rightArrow">
            <a:avLst/>
          </a:prstGeom>
          <a:gradFill flip="none" rotWithShape="1">
            <a:gsLst>
              <a:gs pos="0">
                <a:srgbClr val="004754"/>
              </a:gs>
              <a:gs pos="100000">
                <a:srgbClr val="29BBCE"/>
              </a:gs>
              <a:gs pos="50000">
                <a:srgbClr val="0087A0"/>
              </a:gs>
            </a:gsLst>
            <a:lin ang="19800000" scaled="1"/>
            <a:tileRect/>
          </a:gradFill>
          <a:effectLst/>
        </p:spPr>
        <p:txBody>
          <a:bodyPr vert="horz" lIns="108000" tIns="108000" rIns="108000" bIns="108000" rtlCol="0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400">
              <a:solidFill>
                <a:srgbClr val="FFFFFF"/>
              </a:solidFill>
              <a:cs typeface="Poppins" panose="00000500000000000000" pitchFamily="2" charset="0"/>
            </a:endParaRP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3F1FA7D4-B81A-E453-AD99-DDDB3CEB956B}"/>
              </a:ext>
            </a:extLst>
          </p:cNvPr>
          <p:cNvSpPr/>
          <p:nvPr/>
        </p:nvSpPr>
        <p:spPr>
          <a:xfrm rot="8100000">
            <a:off x="7640918" y="3144864"/>
            <a:ext cx="575861" cy="300891"/>
          </a:xfrm>
          <a:prstGeom prst="rightArrow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alpha val="74000"/>
                </a:schemeClr>
              </a:gs>
              <a:gs pos="50000">
                <a:schemeClr val="accent2">
                  <a:alpha val="97000"/>
                </a:schemeClr>
              </a:gs>
            </a:gsLst>
            <a:lin ang="19800000" scaled="1"/>
          </a:gra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400">
              <a:cs typeface="Poppins" panose="00000500000000000000" pitchFamily="2" charset="0"/>
            </a:endParaRPr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461683A4-217C-D6D6-A721-EEB85793A2DC}"/>
              </a:ext>
            </a:extLst>
          </p:cNvPr>
          <p:cNvSpPr/>
          <p:nvPr/>
        </p:nvSpPr>
        <p:spPr>
          <a:xfrm rot="13500000">
            <a:off x="7640918" y="4631323"/>
            <a:ext cx="575861" cy="300891"/>
          </a:xfrm>
          <a:prstGeom prst="rightArrow">
            <a:avLst/>
          </a:prstGeom>
          <a:gradFill>
            <a:gsLst>
              <a:gs pos="0">
                <a:srgbClr val="6E031B"/>
              </a:gs>
              <a:gs pos="100000">
                <a:srgbClr val="CE506C"/>
              </a:gs>
              <a:gs pos="50000">
                <a:srgbClr val="B9052D"/>
              </a:gs>
            </a:gsLst>
            <a:lin ang="19800000" scaled="1"/>
          </a:gra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/>
          <a:p>
            <a:pPr defTabSz="1083747">
              <a:spcBef>
                <a:spcPts val="1200"/>
              </a:spcBef>
            </a:pPr>
            <a:endParaRPr lang="en-US" sz="1400">
              <a:cs typeface="Poppins" panose="00000500000000000000" pitchFamily="2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63F6D88-4700-953E-1FE6-4F27321F9E29}"/>
              </a:ext>
            </a:extLst>
          </p:cNvPr>
          <p:cNvSpPr txBox="1"/>
          <p:nvPr/>
        </p:nvSpPr>
        <p:spPr>
          <a:xfrm>
            <a:off x="4701024" y="3376642"/>
            <a:ext cx="2788739" cy="13234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>
                <a:latin typeface="+mn-lt"/>
              </a:rPr>
              <a:t>Currently</a:t>
            </a:r>
            <a:r>
              <a:rPr lang="en-US" b="1">
                <a:latin typeface="+mn-lt"/>
              </a:rPr>
              <a:t> lower integration and interactions </a:t>
            </a:r>
            <a:r>
              <a:rPr lang="en-US">
                <a:latin typeface="+mn-lt"/>
              </a:rPr>
              <a:t>observed</a:t>
            </a:r>
            <a:r>
              <a:rPr lang="en-US" b="1">
                <a:latin typeface="+mn-lt"/>
              </a:rPr>
              <a:t> </a:t>
            </a:r>
            <a:br>
              <a:rPr lang="en-US" b="1">
                <a:latin typeface="+mn-lt"/>
              </a:rPr>
            </a:br>
            <a:r>
              <a:rPr lang="en-US" sz="1600">
                <a:solidFill>
                  <a:schemeClr val="accent2"/>
                </a:solidFill>
                <a:latin typeface="+mn-lt"/>
              </a:rPr>
              <a:t>between the different TMS in CVs compared to PVs</a:t>
            </a:r>
            <a:endParaRPr lang="en-US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514E1635-67C4-3687-E3BF-4BA0C6A6B16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1340768"/>
            <a:ext cx="11088021" cy="288000"/>
          </a:xfrm>
        </p:spPr>
        <p:txBody>
          <a:bodyPr/>
          <a:lstStyle/>
          <a:p>
            <a:r>
              <a:rPr lang="en-US"/>
              <a:t>CV TMS – SUB-system overview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56A8E6-772E-A8A8-46C5-6E1A17338102}"/>
              </a:ext>
            </a:extLst>
          </p:cNvPr>
          <p:cNvSpPr/>
          <p:nvPr/>
        </p:nvSpPr>
        <p:spPr>
          <a:xfrm>
            <a:off x="367748" y="1608890"/>
            <a:ext cx="11408307" cy="4777582"/>
          </a:xfrm>
          <a:prstGeom prst="rect">
            <a:avLst/>
          </a:prstGeom>
          <a:solidFill>
            <a:schemeClr val="bg1">
              <a:alpha val="96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9DD5652-79EA-9289-5462-2B4BE8307A5E}"/>
              </a:ext>
            </a:extLst>
          </p:cNvPr>
          <p:cNvGrpSpPr/>
          <p:nvPr/>
        </p:nvGrpSpPr>
        <p:grpSpPr>
          <a:xfrm>
            <a:off x="6316144" y="2554212"/>
            <a:ext cx="5322655" cy="3752988"/>
            <a:chOff x="8514000" y="1702800"/>
            <a:chExt cx="3124800" cy="4604400"/>
          </a:xfrm>
        </p:grpSpPr>
        <p:sp>
          <p:nvSpPr>
            <p:cNvPr id="16" name="TextBox931922829">
              <a:extLst>
                <a:ext uri="{FF2B5EF4-FFF2-40B4-BE49-F238E27FC236}">
                  <a16:creationId xmlns:a16="http://schemas.microsoft.com/office/drawing/2014/main" id="{4CEEEA20-AC0F-8E2A-35BF-40CAE9B4FF10}"/>
                </a:ext>
              </a:extLst>
            </p:cNvPr>
            <p:cNvSpPr txBox="1"/>
            <p:nvPr/>
          </p:nvSpPr>
          <p:spPr>
            <a:xfrm>
              <a:off x="8514000" y="1702800"/>
              <a:ext cx="3124800" cy="4604400"/>
            </a:xfrm>
            <a:prstGeom prst="roundRect">
              <a:avLst>
                <a:gd name="adj" fmla="val 1354"/>
              </a:avLst>
            </a:prstGeom>
            <a:solidFill>
              <a:srgbClr val="FFFFFF"/>
            </a:solidFill>
            <a:ln w="3175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5400000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108000" tIns="108000" rIns="108000" bIns="108000" rtlCol="0">
              <a:noAutofit/>
            </a:bodyPr>
            <a:lstStyle>
              <a:lvl1pPr lvl="0" indent="0" defTabSz="1083747">
                <a:spcBef>
                  <a:spcPts val="1200"/>
                </a:spcBef>
                <a:buFont typeface="Arial" panose="020B0604020202020204" pitchFamily="34" charset="0"/>
                <a:buNone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1pPr>
              <a:lvl2pPr marL="216000" lvl="1" indent="-216000" defTabSz="1083747">
                <a:spcBef>
                  <a:spcPts val="1200"/>
                </a:spcBef>
                <a:buClr>
                  <a:schemeClr val="accent2"/>
                </a:buClr>
                <a:buSzPct val="100000"/>
                <a:buFont typeface="FEV" panose="02000509000000000000" pitchFamily="49" charset="0"/>
                <a:buChar char="•"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2pPr>
              <a:lvl3pPr marL="432000" lvl="2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3pPr>
              <a:lvl4pPr marL="648000" lvl="3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4pPr>
              <a:lvl5pPr marL="864000" lvl="4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5pPr>
              <a:lvl6pPr marL="2683196" indent="0" defTabSz="1083747">
                <a:spcBef>
                  <a:spcPts val="711"/>
                </a:spcBef>
                <a:buClrTx/>
                <a:buFont typeface="Wingdings" panose="05000000000000000000" pitchFamily="2" charset="2"/>
                <a:buNone/>
                <a:defRPr lang="en-US" sz="16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defRPr>
              </a:lvl6pPr>
              <a:lvl7pPr marL="3522177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7pPr>
              <a:lvl8pPr marL="4064051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8pPr>
              <a:lvl9pPr marL="4605924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9pPr>
            </a:lstStyle>
            <a:p>
              <a:endParaRPr lang="en-US" err="1"/>
            </a:p>
          </p:txBody>
        </p:sp>
        <p:sp>
          <p:nvSpPr>
            <p:cNvPr id="19" name="Header1993772644">
              <a:extLst>
                <a:ext uri="{FF2B5EF4-FFF2-40B4-BE49-F238E27FC236}">
                  <a16:creationId xmlns:a16="http://schemas.microsoft.com/office/drawing/2014/main" id="{6853A764-DC31-2125-4326-ECAA4BA15420}"/>
                </a:ext>
              </a:extLst>
            </p:cNvPr>
            <p:cNvSpPr txBox="1"/>
            <p:nvPr/>
          </p:nvSpPr>
          <p:spPr>
            <a:xfrm>
              <a:off x="8514000" y="1702800"/>
              <a:ext cx="3124800" cy="720000"/>
            </a:xfrm>
            <a:prstGeom prst="rect">
              <a:avLst/>
            </a:prstGeom>
          </p:spPr>
          <p:txBody>
            <a:bodyPr vert="horz" wrap="square" lIns="108000" tIns="108000" rIns="108000" bIns="108000" rtlCol="0" anchor="ctr">
              <a:noAutofit/>
            </a:bodyPr>
            <a:lstStyle/>
            <a:p>
              <a:pPr algn="l"/>
              <a:r>
                <a:rPr lang="en-US" sz="1600" b="1">
                  <a:latin typeface="+mn-lt"/>
                </a:rPr>
                <a:t>Technological </a:t>
              </a:r>
              <a:r>
                <a:rPr lang="en-US" sz="1600" b="1"/>
                <a:t>challenges and low maturity</a:t>
              </a:r>
              <a:endParaRPr lang="en-US" sz="1600" b="1">
                <a:latin typeface="+mn-lt"/>
              </a:endParaRPr>
            </a:p>
          </p:txBody>
        </p:sp>
        <p:cxnSp>
          <p:nvCxnSpPr>
            <p:cNvPr id="20" name="Line148719476">
              <a:extLst>
                <a:ext uri="{FF2B5EF4-FFF2-40B4-BE49-F238E27FC236}">
                  <a16:creationId xmlns:a16="http://schemas.microsoft.com/office/drawing/2014/main" id="{EB8E6AE2-D003-BEB4-2E23-EE550ADA0EE2}"/>
                </a:ext>
              </a:extLst>
            </p:cNvPr>
            <p:cNvCxnSpPr/>
            <p:nvPr/>
          </p:nvCxnSpPr>
          <p:spPr>
            <a:xfrm>
              <a:off x="8514000" y="2422800"/>
              <a:ext cx="3124800" cy="0"/>
            </a:xfrm>
            <a:prstGeom prst="line">
              <a:avLst/>
            </a:prstGeom>
            <a:ln w="12700">
              <a:solidFill>
                <a:srgbClr val="D9D9D9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1788965172">
              <a:extLst>
                <a:ext uri="{FF2B5EF4-FFF2-40B4-BE49-F238E27FC236}">
                  <a16:creationId xmlns:a16="http://schemas.microsoft.com/office/drawing/2014/main" id="{6C941D6D-E9A2-7E12-B9E3-17E31EDFE38A}"/>
                </a:ext>
              </a:extLst>
            </p:cNvPr>
            <p:cNvSpPr txBox="1"/>
            <p:nvPr/>
          </p:nvSpPr>
          <p:spPr>
            <a:xfrm>
              <a:off x="8514000" y="2422800"/>
              <a:ext cx="3124800" cy="3884400"/>
            </a:xfrm>
            <a:prstGeom prst="rect">
              <a:avLst/>
            </a:prstGeom>
          </p:spPr>
          <p:txBody>
            <a:bodyPr vert="horz" wrap="square" lIns="108000" tIns="108000" rIns="108000" bIns="108000" rtlCol="0">
              <a:noAutofit/>
            </a:bodyPr>
            <a:lstStyle>
              <a:lvl1pPr lvl="0" indent="0" defTabSz="1083747">
                <a:spcBef>
                  <a:spcPts val="1200"/>
                </a:spcBef>
                <a:buFont typeface="Arial" panose="020B0604020202020204" pitchFamily="34" charset="0"/>
                <a:buNone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1pPr>
              <a:lvl2pPr marL="216000" lvl="1" indent="-216000" defTabSz="1083747">
                <a:spcBef>
                  <a:spcPts val="1200"/>
                </a:spcBef>
                <a:buClr>
                  <a:schemeClr val="accent2"/>
                </a:buClr>
                <a:buSzPct val="100000"/>
                <a:buFont typeface="FEV" panose="02000509000000000000" pitchFamily="49" charset="0"/>
                <a:buChar char="•"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2pPr>
              <a:lvl3pPr marL="432000" lvl="2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3pPr>
              <a:lvl4pPr marL="648000" lvl="3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4pPr>
              <a:lvl5pPr marL="864000" lvl="4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5pPr>
              <a:lvl6pPr marL="2683196" indent="0" defTabSz="1083747">
                <a:spcBef>
                  <a:spcPts val="711"/>
                </a:spcBef>
                <a:buClrTx/>
                <a:buFont typeface="Wingdings" panose="05000000000000000000" pitchFamily="2" charset="2"/>
                <a:buNone/>
                <a:defRPr lang="en-US" sz="16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defRPr>
              </a:lvl6pPr>
              <a:lvl7pPr marL="3522177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7pPr>
              <a:lvl8pPr marL="4064051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8pPr>
              <a:lvl9pPr marL="4605924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9pPr>
            </a:lstStyle>
            <a:p>
              <a:endParaRPr lang="en-US" err="1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92A1047-27E8-7B4E-C3CB-47A28110FBEC}"/>
              </a:ext>
            </a:extLst>
          </p:cNvPr>
          <p:cNvGrpSpPr/>
          <p:nvPr/>
        </p:nvGrpSpPr>
        <p:grpSpPr>
          <a:xfrm>
            <a:off x="552790" y="2554212"/>
            <a:ext cx="5341740" cy="3752988"/>
            <a:chOff x="8514000" y="1702800"/>
            <a:chExt cx="3124800" cy="4604400"/>
          </a:xfrm>
        </p:grpSpPr>
        <p:sp>
          <p:nvSpPr>
            <p:cNvPr id="33" name="TextBox931922829">
              <a:extLst>
                <a:ext uri="{FF2B5EF4-FFF2-40B4-BE49-F238E27FC236}">
                  <a16:creationId xmlns:a16="http://schemas.microsoft.com/office/drawing/2014/main" id="{EE244B65-5E4F-78AE-AF12-1FBAF3CD035F}"/>
                </a:ext>
              </a:extLst>
            </p:cNvPr>
            <p:cNvSpPr txBox="1"/>
            <p:nvPr/>
          </p:nvSpPr>
          <p:spPr>
            <a:xfrm>
              <a:off x="8514000" y="1702800"/>
              <a:ext cx="3124800" cy="4604400"/>
            </a:xfrm>
            <a:prstGeom prst="roundRect">
              <a:avLst>
                <a:gd name="adj" fmla="val 1354"/>
              </a:avLst>
            </a:prstGeom>
            <a:solidFill>
              <a:srgbClr val="FFFFFF"/>
            </a:solidFill>
            <a:ln w="3175" cap="flat" cmpd="sng" algn="ctr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5400000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108000" tIns="108000" rIns="108000" bIns="108000" rtlCol="0">
              <a:noAutofit/>
            </a:bodyPr>
            <a:lstStyle>
              <a:lvl1pPr lvl="0" indent="0" defTabSz="1083747">
                <a:spcBef>
                  <a:spcPts val="1200"/>
                </a:spcBef>
                <a:buFont typeface="Arial" panose="020B0604020202020204" pitchFamily="34" charset="0"/>
                <a:buNone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1pPr>
              <a:lvl2pPr marL="216000" lvl="1" indent="-216000" defTabSz="1083747">
                <a:spcBef>
                  <a:spcPts val="1200"/>
                </a:spcBef>
                <a:buClr>
                  <a:schemeClr val="accent2"/>
                </a:buClr>
                <a:buSzPct val="100000"/>
                <a:buFont typeface="FEV" panose="02000509000000000000" pitchFamily="49" charset="0"/>
                <a:buChar char="•"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2pPr>
              <a:lvl3pPr marL="432000" lvl="2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3pPr>
              <a:lvl4pPr marL="648000" lvl="3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4pPr>
              <a:lvl5pPr marL="864000" lvl="4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5pPr>
              <a:lvl6pPr marL="2683196" indent="0" defTabSz="1083747">
                <a:spcBef>
                  <a:spcPts val="711"/>
                </a:spcBef>
                <a:buClrTx/>
                <a:buFont typeface="Wingdings" panose="05000000000000000000" pitchFamily="2" charset="2"/>
                <a:buNone/>
                <a:defRPr lang="en-US" sz="16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defRPr>
              </a:lvl6pPr>
              <a:lvl7pPr marL="3522177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7pPr>
              <a:lvl8pPr marL="4064051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8pPr>
              <a:lvl9pPr marL="4605924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9pPr>
            </a:lstStyle>
            <a:p>
              <a:endParaRPr lang="en-US" err="1"/>
            </a:p>
          </p:txBody>
        </p:sp>
        <p:sp>
          <p:nvSpPr>
            <p:cNvPr id="45" name="Header1993772644">
              <a:extLst>
                <a:ext uri="{FF2B5EF4-FFF2-40B4-BE49-F238E27FC236}">
                  <a16:creationId xmlns:a16="http://schemas.microsoft.com/office/drawing/2014/main" id="{80849300-60D5-DCDC-18D2-C7E1BC319B56}"/>
                </a:ext>
              </a:extLst>
            </p:cNvPr>
            <p:cNvSpPr txBox="1"/>
            <p:nvPr/>
          </p:nvSpPr>
          <p:spPr>
            <a:xfrm>
              <a:off x="8514000" y="1702800"/>
              <a:ext cx="3124800" cy="720000"/>
            </a:xfrm>
            <a:prstGeom prst="rect">
              <a:avLst/>
            </a:prstGeom>
          </p:spPr>
          <p:txBody>
            <a:bodyPr vert="horz" wrap="square" lIns="108000" tIns="108000" rIns="108000" bIns="108000" rtlCol="0" anchor="ctr">
              <a:noAutofit/>
            </a:bodyPr>
            <a:lstStyle/>
            <a:p>
              <a:pPr algn="l"/>
              <a:r>
                <a:rPr lang="en-US" sz="1600" b="1"/>
                <a:t>M</a:t>
              </a:r>
              <a:r>
                <a:rPr lang="en-US" sz="1600" b="1">
                  <a:latin typeface="+mn-lt"/>
                </a:rPr>
                <a:t>arket conditions and internal OEM organization</a:t>
              </a:r>
            </a:p>
          </p:txBody>
        </p:sp>
        <p:cxnSp>
          <p:nvCxnSpPr>
            <p:cNvPr id="50" name="Line148719476">
              <a:extLst>
                <a:ext uri="{FF2B5EF4-FFF2-40B4-BE49-F238E27FC236}">
                  <a16:creationId xmlns:a16="http://schemas.microsoft.com/office/drawing/2014/main" id="{66090CC8-E8D3-FE2E-D2F7-9ECCF51A4DEE}"/>
                </a:ext>
              </a:extLst>
            </p:cNvPr>
            <p:cNvCxnSpPr/>
            <p:nvPr/>
          </p:nvCxnSpPr>
          <p:spPr>
            <a:xfrm>
              <a:off x="8514000" y="2422800"/>
              <a:ext cx="3124800" cy="0"/>
            </a:xfrm>
            <a:prstGeom prst="line">
              <a:avLst/>
            </a:prstGeom>
            <a:ln w="12700">
              <a:solidFill>
                <a:srgbClr val="D9D9D9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1788965172">
              <a:extLst>
                <a:ext uri="{FF2B5EF4-FFF2-40B4-BE49-F238E27FC236}">
                  <a16:creationId xmlns:a16="http://schemas.microsoft.com/office/drawing/2014/main" id="{F9252519-8758-2600-4F41-123630039F62}"/>
                </a:ext>
              </a:extLst>
            </p:cNvPr>
            <p:cNvSpPr txBox="1"/>
            <p:nvPr/>
          </p:nvSpPr>
          <p:spPr>
            <a:xfrm>
              <a:off x="8514000" y="2422800"/>
              <a:ext cx="3124800" cy="3884400"/>
            </a:xfrm>
            <a:prstGeom prst="rect">
              <a:avLst/>
            </a:prstGeom>
          </p:spPr>
          <p:txBody>
            <a:bodyPr vert="horz" wrap="square" lIns="108000" tIns="108000" rIns="108000" bIns="108000" rtlCol="0">
              <a:noAutofit/>
            </a:bodyPr>
            <a:lstStyle>
              <a:lvl1pPr lvl="0" indent="0" defTabSz="1083747">
                <a:spcBef>
                  <a:spcPts val="1200"/>
                </a:spcBef>
                <a:buFont typeface="Arial" panose="020B0604020202020204" pitchFamily="34" charset="0"/>
                <a:buNone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1pPr>
              <a:lvl2pPr marL="216000" lvl="1" indent="-216000" defTabSz="1083747">
                <a:spcBef>
                  <a:spcPts val="1200"/>
                </a:spcBef>
                <a:buClr>
                  <a:schemeClr val="accent2"/>
                </a:buClr>
                <a:buSzPct val="100000"/>
                <a:buFont typeface="FEV" panose="02000509000000000000" pitchFamily="49" charset="0"/>
                <a:buChar char="•"/>
                <a:defRPr lang="en-US" sz="1400" dirty="0">
                  <a:cs typeface="Poppins" panose="00000500000000000000" pitchFamily="2" charset="0"/>
                  <a:sym typeface="Segoe UI" panose="020B0502040204020203" pitchFamily="34" charset="0"/>
                </a:defRPr>
              </a:lvl2pPr>
              <a:lvl3pPr marL="432000" lvl="2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3pPr>
              <a:lvl4pPr marL="648000" lvl="3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4pPr>
              <a:lvl5pPr marL="864000" lvl="4" indent="-216000" defTabSz="1083747">
                <a:spcBef>
                  <a:spcPts val="600"/>
                </a:spcBef>
                <a:buClrTx/>
                <a:buFont typeface="Symbol" panose="05050102010706020507" pitchFamily="18" charset="2"/>
                <a:buChar char="-"/>
                <a:defRPr lang="en-US" sz="1200" dirty="0">
                  <a:cs typeface="Poppins" panose="00000500000000000000" pitchFamily="2" charset="0"/>
                  <a:sym typeface="Segoe UI" panose="020B0502040204020203" pitchFamily="34" charset="0"/>
                </a:defRPr>
              </a:lvl5pPr>
              <a:lvl6pPr marL="2683196" indent="0" defTabSz="1083747">
                <a:spcBef>
                  <a:spcPts val="711"/>
                </a:spcBef>
                <a:buClrTx/>
                <a:buFont typeface="Wingdings" panose="05000000000000000000" pitchFamily="2" charset="2"/>
                <a:buNone/>
                <a:defRPr lang="en-US" sz="16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defRPr>
              </a:lvl6pPr>
              <a:lvl7pPr marL="3522177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7pPr>
              <a:lvl8pPr marL="4064051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8pPr>
              <a:lvl9pPr marL="4605924" indent="-270937" defTabSz="1083747">
                <a:spcBef>
                  <a:spcPct val="20000"/>
                </a:spcBef>
                <a:buFont typeface="Arial" panose="020B0604020202020204" pitchFamily="34" charset="0"/>
                <a:buChar char="•"/>
                <a:defRPr sz="2370"/>
              </a:lvl9pPr>
            </a:lstStyle>
            <a:p>
              <a:endParaRPr lang="en-US" err="1"/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06169BAF-45C8-75A0-944C-881AF2D0F82A}"/>
              </a:ext>
            </a:extLst>
          </p:cNvPr>
          <p:cNvSpPr txBox="1"/>
          <p:nvPr/>
        </p:nvSpPr>
        <p:spPr>
          <a:xfrm>
            <a:off x="1947162" y="1827914"/>
            <a:ext cx="8249478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400" b="1">
                <a:solidFill>
                  <a:schemeClr val="accent4"/>
                </a:solidFill>
                <a:latin typeface="+mn-lt"/>
              </a:rPr>
              <a:t>2 main reasons explain the lower level of integration </a:t>
            </a:r>
            <a:r>
              <a:rPr lang="en-US" sz="1600">
                <a:solidFill>
                  <a:schemeClr val="accent2"/>
                </a:solidFill>
                <a:latin typeface="+mn-lt"/>
              </a:rPr>
              <a:t>of CVs TMS compared to PVs</a:t>
            </a:r>
            <a:endParaRPr lang="en-US" sz="2400">
              <a:solidFill>
                <a:schemeClr val="accent2"/>
              </a:solidFill>
              <a:latin typeface="+mn-lt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2539AC5-05E4-E092-11C8-E82F412FA26B}"/>
              </a:ext>
            </a:extLst>
          </p:cNvPr>
          <p:cNvGrpSpPr/>
          <p:nvPr/>
        </p:nvGrpSpPr>
        <p:grpSpPr>
          <a:xfrm>
            <a:off x="6498881" y="5392930"/>
            <a:ext cx="454194" cy="482282"/>
            <a:chOff x="6540744" y="5189713"/>
            <a:chExt cx="401377" cy="426199"/>
          </a:xfrm>
        </p:grpSpPr>
        <p:grpSp>
          <p:nvGrpSpPr>
            <p:cNvPr id="91" name="650 spinning gear">
              <a:extLst>
                <a:ext uri="{FF2B5EF4-FFF2-40B4-BE49-F238E27FC236}">
                  <a16:creationId xmlns:a16="http://schemas.microsoft.com/office/drawing/2014/main" id="{CFEAB647-83DA-38A0-279B-866678A6CA50}"/>
                </a:ext>
              </a:extLst>
            </p:cNvPr>
            <p:cNvGrpSpPr/>
            <p:nvPr/>
          </p:nvGrpSpPr>
          <p:grpSpPr>
            <a:xfrm>
              <a:off x="6594917" y="5257083"/>
              <a:ext cx="293251" cy="294020"/>
              <a:chOff x="6594917" y="5257083"/>
              <a:chExt cx="293251" cy="294020"/>
            </a:xfrm>
            <a:solidFill>
              <a:schemeClr val="accent4"/>
            </a:solidFill>
          </p:grpSpPr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DC25DC0E-EE68-1921-EDAF-BB1745361C03}"/>
                  </a:ext>
                </a:extLst>
              </p:cNvPr>
              <p:cNvSpPr/>
              <p:nvPr/>
            </p:nvSpPr>
            <p:spPr>
              <a:xfrm>
                <a:off x="6598700" y="5261076"/>
                <a:ext cx="285387" cy="286043"/>
              </a:xfrm>
              <a:custGeom>
                <a:avLst/>
                <a:gdLst>
                  <a:gd name="connsiteX0" fmla="*/ 63541 w 285387"/>
                  <a:gd name="connsiteY0" fmla="*/ 20679 h 286043"/>
                  <a:gd name="connsiteX1" fmla="*/ 63196 w 285387"/>
                  <a:gd name="connsiteY1" fmla="*/ 21484 h 286043"/>
                  <a:gd name="connsiteX2" fmla="*/ 75300 w 285387"/>
                  <a:gd name="connsiteY2" fmla="*/ 53007 h 286043"/>
                  <a:gd name="connsiteX3" fmla="*/ 63272 w 285387"/>
                  <a:gd name="connsiteY3" fmla="*/ 63387 h 286043"/>
                  <a:gd name="connsiteX4" fmla="*/ 51169 w 285387"/>
                  <a:gd name="connsiteY4" fmla="*/ 77904 h 286043"/>
                  <a:gd name="connsiteX5" fmla="*/ 21867 w 285387"/>
                  <a:gd name="connsiteY5" fmla="*/ 65188 h 286043"/>
                  <a:gd name="connsiteX6" fmla="*/ 21062 w 285387"/>
                  <a:gd name="connsiteY6" fmla="*/ 65494 h 286043"/>
                  <a:gd name="connsiteX7" fmla="*/ 34 w 285387"/>
                  <a:gd name="connsiteY7" fmla="*/ 113833 h 286043"/>
                  <a:gd name="connsiteX8" fmla="*/ 34 w 285387"/>
                  <a:gd name="connsiteY8" fmla="*/ 114292 h 286043"/>
                  <a:gd name="connsiteX9" fmla="*/ 340 w 285387"/>
                  <a:gd name="connsiteY9" fmla="*/ 114637 h 286043"/>
                  <a:gd name="connsiteX10" fmla="*/ 31289 w 285387"/>
                  <a:gd name="connsiteY10" fmla="*/ 128081 h 286043"/>
                  <a:gd name="connsiteX11" fmla="*/ 31749 w 285387"/>
                  <a:gd name="connsiteY11" fmla="*/ 161865 h 286043"/>
                  <a:gd name="connsiteX12" fmla="*/ 2217 w 285387"/>
                  <a:gd name="connsiteY12" fmla="*/ 173470 h 286043"/>
                  <a:gd name="connsiteX13" fmla="*/ 1873 w 285387"/>
                  <a:gd name="connsiteY13" fmla="*/ 173777 h 286043"/>
                  <a:gd name="connsiteX14" fmla="*/ 1873 w 285387"/>
                  <a:gd name="connsiteY14" fmla="*/ 174237 h 286043"/>
                  <a:gd name="connsiteX15" fmla="*/ 21216 w 285387"/>
                  <a:gd name="connsiteY15" fmla="*/ 223303 h 286043"/>
                  <a:gd name="connsiteX16" fmla="*/ 21790 w 285387"/>
                  <a:gd name="connsiteY16" fmla="*/ 223686 h 286043"/>
                  <a:gd name="connsiteX17" fmla="*/ 21982 w 285387"/>
                  <a:gd name="connsiteY17" fmla="*/ 223648 h 286043"/>
                  <a:gd name="connsiteX18" fmla="*/ 52854 w 285387"/>
                  <a:gd name="connsiteY18" fmla="*/ 211505 h 286043"/>
                  <a:gd name="connsiteX19" fmla="*/ 63196 w 285387"/>
                  <a:gd name="connsiteY19" fmla="*/ 223533 h 286043"/>
                  <a:gd name="connsiteX20" fmla="*/ 78172 w 285387"/>
                  <a:gd name="connsiteY20" fmla="*/ 236019 h 286043"/>
                  <a:gd name="connsiteX21" fmla="*/ 66069 w 285387"/>
                  <a:gd name="connsiteY21" fmla="*/ 264594 h 286043"/>
                  <a:gd name="connsiteX22" fmla="*/ 66375 w 285387"/>
                  <a:gd name="connsiteY22" fmla="*/ 265398 h 286043"/>
                  <a:gd name="connsiteX23" fmla="*/ 114867 w 285387"/>
                  <a:gd name="connsiteY23" fmla="*/ 286005 h 286043"/>
                  <a:gd name="connsiteX24" fmla="*/ 115135 w 285387"/>
                  <a:gd name="connsiteY24" fmla="*/ 286043 h 286043"/>
                  <a:gd name="connsiteX25" fmla="*/ 115326 w 285387"/>
                  <a:gd name="connsiteY25" fmla="*/ 286005 h 286043"/>
                  <a:gd name="connsiteX26" fmla="*/ 115671 w 285387"/>
                  <a:gd name="connsiteY26" fmla="*/ 285660 h 286043"/>
                  <a:gd name="connsiteX27" fmla="*/ 128426 w 285387"/>
                  <a:gd name="connsiteY27" fmla="*/ 255592 h 286043"/>
                  <a:gd name="connsiteX28" fmla="*/ 143288 w 285387"/>
                  <a:gd name="connsiteY28" fmla="*/ 256703 h 286043"/>
                  <a:gd name="connsiteX29" fmla="*/ 147348 w 285387"/>
                  <a:gd name="connsiteY29" fmla="*/ 256627 h 286043"/>
                  <a:gd name="connsiteX30" fmla="*/ 159183 w 285387"/>
                  <a:gd name="connsiteY30" fmla="*/ 255554 h 286043"/>
                  <a:gd name="connsiteX31" fmla="*/ 169640 w 285387"/>
                  <a:gd name="connsiteY31" fmla="*/ 284320 h 286043"/>
                  <a:gd name="connsiteX32" fmla="*/ 169947 w 285387"/>
                  <a:gd name="connsiteY32" fmla="*/ 284664 h 286043"/>
                  <a:gd name="connsiteX33" fmla="*/ 170215 w 285387"/>
                  <a:gd name="connsiteY33" fmla="*/ 284741 h 286043"/>
                  <a:gd name="connsiteX34" fmla="*/ 170406 w 285387"/>
                  <a:gd name="connsiteY34" fmla="*/ 284741 h 286043"/>
                  <a:gd name="connsiteX35" fmla="*/ 219932 w 285387"/>
                  <a:gd name="connsiteY35" fmla="*/ 266700 h 286043"/>
                  <a:gd name="connsiteX36" fmla="*/ 220315 w 285387"/>
                  <a:gd name="connsiteY36" fmla="*/ 265934 h 286043"/>
                  <a:gd name="connsiteX37" fmla="*/ 209246 w 285387"/>
                  <a:gd name="connsiteY37" fmla="*/ 235522 h 286043"/>
                  <a:gd name="connsiteX38" fmla="*/ 223379 w 285387"/>
                  <a:gd name="connsiteY38" fmla="*/ 223648 h 286043"/>
                  <a:gd name="connsiteX39" fmla="*/ 235292 w 285387"/>
                  <a:gd name="connsiteY39" fmla="*/ 209552 h 286043"/>
                  <a:gd name="connsiteX40" fmla="*/ 263100 w 285387"/>
                  <a:gd name="connsiteY40" fmla="*/ 221924 h 286043"/>
                  <a:gd name="connsiteX41" fmla="*/ 263368 w 285387"/>
                  <a:gd name="connsiteY41" fmla="*/ 221962 h 286043"/>
                  <a:gd name="connsiteX42" fmla="*/ 263904 w 285387"/>
                  <a:gd name="connsiteY42" fmla="*/ 221617 h 286043"/>
                  <a:gd name="connsiteX43" fmla="*/ 285354 w 285387"/>
                  <a:gd name="connsiteY43" fmla="*/ 173470 h 286043"/>
                  <a:gd name="connsiteX44" fmla="*/ 285354 w 285387"/>
                  <a:gd name="connsiteY44" fmla="*/ 173011 h 286043"/>
                  <a:gd name="connsiteX45" fmla="*/ 285047 w 285387"/>
                  <a:gd name="connsiteY45" fmla="*/ 172666 h 286043"/>
                  <a:gd name="connsiteX46" fmla="*/ 255286 w 285387"/>
                  <a:gd name="connsiteY46" fmla="*/ 159413 h 286043"/>
                  <a:gd name="connsiteX47" fmla="*/ 254865 w 285387"/>
                  <a:gd name="connsiteY47" fmla="*/ 124787 h 286043"/>
                  <a:gd name="connsiteX48" fmla="*/ 283669 w 285387"/>
                  <a:gd name="connsiteY48" fmla="*/ 113756 h 286043"/>
                  <a:gd name="connsiteX49" fmla="*/ 284013 w 285387"/>
                  <a:gd name="connsiteY49" fmla="*/ 113450 h 286043"/>
                  <a:gd name="connsiteX50" fmla="*/ 284013 w 285387"/>
                  <a:gd name="connsiteY50" fmla="*/ 112990 h 286043"/>
                  <a:gd name="connsiteX51" fmla="*/ 265092 w 285387"/>
                  <a:gd name="connsiteY51" fmla="*/ 63770 h 286043"/>
                  <a:gd name="connsiteX52" fmla="*/ 264287 w 285387"/>
                  <a:gd name="connsiteY52" fmla="*/ 63426 h 286043"/>
                  <a:gd name="connsiteX53" fmla="*/ 233453 w 285387"/>
                  <a:gd name="connsiteY53" fmla="*/ 75261 h 286043"/>
                  <a:gd name="connsiteX54" fmla="*/ 223379 w 285387"/>
                  <a:gd name="connsiteY54" fmla="*/ 63502 h 286043"/>
                  <a:gd name="connsiteX55" fmla="*/ 207330 w 285387"/>
                  <a:gd name="connsiteY55" fmla="*/ 50249 h 286043"/>
                  <a:gd name="connsiteX56" fmla="*/ 219549 w 285387"/>
                  <a:gd name="connsiteY56" fmla="*/ 21445 h 286043"/>
                  <a:gd name="connsiteX57" fmla="*/ 219243 w 285387"/>
                  <a:gd name="connsiteY57" fmla="*/ 20641 h 286043"/>
                  <a:gd name="connsiteX58" fmla="*/ 170751 w 285387"/>
                  <a:gd name="connsiteY58" fmla="*/ 34 h 286043"/>
                  <a:gd name="connsiteX59" fmla="*/ 170291 w 285387"/>
                  <a:gd name="connsiteY59" fmla="*/ 34 h 286043"/>
                  <a:gd name="connsiteX60" fmla="*/ 169947 w 285387"/>
                  <a:gd name="connsiteY60" fmla="*/ 379 h 286043"/>
                  <a:gd name="connsiteX61" fmla="*/ 156847 w 285387"/>
                  <a:gd name="connsiteY61" fmla="*/ 31289 h 286043"/>
                  <a:gd name="connsiteX62" fmla="*/ 124940 w 285387"/>
                  <a:gd name="connsiteY62" fmla="*/ 31979 h 286043"/>
                  <a:gd name="connsiteX63" fmla="*/ 113564 w 285387"/>
                  <a:gd name="connsiteY63" fmla="*/ 2256 h 286043"/>
                  <a:gd name="connsiteX64" fmla="*/ 113258 w 285387"/>
                  <a:gd name="connsiteY64" fmla="*/ 1911 h 286043"/>
                  <a:gd name="connsiteX65" fmla="*/ 112798 w 285387"/>
                  <a:gd name="connsiteY65" fmla="*/ 1911 h 286043"/>
                  <a:gd name="connsiteX66" fmla="*/ 63579 w 285387"/>
                  <a:gd name="connsiteY66" fmla="*/ 20833 h 286043"/>
                  <a:gd name="connsiteX67" fmla="*/ 75683 w 285387"/>
                  <a:gd name="connsiteY67" fmla="*/ 75951 h 286043"/>
                  <a:gd name="connsiteX68" fmla="*/ 139994 w 285387"/>
                  <a:gd name="connsiteY68" fmla="*/ 48028 h 286043"/>
                  <a:gd name="connsiteX69" fmla="*/ 211046 w 285387"/>
                  <a:gd name="connsiteY69" fmla="*/ 75951 h 286043"/>
                  <a:gd name="connsiteX70" fmla="*/ 211046 w 285387"/>
                  <a:gd name="connsiteY70" fmla="*/ 211314 h 286043"/>
                  <a:gd name="connsiteX71" fmla="*/ 143364 w 285387"/>
                  <a:gd name="connsiteY71" fmla="*/ 239352 h 286043"/>
                  <a:gd name="connsiteX72" fmla="*/ 75683 w 285387"/>
                  <a:gd name="connsiteY72" fmla="*/ 211314 h 286043"/>
                  <a:gd name="connsiteX73" fmla="*/ 75683 w 285387"/>
                  <a:gd name="connsiteY73" fmla="*/ 75951 h 286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285387" h="286043">
                    <a:moveTo>
                      <a:pt x="63541" y="20679"/>
                    </a:moveTo>
                    <a:cubicBezTo>
                      <a:pt x="63234" y="20794"/>
                      <a:pt x="63081" y="21139"/>
                      <a:pt x="63196" y="21484"/>
                    </a:cubicBezTo>
                    <a:lnTo>
                      <a:pt x="75300" y="53007"/>
                    </a:lnTo>
                    <a:cubicBezTo>
                      <a:pt x="71125" y="56148"/>
                      <a:pt x="67064" y="59595"/>
                      <a:pt x="63272" y="63387"/>
                    </a:cubicBezTo>
                    <a:cubicBezTo>
                      <a:pt x="58714" y="67945"/>
                      <a:pt x="54769" y="72810"/>
                      <a:pt x="51169" y="77904"/>
                    </a:cubicBezTo>
                    <a:lnTo>
                      <a:pt x="21867" y="65188"/>
                    </a:lnTo>
                    <a:cubicBezTo>
                      <a:pt x="21560" y="65073"/>
                      <a:pt x="21216" y="65188"/>
                      <a:pt x="21062" y="65494"/>
                    </a:cubicBezTo>
                    <a:lnTo>
                      <a:pt x="34" y="113833"/>
                    </a:lnTo>
                    <a:cubicBezTo>
                      <a:pt x="34" y="113833"/>
                      <a:pt x="-43" y="114139"/>
                      <a:pt x="34" y="114292"/>
                    </a:cubicBezTo>
                    <a:cubicBezTo>
                      <a:pt x="111" y="114445"/>
                      <a:pt x="226" y="114560"/>
                      <a:pt x="340" y="114637"/>
                    </a:cubicBezTo>
                    <a:lnTo>
                      <a:pt x="31289" y="128081"/>
                    </a:lnTo>
                    <a:cubicBezTo>
                      <a:pt x="29757" y="139304"/>
                      <a:pt x="29949" y="150718"/>
                      <a:pt x="31749" y="161865"/>
                    </a:cubicBezTo>
                    <a:lnTo>
                      <a:pt x="2217" y="173470"/>
                    </a:lnTo>
                    <a:cubicBezTo>
                      <a:pt x="2217" y="173470"/>
                      <a:pt x="1949" y="173662"/>
                      <a:pt x="1873" y="173777"/>
                    </a:cubicBezTo>
                    <a:cubicBezTo>
                      <a:pt x="1796" y="173930"/>
                      <a:pt x="1796" y="174083"/>
                      <a:pt x="1873" y="174237"/>
                    </a:cubicBezTo>
                    <a:lnTo>
                      <a:pt x="21216" y="223303"/>
                    </a:lnTo>
                    <a:cubicBezTo>
                      <a:pt x="21331" y="223533"/>
                      <a:pt x="21560" y="223686"/>
                      <a:pt x="21790" y="223686"/>
                    </a:cubicBezTo>
                    <a:cubicBezTo>
                      <a:pt x="21867" y="223686"/>
                      <a:pt x="21943" y="223686"/>
                      <a:pt x="21982" y="223648"/>
                    </a:cubicBezTo>
                    <a:lnTo>
                      <a:pt x="52854" y="211505"/>
                    </a:lnTo>
                    <a:cubicBezTo>
                      <a:pt x="55995" y="215680"/>
                      <a:pt x="59404" y="219741"/>
                      <a:pt x="63196" y="223533"/>
                    </a:cubicBezTo>
                    <a:cubicBezTo>
                      <a:pt x="67869" y="228206"/>
                      <a:pt x="72887" y="232304"/>
                      <a:pt x="78172" y="236019"/>
                    </a:cubicBezTo>
                    <a:lnTo>
                      <a:pt x="66069" y="264594"/>
                    </a:lnTo>
                    <a:cubicBezTo>
                      <a:pt x="65915" y="264900"/>
                      <a:pt x="66069" y="265245"/>
                      <a:pt x="66375" y="265398"/>
                    </a:cubicBezTo>
                    <a:lnTo>
                      <a:pt x="114867" y="286005"/>
                    </a:lnTo>
                    <a:cubicBezTo>
                      <a:pt x="114867" y="286005"/>
                      <a:pt x="115020" y="286043"/>
                      <a:pt x="115135" y="286043"/>
                    </a:cubicBezTo>
                    <a:cubicBezTo>
                      <a:pt x="115211" y="286043"/>
                      <a:pt x="115288" y="286043"/>
                      <a:pt x="115326" y="286005"/>
                    </a:cubicBezTo>
                    <a:cubicBezTo>
                      <a:pt x="115480" y="285928"/>
                      <a:pt x="115595" y="285813"/>
                      <a:pt x="115671" y="285660"/>
                    </a:cubicBezTo>
                    <a:lnTo>
                      <a:pt x="128426" y="255592"/>
                    </a:lnTo>
                    <a:cubicBezTo>
                      <a:pt x="133329" y="256243"/>
                      <a:pt x="138270" y="256703"/>
                      <a:pt x="143288" y="256703"/>
                    </a:cubicBezTo>
                    <a:cubicBezTo>
                      <a:pt x="144628" y="256703"/>
                      <a:pt x="146007" y="256703"/>
                      <a:pt x="147348" y="256627"/>
                    </a:cubicBezTo>
                    <a:cubicBezTo>
                      <a:pt x="151331" y="256473"/>
                      <a:pt x="155277" y="256090"/>
                      <a:pt x="159183" y="255554"/>
                    </a:cubicBezTo>
                    <a:lnTo>
                      <a:pt x="169640" y="284320"/>
                    </a:lnTo>
                    <a:cubicBezTo>
                      <a:pt x="169640" y="284320"/>
                      <a:pt x="169793" y="284588"/>
                      <a:pt x="169947" y="284664"/>
                    </a:cubicBezTo>
                    <a:cubicBezTo>
                      <a:pt x="170023" y="284703"/>
                      <a:pt x="170138" y="284741"/>
                      <a:pt x="170215" y="284741"/>
                    </a:cubicBezTo>
                    <a:cubicBezTo>
                      <a:pt x="170291" y="284741"/>
                      <a:pt x="170330" y="284741"/>
                      <a:pt x="170406" y="284741"/>
                    </a:cubicBezTo>
                    <a:lnTo>
                      <a:pt x="219932" y="266700"/>
                    </a:lnTo>
                    <a:cubicBezTo>
                      <a:pt x="220239" y="266585"/>
                      <a:pt x="220430" y="266241"/>
                      <a:pt x="220315" y="265934"/>
                    </a:cubicBezTo>
                    <a:lnTo>
                      <a:pt x="209246" y="235522"/>
                    </a:lnTo>
                    <a:cubicBezTo>
                      <a:pt x="214187" y="231959"/>
                      <a:pt x="218975" y="228052"/>
                      <a:pt x="223379" y="223648"/>
                    </a:cubicBezTo>
                    <a:cubicBezTo>
                      <a:pt x="227823" y="219204"/>
                      <a:pt x="231768" y="214493"/>
                      <a:pt x="235292" y="209552"/>
                    </a:cubicBezTo>
                    <a:lnTo>
                      <a:pt x="263100" y="221924"/>
                    </a:lnTo>
                    <a:cubicBezTo>
                      <a:pt x="263100" y="221924"/>
                      <a:pt x="263291" y="221962"/>
                      <a:pt x="263368" y="221962"/>
                    </a:cubicBezTo>
                    <a:cubicBezTo>
                      <a:pt x="263598" y="221962"/>
                      <a:pt x="263789" y="221809"/>
                      <a:pt x="263904" y="221617"/>
                    </a:cubicBezTo>
                    <a:lnTo>
                      <a:pt x="285354" y="173470"/>
                    </a:lnTo>
                    <a:cubicBezTo>
                      <a:pt x="285354" y="173470"/>
                      <a:pt x="285430" y="173164"/>
                      <a:pt x="285354" y="173011"/>
                    </a:cubicBezTo>
                    <a:cubicBezTo>
                      <a:pt x="285277" y="172858"/>
                      <a:pt x="285201" y="172743"/>
                      <a:pt x="285047" y="172666"/>
                    </a:cubicBezTo>
                    <a:lnTo>
                      <a:pt x="255286" y="159413"/>
                    </a:lnTo>
                    <a:cubicBezTo>
                      <a:pt x="256895" y="147922"/>
                      <a:pt x="256741" y="136240"/>
                      <a:pt x="254865" y="124787"/>
                    </a:cubicBezTo>
                    <a:lnTo>
                      <a:pt x="283669" y="113756"/>
                    </a:lnTo>
                    <a:cubicBezTo>
                      <a:pt x="283669" y="113756"/>
                      <a:pt x="283937" y="113564"/>
                      <a:pt x="284013" y="113450"/>
                    </a:cubicBezTo>
                    <a:cubicBezTo>
                      <a:pt x="284090" y="113296"/>
                      <a:pt x="284090" y="113143"/>
                      <a:pt x="284013" y="112990"/>
                    </a:cubicBezTo>
                    <a:lnTo>
                      <a:pt x="265092" y="63770"/>
                    </a:lnTo>
                    <a:cubicBezTo>
                      <a:pt x="264977" y="63464"/>
                      <a:pt x="264594" y="63311"/>
                      <a:pt x="264287" y="63426"/>
                    </a:cubicBezTo>
                    <a:lnTo>
                      <a:pt x="233453" y="75261"/>
                    </a:lnTo>
                    <a:cubicBezTo>
                      <a:pt x="230351" y="71201"/>
                      <a:pt x="227095" y="67218"/>
                      <a:pt x="223379" y="63502"/>
                    </a:cubicBezTo>
                    <a:cubicBezTo>
                      <a:pt x="218362" y="58485"/>
                      <a:pt x="212961" y="54118"/>
                      <a:pt x="207330" y="50249"/>
                    </a:cubicBezTo>
                    <a:lnTo>
                      <a:pt x="219549" y="21445"/>
                    </a:lnTo>
                    <a:cubicBezTo>
                      <a:pt x="219664" y="21139"/>
                      <a:pt x="219549" y="20794"/>
                      <a:pt x="219243" y="20641"/>
                    </a:cubicBezTo>
                    <a:lnTo>
                      <a:pt x="170751" y="34"/>
                    </a:lnTo>
                    <a:cubicBezTo>
                      <a:pt x="170751" y="34"/>
                      <a:pt x="170445" y="-43"/>
                      <a:pt x="170291" y="34"/>
                    </a:cubicBezTo>
                    <a:cubicBezTo>
                      <a:pt x="170138" y="111"/>
                      <a:pt x="170023" y="226"/>
                      <a:pt x="169947" y="379"/>
                    </a:cubicBezTo>
                    <a:lnTo>
                      <a:pt x="156847" y="31289"/>
                    </a:lnTo>
                    <a:cubicBezTo>
                      <a:pt x="146237" y="30025"/>
                      <a:pt x="135512" y="30255"/>
                      <a:pt x="124940" y="31979"/>
                    </a:cubicBezTo>
                    <a:lnTo>
                      <a:pt x="113564" y="2256"/>
                    </a:lnTo>
                    <a:cubicBezTo>
                      <a:pt x="113564" y="2256"/>
                      <a:pt x="113411" y="1988"/>
                      <a:pt x="113258" y="1911"/>
                    </a:cubicBezTo>
                    <a:cubicBezTo>
                      <a:pt x="113105" y="1834"/>
                      <a:pt x="112952" y="1834"/>
                      <a:pt x="112798" y="1911"/>
                    </a:cubicBezTo>
                    <a:lnTo>
                      <a:pt x="63579" y="20833"/>
                    </a:lnTo>
                    <a:moveTo>
                      <a:pt x="75683" y="75951"/>
                    </a:moveTo>
                    <a:cubicBezTo>
                      <a:pt x="93494" y="58140"/>
                      <a:pt x="116629" y="48832"/>
                      <a:pt x="139994" y="48028"/>
                    </a:cubicBezTo>
                    <a:cubicBezTo>
                      <a:pt x="165618" y="47147"/>
                      <a:pt x="191550" y="56455"/>
                      <a:pt x="211046" y="75951"/>
                    </a:cubicBezTo>
                    <a:cubicBezTo>
                      <a:pt x="248353" y="113296"/>
                      <a:pt x="248353" y="174007"/>
                      <a:pt x="211046" y="211314"/>
                    </a:cubicBezTo>
                    <a:cubicBezTo>
                      <a:pt x="192967" y="229393"/>
                      <a:pt x="168912" y="239352"/>
                      <a:pt x="143364" y="239352"/>
                    </a:cubicBezTo>
                    <a:cubicBezTo>
                      <a:pt x="117778" y="239352"/>
                      <a:pt x="93762" y="229393"/>
                      <a:pt x="75683" y="211314"/>
                    </a:cubicBezTo>
                    <a:cubicBezTo>
                      <a:pt x="38375" y="173968"/>
                      <a:pt x="38375" y="113258"/>
                      <a:pt x="75683" y="75951"/>
                    </a:cubicBezTo>
                    <a:close/>
                  </a:path>
                </a:pathLst>
              </a:custGeom>
              <a:grpFill/>
              <a:ln w="38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B937114E-4285-CFCF-F1E1-8984757C454B}"/>
                  </a:ext>
                </a:extLst>
              </p:cNvPr>
              <p:cNvSpPr/>
              <p:nvPr/>
            </p:nvSpPr>
            <p:spPr>
              <a:xfrm>
                <a:off x="6594917" y="5257083"/>
                <a:ext cx="293251" cy="294020"/>
              </a:xfrm>
              <a:custGeom>
                <a:avLst/>
                <a:gdLst>
                  <a:gd name="connsiteX0" fmla="*/ 118956 w 293251"/>
                  <a:gd name="connsiteY0" fmla="*/ 293906 h 294020"/>
                  <a:gd name="connsiteX1" fmla="*/ 117271 w 293251"/>
                  <a:gd name="connsiteY1" fmla="*/ 293561 h 294020"/>
                  <a:gd name="connsiteX2" fmla="*/ 68703 w 293251"/>
                  <a:gd name="connsiteY2" fmla="*/ 272916 h 294020"/>
                  <a:gd name="connsiteX3" fmla="*/ 66328 w 293251"/>
                  <a:gd name="connsiteY3" fmla="*/ 270464 h 294020"/>
                  <a:gd name="connsiteX4" fmla="*/ 66366 w 293251"/>
                  <a:gd name="connsiteY4" fmla="*/ 267055 h 294020"/>
                  <a:gd name="connsiteX5" fmla="*/ 77283 w 293251"/>
                  <a:gd name="connsiteY5" fmla="*/ 241316 h 294020"/>
                  <a:gd name="connsiteX6" fmla="*/ 64336 w 293251"/>
                  <a:gd name="connsiteY6" fmla="*/ 230208 h 294020"/>
                  <a:gd name="connsiteX7" fmla="*/ 55412 w 293251"/>
                  <a:gd name="connsiteY7" fmla="*/ 220096 h 294020"/>
                  <a:gd name="connsiteX8" fmla="*/ 26569 w 293251"/>
                  <a:gd name="connsiteY8" fmla="*/ 231433 h 294020"/>
                  <a:gd name="connsiteX9" fmla="*/ 25650 w 293251"/>
                  <a:gd name="connsiteY9" fmla="*/ 231433 h 294020"/>
                  <a:gd name="connsiteX10" fmla="*/ 21513 w 293251"/>
                  <a:gd name="connsiteY10" fmla="*/ 228675 h 294020"/>
                  <a:gd name="connsiteX11" fmla="*/ 2170 w 293251"/>
                  <a:gd name="connsiteY11" fmla="*/ 179609 h 294020"/>
                  <a:gd name="connsiteX12" fmla="*/ 2247 w 293251"/>
                  <a:gd name="connsiteY12" fmla="*/ 176200 h 294020"/>
                  <a:gd name="connsiteX13" fmla="*/ 4660 w 293251"/>
                  <a:gd name="connsiteY13" fmla="*/ 173864 h 294020"/>
                  <a:gd name="connsiteX14" fmla="*/ 31396 w 293251"/>
                  <a:gd name="connsiteY14" fmla="*/ 163369 h 294020"/>
                  <a:gd name="connsiteX15" fmla="*/ 31013 w 293251"/>
                  <a:gd name="connsiteY15" fmla="*/ 134373 h 294020"/>
                  <a:gd name="connsiteX16" fmla="*/ 2668 w 293251"/>
                  <a:gd name="connsiteY16" fmla="*/ 122078 h 294020"/>
                  <a:gd name="connsiteX17" fmla="*/ 293 w 293251"/>
                  <a:gd name="connsiteY17" fmla="*/ 119588 h 294020"/>
                  <a:gd name="connsiteX18" fmla="*/ 370 w 293251"/>
                  <a:gd name="connsiteY18" fmla="*/ 116256 h 294020"/>
                  <a:gd name="connsiteX19" fmla="*/ 21437 w 293251"/>
                  <a:gd name="connsiteY19" fmla="*/ 67917 h 294020"/>
                  <a:gd name="connsiteX20" fmla="*/ 27259 w 293251"/>
                  <a:gd name="connsiteY20" fmla="*/ 65619 h 294020"/>
                  <a:gd name="connsiteX21" fmla="*/ 53765 w 293251"/>
                  <a:gd name="connsiteY21" fmla="*/ 77110 h 294020"/>
                  <a:gd name="connsiteX22" fmla="*/ 64451 w 293251"/>
                  <a:gd name="connsiteY22" fmla="*/ 64623 h 294020"/>
                  <a:gd name="connsiteX23" fmla="*/ 74601 w 293251"/>
                  <a:gd name="connsiteY23" fmla="*/ 55660 h 294020"/>
                  <a:gd name="connsiteX24" fmla="*/ 63532 w 293251"/>
                  <a:gd name="connsiteY24" fmla="*/ 26780 h 294020"/>
                  <a:gd name="connsiteX25" fmla="*/ 66060 w 293251"/>
                  <a:gd name="connsiteY25" fmla="*/ 21073 h 294020"/>
                  <a:gd name="connsiteX26" fmla="*/ 66098 w 293251"/>
                  <a:gd name="connsiteY26" fmla="*/ 21073 h 294020"/>
                  <a:gd name="connsiteX27" fmla="*/ 115318 w 293251"/>
                  <a:gd name="connsiteY27" fmla="*/ 2151 h 294020"/>
                  <a:gd name="connsiteX28" fmla="*/ 118765 w 293251"/>
                  <a:gd name="connsiteY28" fmla="*/ 2266 h 294020"/>
                  <a:gd name="connsiteX29" fmla="*/ 121101 w 293251"/>
                  <a:gd name="connsiteY29" fmla="*/ 4832 h 294020"/>
                  <a:gd name="connsiteX30" fmla="*/ 131328 w 293251"/>
                  <a:gd name="connsiteY30" fmla="*/ 31568 h 294020"/>
                  <a:gd name="connsiteX31" fmla="*/ 158332 w 293251"/>
                  <a:gd name="connsiteY31" fmla="*/ 31031 h 294020"/>
                  <a:gd name="connsiteX32" fmla="*/ 170321 w 293251"/>
                  <a:gd name="connsiteY32" fmla="*/ 2726 h 294020"/>
                  <a:gd name="connsiteX33" fmla="*/ 172696 w 293251"/>
                  <a:gd name="connsiteY33" fmla="*/ 351 h 294020"/>
                  <a:gd name="connsiteX34" fmla="*/ 176296 w 293251"/>
                  <a:gd name="connsiteY34" fmla="*/ 427 h 294020"/>
                  <a:gd name="connsiteX35" fmla="*/ 224673 w 293251"/>
                  <a:gd name="connsiteY35" fmla="*/ 20996 h 294020"/>
                  <a:gd name="connsiteX36" fmla="*/ 227048 w 293251"/>
                  <a:gd name="connsiteY36" fmla="*/ 26780 h 294020"/>
                  <a:gd name="connsiteX37" fmla="*/ 216017 w 293251"/>
                  <a:gd name="connsiteY37" fmla="*/ 52788 h 294020"/>
                  <a:gd name="connsiteX38" fmla="*/ 230074 w 293251"/>
                  <a:gd name="connsiteY38" fmla="*/ 64700 h 294020"/>
                  <a:gd name="connsiteX39" fmla="*/ 238730 w 293251"/>
                  <a:gd name="connsiteY39" fmla="*/ 74582 h 294020"/>
                  <a:gd name="connsiteX40" fmla="*/ 266921 w 293251"/>
                  <a:gd name="connsiteY40" fmla="*/ 63781 h 294020"/>
                  <a:gd name="connsiteX41" fmla="*/ 270254 w 293251"/>
                  <a:gd name="connsiteY41" fmla="*/ 63857 h 294020"/>
                  <a:gd name="connsiteX42" fmla="*/ 272629 w 293251"/>
                  <a:gd name="connsiteY42" fmla="*/ 66309 h 294020"/>
                  <a:gd name="connsiteX43" fmla="*/ 291550 w 293251"/>
                  <a:gd name="connsiteY43" fmla="*/ 115566 h 294020"/>
                  <a:gd name="connsiteX44" fmla="*/ 291435 w 293251"/>
                  <a:gd name="connsiteY44" fmla="*/ 119014 h 294020"/>
                  <a:gd name="connsiteX45" fmla="*/ 288946 w 293251"/>
                  <a:gd name="connsiteY45" fmla="*/ 121312 h 294020"/>
                  <a:gd name="connsiteX46" fmla="*/ 263091 w 293251"/>
                  <a:gd name="connsiteY46" fmla="*/ 131232 h 294020"/>
                  <a:gd name="connsiteX47" fmla="*/ 263436 w 293251"/>
                  <a:gd name="connsiteY47" fmla="*/ 161032 h 294020"/>
                  <a:gd name="connsiteX48" fmla="*/ 290593 w 293251"/>
                  <a:gd name="connsiteY48" fmla="*/ 173098 h 294020"/>
                  <a:gd name="connsiteX49" fmla="*/ 292929 w 293251"/>
                  <a:gd name="connsiteY49" fmla="*/ 175511 h 294020"/>
                  <a:gd name="connsiteX50" fmla="*/ 292853 w 293251"/>
                  <a:gd name="connsiteY50" fmla="*/ 178958 h 294020"/>
                  <a:gd name="connsiteX51" fmla="*/ 271403 w 293251"/>
                  <a:gd name="connsiteY51" fmla="*/ 227067 h 294020"/>
                  <a:gd name="connsiteX52" fmla="*/ 267496 w 293251"/>
                  <a:gd name="connsiteY52" fmla="*/ 229710 h 294020"/>
                  <a:gd name="connsiteX53" fmla="*/ 266577 w 293251"/>
                  <a:gd name="connsiteY53" fmla="*/ 229710 h 294020"/>
                  <a:gd name="connsiteX54" fmla="*/ 265466 w 293251"/>
                  <a:gd name="connsiteY54" fmla="*/ 229288 h 294020"/>
                  <a:gd name="connsiteX55" fmla="*/ 240569 w 293251"/>
                  <a:gd name="connsiteY55" fmla="*/ 218219 h 294020"/>
                  <a:gd name="connsiteX56" fmla="*/ 230112 w 293251"/>
                  <a:gd name="connsiteY56" fmla="*/ 230284 h 294020"/>
                  <a:gd name="connsiteX57" fmla="*/ 217855 w 293251"/>
                  <a:gd name="connsiteY57" fmla="*/ 240856 h 294020"/>
                  <a:gd name="connsiteX58" fmla="*/ 227929 w 293251"/>
                  <a:gd name="connsiteY58" fmla="*/ 268587 h 294020"/>
                  <a:gd name="connsiteX59" fmla="*/ 227776 w 293251"/>
                  <a:gd name="connsiteY59" fmla="*/ 271996 h 294020"/>
                  <a:gd name="connsiteX60" fmla="*/ 225248 w 293251"/>
                  <a:gd name="connsiteY60" fmla="*/ 274294 h 294020"/>
                  <a:gd name="connsiteX61" fmla="*/ 175109 w 293251"/>
                  <a:gd name="connsiteY61" fmla="*/ 292565 h 294020"/>
                  <a:gd name="connsiteX62" fmla="*/ 174228 w 293251"/>
                  <a:gd name="connsiteY62" fmla="*/ 292565 h 294020"/>
                  <a:gd name="connsiteX63" fmla="*/ 172236 w 293251"/>
                  <a:gd name="connsiteY63" fmla="*/ 292144 h 294020"/>
                  <a:gd name="connsiteX64" fmla="*/ 170015 w 293251"/>
                  <a:gd name="connsiteY64" fmla="*/ 289654 h 294020"/>
                  <a:gd name="connsiteX65" fmla="*/ 160630 w 293251"/>
                  <a:gd name="connsiteY65" fmla="*/ 263838 h 294020"/>
                  <a:gd name="connsiteX66" fmla="*/ 151476 w 293251"/>
                  <a:gd name="connsiteY66" fmla="*/ 264565 h 294020"/>
                  <a:gd name="connsiteX67" fmla="*/ 134852 w 293251"/>
                  <a:gd name="connsiteY67" fmla="*/ 263876 h 294020"/>
                  <a:gd name="connsiteX68" fmla="*/ 123208 w 293251"/>
                  <a:gd name="connsiteY68" fmla="*/ 291301 h 294020"/>
                  <a:gd name="connsiteX69" fmla="*/ 120833 w 293251"/>
                  <a:gd name="connsiteY69" fmla="*/ 293676 h 294020"/>
                  <a:gd name="connsiteX70" fmla="*/ 120220 w 293251"/>
                  <a:gd name="connsiteY70" fmla="*/ 293944 h 294020"/>
                  <a:gd name="connsiteX71" fmla="*/ 119339 w 293251"/>
                  <a:gd name="connsiteY71" fmla="*/ 294021 h 294020"/>
                  <a:gd name="connsiteX72" fmla="*/ 119148 w 293251"/>
                  <a:gd name="connsiteY72" fmla="*/ 294021 h 294020"/>
                  <a:gd name="connsiteX73" fmla="*/ 177024 w 293251"/>
                  <a:gd name="connsiteY73" fmla="*/ 286935 h 294020"/>
                  <a:gd name="connsiteX74" fmla="*/ 177024 w 293251"/>
                  <a:gd name="connsiteY74" fmla="*/ 287011 h 294020"/>
                  <a:gd name="connsiteX75" fmla="*/ 177024 w 293251"/>
                  <a:gd name="connsiteY75" fmla="*/ 286935 h 294020"/>
                  <a:gd name="connsiteX76" fmla="*/ 74678 w 293251"/>
                  <a:gd name="connsiteY76" fmla="*/ 267132 h 294020"/>
                  <a:gd name="connsiteX77" fmla="*/ 117271 w 293251"/>
                  <a:gd name="connsiteY77" fmla="*/ 285211 h 294020"/>
                  <a:gd name="connsiteX78" fmla="*/ 129911 w 293251"/>
                  <a:gd name="connsiteY78" fmla="*/ 255411 h 294020"/>
                  <a:gd name="connsiteX79" fmla="*/ 132784 w 293251"/>
                  <a:gd name="connsiteY79" fmla="*/ 255794 h 294020"/>
                  <a:gd name="connsiteX80" fmla="*/ 151054 w 293251"/>
                  <a:gd name="connsiteY80" fmla="*/ 256790 h 294020"/>
                  <a:gd name="connsiteX81" fmla="*/ 162469 w 293251"/>
                  <a:gd name="connsiteY81" fmla="*/ 255756 h 294020"/>
                  <a:gd name="connsiteX82" fmla="*/ 165533 w 293251"/>
                  <a:gd name="connsiteY82" fmla="*/ 255334 h 294020"/>
                  <a:gd name="connsiteX83" fmla="*/ 175951 w 293251"/>
                  <a:gd name="connsiteY83" fmla="*/ 283985 h 294020"/>
                  <a:gd name="connsiteX84" fmla="*/ 219425 w 293251"/>
                  <a:gd name="connsiteY84" fmla="*/ 268128 h 294020"/>
                  <a:gd name="connsiteX85" fmla="*/ 208471 w 293251"/>
                  <a:gd name="connsiteY85" fmla="*/ 238021 h 294020"/>
                  <a:gd name="connsiteX86" fmla="*/ 210807 w 293251"/>
                  <a:gd name="connsiteY86" fmla="*/ 236336 h 294020"/>
                  <a:gd name="connsiteX87" fmla="*/ 224443 w 293251"/>
                  <a:gd name="connsiteY87" fmla="*/ 224845 h 294020"/>
                  <a:gd name="connsiteX88" fmla="*/ 235934 w 293251"/>
                  <a:gd name="connsiteY88" fmla="*/ 211248 h 294020"/>
                  <a:gd name="connsiteX89" fmla="*/ 237734 w 293251"/>
                  <a:gd name="connsiteY89" fmla="*/ 208720 h 294020"/>
                  <a:gd name="connsiteX90" fmla="*/ 265428 w 293251"/>
                  <a:gd name="connsiteY90" fmla="*/ 221053 h 294020"/>
                  <a:gd name="connsiteX91" fmla="*/ 284273 w 293251"/>
                  <a:gd name="connsiteY91" fmla="*/ 178805 h 294020"/>
                  <a:gd name="connsiteX92" fmla="*/ 254818 w 293251"/>
                  <a:gd name="connsiteY92" fmla="*/ 165705 h 294020"/>
                  <a:gd name="connsiteX93" fmla="*/ 255201 w 293251"/>
                  <a:gd name="connsiteY93" fmla="*/ 162832 h 294020"/>
                  <a:gd name="connsiteX94" fmla="*/ 254779 w 293251"/>
                  <a:gd name="connsiteY94" fmla="*/ 129394 h 294020"/>
                  <a:gd name="connsiteX95" fmla="*/ 254281 w 293251"/>
                  <a:gd name="connsiteY95" fmla="*/ 126291 h 294020"/>
                  <a:gd name="connsiteX96" fmla="*/ 283009 w 293251"/>
                  <a:gd name="connsiteY96" fmla="*/ 115260 h 294020"/>
                  <a:gd name="connsiteX97" fmla="*/ 266423 w 293251"/>
                  <a:gd name="connsiteY97" fmla="*/ 72054 h 294020"/>
                  <a:gd name="connsiteX98" fmla="*/ 235896 w 293251"/>
                  <a:gd name="connsiteY98" fmla="*/ 83737 h 294020"/>
                  <a:gd name="connsiteX99" fmla="*/ 234172 w 293251"/>
                  <a:gd name="connsiteY99" fmla="*/ 81438 h 294020"/>
                  <a:gd name="connsiteX100" fmla="*/ 224443 w 293251"/>
                  <a:gd name="connsiteY100" fmla="*/ 70062 h 294020"/>
                  <a:gd name="connsiteX101" fmla="*/ 208930 w 293251"/>
                  <a:gd name="connsiteY101" fmla="*/ 57269 h 294020"/>
                  <a:gd name="connsiteX102" fmla="*/ 206364 w 293251"/>
                  <a:gd name="connsiteY102" fmla="*/ 55507 h 294020"/>
                  <a:gd name="connsiteX103" fmla="*/ 218545 w 293251"/>
                  <a:gd name="connsiteY103" fmla="*/ 26780 h 294020"/>
                  <a:gd name="connsiteX104" fmla="*/ 175951 w 293251"/>
                  <a:gd name="connsiteY104" fmla="*/ 8701 h 294020"/>
                  <a:gd name="connsiteX105" fmla="*/ 162967 w 293251"/>
                  <a:gd name="connsiteY105" fmla="*/ 39305 h 294020"/>
                  <a:gd name="connsiteX106" fmla="*/ 160094 w 293251"/>
                  <a:gd name="connsiteY106" fmla="*/ 38960 h 294020"/>
                  <a:gd name="connsiteX107" fmla="*/ 129260 w 293251"/>
                  <a:gd name="connsiteY107" fmla="*/ 39611 h 294020"/>
                  <a:gd name="connsiteX108" fmla="*/ 126196 w 293251"/>
                  <a:gd name="connsiteY108" fmla="*/ 40109 h 294020"/>
                  <a:gd name="connsiteX109" fmla="*/ 114858 w 293251"/>
                  <a:gd name="connsiteY109" fmla="*/ 10463 h 294020"/>
                  <a:gd name="connsiteX110" fmla="*/ 71652 w 293251"/>
                  <a:gd name="connsiteY110" fmla="*/ 27048 h 294020"/>
                  <a:gd name="connsiteX111" fmla="*/ 83603 w 293251"/>
                  <a:gd name="connsiteY111" fmla="*/ 58265 h 294020"/>
                  <a:gd name="connsiteX112" fmla="*/ 81305 w 293251"/>
                  <a:gd name="connsiteY112" fmla="*/ 59989 h 294020"/>
                  <a:gd name="connsiteX113" fmla="*/ 69699 w 293251"/>
                  <a:gd name="connsiteY113" fmla="*/ 70024 h 294020"/>
                  <a:gd name="connsiteX114" fmla="*/ 58016 w 293251"/>
                  <a:gd name="connsiteY114" fmla="*/ 84043 h 294020"/>
                  <a:gd name="connsiteX115" fmla="*/ 56216 w 293251"/>
                  <a:gd name="connsiteY115" fmla="*/ 86571 h 294020"/>
                  <a:gd name="connsiteX116" fmla="*/ 27029 w 293251"/>
                  <a:gd name="connsiteY116" fmla="*/ 73893 h 294020"/>
                  <a:gd name="connsiteX117" fmla="*/ 8567 w 293251"/>
                  <a:gd name="connsiteY117" fmla="*/ 116294 h 294020"/>
                  <a:gd name="connsiteX118" fmla="*/ 39209 w 293251"/>
                  <a:gd name="connsiteY118" fmla="*/ 129624 h 294020"/>
                  <a:gd name="connsiteX119" fmla="*/ 38826 w 293251"/>
                  <a:gd name="connsiteY119" fmla="*/ 132496 h 294020"/>
                  <a:gd name="connsiteX120" fmla="*/ 39286 w 293251"/>
                  <a:gd name="connsiteY120" fmla="*/ 165169 h 294020"/>
                  <a:gd name="connsiteX121" fmla="*/ 39784 w 293251"/>
                  <a:gd name="connsiteY121" fmla="*/ 168233 h 294020"/>
                  <a:gd name="connsiteX122" fmla="*/ 10367 w 293251"/>
                  <a:gd name="connsiteY122" fmla="*/ 179801 h 294020"/>
                  <a:gd name="connsiteX123" fmla="*/ 27335 w 293251"/>
                  <a:gd name="connsiteY123" fmla="*/ 222853 h 294020"/>
                  <a:gd name="connsiteX124" fmla="*/ 57901 w 293251"/>
                  <a:gd name="connsiteY124" fmla="*/ 210826 h 294020"/>
                  <a:gd name="connsiteX125" fmla="*/ 59663 w 293251"/>
                  <a:gd name="connsiteY125" fmla="*/ 213163 h 294020"/>
                  <a:gd name="connsiteX126" fmla="*/ 69660 w 293251"/>
                  <a:gd name="connsiteY126" fmla="*/ 224769 h 294020"/>
                  <a:gd name="connsiteX127" fmla="*/ 84139 w 293251"/>
                  <a:gd name="connsiteY127" fmla="*/ 236834 h 294020"/>
                  <a:gd name="connsiteX128" fmla="*/ 86667 w 293251"/>
                  <a:gd name="connsiteY128" fmla="*/ 238596 h 294020"/>
                  <a:gd name="connsiteX129" fmla="*/ 74601 w 293251"/>
                  <a:gd name="connsiteY129" fmla="*/ 267055 h 294020"/>
                  <a:gd name="connsiteX130" fmla="*/ 73452 w 293251"/>
                  <a:gd name="connsiteY130" fmla="*/ 270043 h 294020"/>
                  <a:gd name="connsiteX131" fmla="*/ 73452 w 293251"/>
                  <a:gd name="connsiteY131" fmla="*/ 270043 h 294020"/>
                  <a:gd name="connsiteX132" fmla="*/ 73452 w 293251"/>
                  <a:gd name="connsiteY132" fmla="*/ 270043 h 294020"/>
                  <a:gd name="connsiteX133" fmla="*/ 222490 w 293251"/>
                  <a:gd name="connsiteY133" fmla="*/ 267017 h 294020"/>
                  <a:gd name="connsiteX134" fmla="*/ 222451 w 293251"/>
                  <a:gd name="connsiteY134" fmla="*/ 267017 h 294020"/>
                  <a:gd name="connsiteX135" fmla="*/ 222490 w 293251"/>
                  <a:gd name="connsiteY135" fmla="*/ 267017 h 294020"/>
                  <a:gd name="connsiteX136" fmla="*/ 264278 w 293251"/>
                  <a:gd name="connsiteY136" fmla="*/ 223888 h 294020"/>
                  <a:gd name="connsiteX137" fmla="*/ 264240 w 293251"/>
                  <a:gd name="connsiteY137" fmla="*/ 224003 h 294020"/>
                  <a:gd name="connsiteX138" fmla="*/ 264240 w 293251"/>
                  <a:gd name="connsiteY138" fmla="*/ 223888 h 294020"/>
                  <a:gd name="connsiteX139" fmla="*/ 287299 w 293251"/>
                  <a:gd name="connsiteY139" fmla="*/ 180031 h 294020"/>
                  <a:gd name="connsiteX140" fmla="*/ 287413 w 293251"/>
                  <a:gd name="connsiteY140" fmla="*/ 180069 h 294020"/>
                  <a:gd name="connsiteX141" fmla="*/ 287299 w 293251"/>
                  <a:gd name="connsiteY141" fmla="*/ 180069 h 294020"/>
                  <a:gd name="connsiteX142" fmla="*/ 9295 w 293251"/>
                  <a:gd name="connsiteY142" fmla="*/ 176813 h 294020"/>
                  <a:gd name="connsiteX143" fmla="*/ 9295 w 293251"/>
                  <a:gd name="connsiteY143" fmla="*/ 176813 h 294020"/>
                  <a:gd name="connsiteX144" fmla="*/ 9295 w 293251"/>
                  <a:gd name="connsiteY144" fmla="*/ 176813 h 294020"/>
                  <a:gd name="connsiteX145" fmla="*/ 285728 w 293251"/>
                  <a:gd name="connsiteY145" fmla="*/ 175779 h 294020"/>
                  <a:gd name="connsiteX146" fmla="*/ 285728 w 293251"/>
                  <a:gd name="connsiteY146" fmla="*/ 175779 h 294020"/>
                  <a:gd name="connsiteX147" fmla="*/ 285728 w 293251"/>
                  <a:gd name="connsiteY147" fmla="*/ 175779 h 294020"/>
                  <a:gd name="connsiteX148" fmla="*/ 5618 w 293251"/>
                  <a:gd name="connsiteY148" fmla="*/ 115030 h 294020"/>
                  <a:gd name="connsiteX149" fmla="*/ 5809 w 293251"/>
                  <a:gd name="connsiteY149" fmla="*/ 115107 h 294020"/>
                  <a:gd name="connsiteX150" fmla="*/ 5618 w 293251"/>
                  <a:gd name="connsiteY150" fmla="*/ 115030 h 294020"/>
                  <a:gd name="connsiteX151" fmla="*/ 286188 w 293251"/>
                  <a:gd name="connsiteY151" fmla="*/ 114073 h 294020"/>
                  <a:gd name="connsiteX152" fmla="*/ 286111 w 293251"/>
                  <a:gd name="connsiteY152" fmla="*/ 114073 h 294020"/>
                  <a:gd name="connsiteX153" fmla="*/ 286188 w 293251"/>
                  <a:gd name="connsiteY153" fmla="*/ 114073 h 294020"/>
                  <a:gd name="connsiteX154" fmla="*/ 28446 w 293251"/>
                  <a:gd name="connsiteY154" fmla="*/ 70943 h 294020"/>
                  <a:gd name="connsiteX155" fmla="*/ 28446 w 293251"/>
                  <a:gd name="connsiteY155" fmla="*/ 70943 h 294020"/>
                  <a:gd name="connsiteX156" fmla="*/ 28446 w 293251"/>
                  <a:gd name="connsiteY156" fmla="*/ 70943 h 294020"/>
                  <a:gd name="connsiteX157" fmla="*/ 269641 w 293251"/>
                  <a:gd name="connsiteY157" fmla="*/ 70828 h 294020"/>
                  <a:gd name="connsiteX158" fmla="*/ 269526 w 293251"/>
                  <a:gd name="connsiteY158" fmla="*/ 70828 h 294020"/>
                  <a:gd name="connsiteX159" fmla="*/ 269641 w 293251"/>
                  <a:gd name="connsiteY159" fmla="*/ 70828 h 294020"/>
                  <a:gd name="connsiteX160" fmla="*/ 221609 w 293251"/>
                  <a:gd name="connsiteY160" fmla="*/ 28006 h 294020"/>
                  <a:gd name="connsiteX161" fmla="*/ 221609 w 293251"/>
                  <a:gd name="connsiteY161" fmla="*/ 28006 h 294020"/>
                  <a:gd name="connsiteX162" fmla="*/ 221609 w 293251"/>
                  <a:gd name="connsiteY162" fmla="*/ 28006 h 294020"/>
                  <a:gd name="connsiteX163" fmla="*/ 113824 w 293251"/>
                  <a:gd name="connsiteY163" fmla="*/ 7437 h 294020"/>
                  <a:gd name="connsiteX164" fmla="*/ 113900 w 293251"/>
                  <a:gd name="connsiteY164" fmla="*/ 7628 h 294020"/>
                  <a:gd name="connsiteX165" fmla="*/ 113824 w 293251"/>
                  <a:gd name="connsiteY165" fmla="*/ 7437 h 294020"/>
                  <a:gd name="connsiteX166" fmla="*/ 173079 w 293251"/>
                  <a:gd name="connsiteY166" fmla="*/ 7398 h 294020"/>
                  <a:gd name="connsiteX167" fmla="*/ 173270 w 293251"/>
                  <a:gd name="connsiteY167" fmla="*/ 7475 h 294020"/>
                  <a:gd name="connsiteX168" fmla="*/ 173079 w 293251"/>
                  <a:gd name="connsiteY168" fmla="*/ 7398 h 294020"/>
                  <a:gd name="connsiteX169" fmla="*/ 147224 w 293251"/>
                  <a:gd name="connsiteY169" fmla="*/ 246984 h 294020"/>
                  <a:gd name="connsiteX170" fmla="*/ 147186 w 293251"/>
                  <a:gd name="connsiteY170" fmla="*/ 246984 h 294020"/>
                  <a:gd name="connsiteX171" fmla="*/ 76785 w 293251"/>
                  <a:gd name="connsiteY171" fmla="*/ 217836 h 294020"/>
                  <a:gd name="connsiteX172" fmla="*/ 76785 w 293251"/>
                  <a:gd name="connsiteY172" fmla="*/ 77034 h 294020"/>
                  <a:gd name="connsiteX173" fmla="*/ 76785 w 293251"/>
                  <a:gd name="connsiteY173" fmla="*/ 77034 h 294020"/>
                  <a:gd name="connsiteX174" fmla="*/ 143662 w 293251"/>
                  <a:gd name="connsiteY174" fmla="*/ 48000 h 294020"/>
                  <a:gd name="connsiteX175" fmla="*/ 217549 w 293251"/>
                  <a:gd name="connsiteY175" fmla="*/ 77072 h 294020"/>
                  <a:gd name="connsiteX176" fmla="*/ 217549 w 293251"/>
                  <a:gd name="connsiteY176" fmla="*/ 217874 h 294020"/>
                  <a:gd name="connsiteX177" fmla="*/ 147186 w 293251"/>
                  <a:gd name="connsiteY177" fmla="*/ 247023 h 294020"/>
                  <a:gd name="connsiteX178" fmla="*/ 82185 w 293251"/>
                  <a:gd name="connsiteY178" fmla="*/ 82434 h 294020"/>
                  <a:gd name="connsiteX179" fmla="*/ 82185 w 293251"/>
                  <a:gd name="connsiteY179" fmla="*/ 82434 h 294020"/>
                  <a:gd name="connsiteX180" fmla="*/ 82185 w 293251"/>
                  <a:gd name="connsiteY180" fmla="*/ 212397 h 294020"/>
                  <a:gd name="connsiteX181" fmla="*/ 147148 w 293251"/>
                  <a:gd name="connsiteY181" fmla="*/ 239324 h 294020"/>
                  <a:gd name="connsiteX182" fmla="*/ 147186 w 293251"/>
                  <a:gd name="connsiteY182" fmla="*/ 239324 h 294020"/>
                  <a:gd name="connsiteX183" fmla="*/ 212110 w 293251"/>
                  <a:gd name="connsiteY183" fmla="*/ 212397 h 294020"/>
                  <a:gd name="connsiteX184" fmla="*/ 212110 w 293251"/>
                  <a:gd name="connsiteY184" fmla="*/ 82434 h 294020"/>
                  <a:gd name="connsiteX185" fmla="*/ 143892 w 293251"/>
                  <a:gd name="connsiteY185" fmla="*/ 55622 h 294020"/>
                  <a:gd name="connsiteX186" fmla="*/ 82147 w 293251"/>
                  <a:gd name="connsiteY186" fmla="*/ 82434 h 294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</a:cxnLst>
                <a:rect l="l" t="t" r="r" b="b"/>
                <a:pathLst>
                  <a:path w="293251" h="294020">
                    <a:moveTo>
                      <a:pt x="118956" y="293906"/>
                    </a:moveTo>
                    <a:cubicBezTo>
                      <a:pt x="118382" y="293906"/>
                      <a:pt x="117807" y="293791"/>
                      <a:pt x="117271" y="293561"/>
                    </a:cubicBezTo>
                    <a:lnTo>
                      <a:pt x="68703" y="272916"/>
                    </a:lnTo>
                    <a:cubicBezTo>
                      <a:pt x="67592" y="272456"/>
                      <a:pt x="66749" y="271575"/>
                      <a:pt x="66328" y="270464"/>
                    </a:cubicBezTo>
                    <a:cubicBezTo>
                      <a:pt x="65868" y="269353"/>
                      <a:pt x="65907" y="268166"/>
                      <a:pt x="66366" y="267055"/>
                    </a:cubicBezTo>
                    <a:lnTo>
                      <a:pt x="77283" y="241316"/>
                    </a:lnTo>
                    <a:cubicBezTo>
                      <a:pt x="72457" y="237753"/>
                      <a:pt x="68205" y="234115"/>
                      <a:pt x="64336" y="230208"/>
                    </a:cubicBezTo>
                    <a:cubicBezTo>
                      <a:pt x="61272" y="227143"/>
                      <a:pt x="58323" y="223811"/>
                      <a:pt x="55412" y="220096"/>
                    </a:cubicBezTo>
                    <a:lnTo>
                      <a:pt x="26569" y="231433"/>
                    </a:lnTo>
                    <a:lnTo>
                      <a:pt x="25650" y="231433"/>
                    </a:lnTo>
                    <a:cubicBezTo>
                      <a:pt x="23812" y="231472"/>
                      <a:pt x="22203" y="230399"/>
                      <a:pt x="21513" y="228675"/>
                    </a:cubicBezTo>
                    <a:lnTo>
                      <a:pt x="2170" y="179609"/>
                    </a:lnTo>
                    <a:cubicBezTo>
                      <a:pt x="1749" y="178537"/>
                      <a:pt x="1749" y="177273"/>
                      <a:pt x="2247" y="176200"/>
                    </a:cubicBezTo>
                    <a:cubicBezTo>
                      <a:pt x="2707" y="175166"/>
                      <a:pt x="3588" y="174285"/>
                      <a:pt x="4660" y="173864"/>
                    </a:cubicBezTo>
                    <a:lnTo>
                      <a:pt x="31396" y="163369"/>
                    </a:lnTo>
                    <a:cubicBezTo>
                      <a:pt x="30093" y="153678"/>
                      <a:pt x="29940" y="143949"/>
                      <a:pt x="31013" y="134373"/>
                    </a:cubicBezTo>
                    <a:lnTo>
                      <a:pt x="2668" y="122078"/>
                    </a:lnTo>
                    <a:cubicBezTo>
                      <a:pt x="1634" y="121657"/>
                      <a:pt x="715" y="120737"/>
                      <a:pt x="293" y="119588"/>
                    </a:cubicBezTo>
                    <a:cubicBezTo>
                      <a:pt x="-128" y="118554"/>
                      <a:pt x="-90" y="117367"/>
                      <a:pt x="370" y="116256"/>
                    </a:cubicBezTo>
                    <a:lnTo>
                      <a:pt x="21437" y="67917"/>
                    </a:lnTo>
                    <a:cubicBezTo>
                      <a:pt x="22394" y="65696"/>
                      <a:pt x="24961" y="64623"/>
                      <a:pt x="27259" y="65619"/>
                    </a:cubicBezTo>
                    <a:lnTo>
                      <a:pt x="53765" y="77110"/>
                    </a:lnTo>
                    <a:cubicBezTo>
                      <a:pt x="57288" y="72399"/>
                      <a:pt x="60774" y="68300"/>
                      <a:pt x="64451" y="64623"/>
                    </a:cubicBezTo>
                    <a:cubicBezTo>
                      <a:pt x="67592" y="61482"/>
                      <a:pt x="70924" y="58533"/>
                      <a:pt x="74601" y="55660"/>
                    </a:cubicBezTo>
                    <a:lnTo>
                      <a:pt x="63532" y="26780"/>
                    </a:lnTo>
                    <a:cubicBezTo>
                      <a:pt x="62651" y="24520"/>
                      <a:pt x="63800" y="21954"/>
                      <a:pt x="66060" y="21073"/>
                    </a:cubicBezTo>
                    <a:lnTo>
                      <a:pt x="66098" y="21073"/>
                    </a:lnTo>
                    <a:cubicBezTo>
                      <a:pt x="66098" y="21073"/>
                      <a:pt x="115318" y="2151"/>
                      <a:pt x="115318" y="2151"/>
                    </a:cubicBezTo>
                    <a:cubicBezTo>
                      <a:pt x="116543" y="1730"/>
                      <a:pt x="117692" y="1768"/>
                      <a:pt x="118765" y="2266"/>
                    </a:cubicBezTo>
                    <a:cubicBezTo>
                      <a:pt x="119837" y="2726"/>
                      <a:pt x="120718" y="3683"/>
                      <a:pt x="121101" y="4832"/>
                    </a:cubicBezTo>
                    <a:lnTo>
                      <a:pt x="131328" y="31568"/>
                    </a:lnTo>
                    <a:cubicBezTo>
                      <a:pt x="140291" y="30342"/>
                      <a:pt x="149331" y="30151"/>
                      <a:pt x="158332" y="31031"/>
                    </a:cubicBezTo>
                    <a:lnTo>
                      <a:pt x="170321" y="2726"/>
                    </a:lnTo>
                    <a:cubicBezTo>
                      <a:pt x="170781" y="1653"/>
                      <a:pt x="171623" y="810"/>
                      <a:pt x="172696" y="351"/>
                    </a:cubicBezTo>
                    <a:cubicBezTo>
                      <a:pt x="173921" y="-147"/>
                      <a:pt x="175224" y="-109"/>
                      <a:pt x="176296" y="427"/>
                    </a:cubicBezTo>
                    <a:lnTo>
                      <a:pt x="224673" y="20996"/>
                    </a:lnTo>
                    <a:cubicBezTo>
                      <a:pt x="226895" y="21915"/>
                      <a:pt x="227967" y="24520"/>
                      <a:pt x="227048" y="26780"/>
                    </a:cubicBezTo>
                    <a:lnTo>
                      <a:pt x="216017" y="52788"/>
                    </a:lnTo>
                    <a:cubicBezTo>
                      <a:pt x="221149" y="56503"/>
                      <a:pt x="225860" y="60487"/>
                      <a:pt x="230074" y="64700"/>
                    </a:cubicBezTo>
                    <a:cubicBezTo>
                      <a:pt x="232947" y="67573"/>
                      <a:pt x="235743" y="70752"/>
                      <a:pt x="238730" y="74582"/>
                    </a:cubicBezTo>
                    <a:lnTo>
                      <a:pt x="266921" y="63781"/>
                    </a:lnTo>
                    <a:cubicBezTo>
                      <a:pt x="267917" y="63359"/>
                      <a:pt x="269181" y="63398"/>
                      <a:pt x="270254" y="63857"/>
                    </a:cubicBezTo>
                    <a:cubicBezTo>
                      <a:pt x="271326" y="64317"/>
                      <a:pt x="272207" y="65236"/>
                      <a:pt x="272629" y="66309"/>
                    </a:cubicBezTo>
                    <a:lnTo>
                      <a:pt x="291550" y="115566"/>
                    </a:lnTo>
                    <a:cubicBezTo>
                      <a:pt x="291972" y="116754"/>
                      <a:pt x="291933" y="117941"/>
                      <a:pt x="291435" y="119014"/>
                    </a:cubicBezTo>
                    <a:cubicBezTo>
                      <a:pt x="290976" y="120048"/>
                      <a:pt x="290056" y="120929"/>
                      <a:pt x="288946" y="121312"/>
                    </a:cubicBezTo>
                    <a:lnTo>
                      <a:pt x="263091" y="131232"/>
                    </a:lnTo>
                    <a:cubicBezTo>
                      <a:pt x="264470" y="141076"/>
                      <a:pt x="264585" y="151073"/>
                      <a:pt x="263436" y="161032"/>
                    </a:cubicBezTo>
                    <a:lnTo>
                      <a:pt x="290593" y="173098"/>
                    </a:lnTo>
                    <a:cubicBezTo>
                      <a:pt x="291627" y="173519"/>
                      <a:pt x="292470" y="174400"/>
                      <a:pt x="292929" y="175511"/>
                    </a:cubicBezTo>
                    <a:cubicBezTo>
                      <a:pt x="293389" y="176660"/>
                      <a:pt x="293350" y="177886"/>
                      <a:pt x="292853" y="178958"/>
                    </a:cubicBezTo>
                    <a:lnTo>
                      <a:pt x="271403" y="227067"/>
                    </a:lnTo>
                    <a:cubicBezTo>
                      <a:pt x="270752" y="228599"/>
                      <a:pt x="269220" y="229633"/>
                      <a:pt x="267496" y="229710"/>
                    </a:cubicBezTo>
                    <a:lnTo>
                      <a:pt x="266577" y="229710"/>
                    </a:lnTo>
                    <a:cubicBezTo>
                      <a:pt x="266577" y="229710"/>
                      <a:pt x="265466" y="229288"/>
                      <a:pt x="265466" y="229288"/>
                    </a:cubicBezTo>
                    <a:lnTo>
                      <a:pt x="240569" y="218219"/>
                    </a:lnTo>
                    <a:cubicBezTo>
                      <a:pt x="237275" y="222547"/>
                      <a:pt x="233789" y="226607"/>
                      <a:pt x="230112" y="230284"/>
                    </a:cubicBezTo>
                    <a:cubicBezTo>
                      <a:pt x="226435" y="233961"/>
                      <a:pt x="222413" y="237409"/>
                      <a:pt x="217855" y="240856"/>
                    </a:cubicBezTo>
                    <a:lnTo>
                      <a:pt x="227929" y="268587"/>
                    </a:lnTo>
                    <a:cubicBezTo>
                      <a:pt x="228350" y="269698"/>
                      <a:pt x="228274" y="270924"/>
                      <a:pt x="227776" y="271996"/>
                    </a:cubicBezTo>
                    <a:cubicBezTo>
                      <a:pt x="227278" y="273069"/>
                      <a:pt x="226358" y="273873"/>
                      <a:pt x="225248" y="274294"/>
                    </a:cubicBezTo>
                    <a:lnTo>
                      <a:pt x="175109" y="292565"/>
                    </a:lnTo>
                    <a:lnTo>
                      <a:pt x="174228" y="292565"/>
                    </a:lnTo>
                    <a:cubicBezTo>
                      <a:pt x="173653" y="292565"/>
                      <a:pt x="172887" y="292450"/>
                      <a:pt x="172236" y="292144"/>
                    </a:cubicBezTo>
                    <a:cubicBezTo>
                      <a:pt x="171202" y="291607"/>
                      <a:pt x="170398" y="290727"/>
                      <a:pt x="170015" y="289654"/>
                    </a:cubicBezTo>
                    <a:lnTo>
                      <a:pt x="160630" y="263838"/>
                    </a:lnTo>
                    <a:cubicBezTo>
                      <a:pt x="157451" y="264221"/>
                      <a:pt x="154425" y="264451"/>
                      <a:pt x="151476" y="264565"/>
                    </a:cubicBezTo>
                    <a:cubicBezTo>
                      <a:pt x="146267" y="264757"/>
                      <a:pt x="141134" y="264565"/>
                      <a:pt x="134852" y="263876"/>
                    </a:cubicBezTo>
                    <a:lnTo>
                      <a:pt x="123208" y="291301"/>
                    </a:lnTo>
                    <a:cubicBezTo>
                      <a:pt x="122748" y="292374"/>
                      <a:pt x="121906" y="293216"/>
                      <a:pt x="120833" y="293676"/>
                    </a:cubicBezTo>
                    <a:lnTo>
                      <a:pt x="120220" y="293944"/>
                    </a:lnTo>
                    <a:lnTo>
                      <a:pt x="119339" y="294021"/>
                    </a:lnTo>
                    <a:cubicBezTo>
                      <a:pt x="119339" y="294021"/>
                      <a:pt x="119225" y="294021"/>
                      <a:pt x="119148" y="294021"/>
                    </a:cubicBezTo>
                    <a:close/>
                    <a:moveTo>
                      <a:pt x="177024" y="286935"/>
                    </a:moveTo>
                    <a:lnTo>
                      <a:pt x="177024" y="287011"/>
                    </a:lnTo>
                    <a:cubicBezTo>
                      <a:pt x="177024" y="287011"/>
                      <a:pt x="177024" y="286973"/>
                      <a:pt x="177024" y="286935"/>
                    </a:cubicBezTo>
                    <a:close/>
                    <a:moveTo>
                      <a:pt x="74678" y="267132"/>
                    </a:moveTo>
                    <a:lnTo>
                      <a:pt x="117271" y="285211"/>
                    </a:lnTo>
                    <a:lnTo>
                      <a:pt x="129911" y="255411"/>
                    </a:lnTo>
                    <a:lnTo>
                      <a:pt x="132784" y="255794"/>
                    </a:lnTo>
                    <a:cubicBezTo>
                      <a:pt x="139985" y="256752"/>
                      <a:pt x="145539" y="256981"/>
                      <a:pt x="151054" y="256790"/>
                    </a:cubicBezTo>
                    <a:cubicBezTo>
                      <a:pt x="154655" y="256675"/>
                      <a:pt x="158370" y="256330"/>
                      <a:pt x="162469" y="255756"/>
                    </a:cubicBezTo>
                    <a:lnTo>
                      <a:pt x="165533" y="255334"/>
                    </a:lnTo>
                    <a:lnTo>
                      <a:pt x="175951" y="283985"/>
                    </a:lnTo>
                    <a:lnTo>
                      <a:pt x="219425" y="268128"/>
                    </a:lnTo>
                    <a:lnTo>
                      <a:pt x="208471" y="238021"/>
                    </a:lnTo>
                    <a:lnTo>
                      <a:pt x="210807" y="236336"/>
                    </a:lnTo>
                    <a:cubicBezTo>
                      <a:pt x="216017" y="232582"/>
                      <a:pt x="220498" y="228829"/>
                      <a:pt x="224443" y="224845"/>
                    </a:cubicBezTo>
                    <a:cubicBezTo>
                      <a:pt x="228542" y="220747"/>
                      <a:pt x="232410" y="216189"/>
                      <a:pt x="235934" y="211248"/>
                    </a:cubicBezTo>
                    <a:lnTo>
                      <a:pt x="237734" y="208720"/>
                    </a:lnTo>
                    <a:lnTo>
                      <a:pt x="265428" y="221053"/>
                    </a:lnTo>
                    <a:lnTo>
                      <a:pt x="284273" y="178805"/>
                    </a:lnTo>
                    <a:lnTo>
                      <a:pt x="254818" y="165705"/>
                    </a:lnTo>
                    <a:lnTo>
                      <a:pt x="255201" y="162832"/>
                    </a:lnTo>
                    <a:cubicBezTo>
                      <a:pt x="256771" y="151648"/>
                      <a:pt x="256618" y="140387"/>
                      <a:pt x="254779" y="129394"/>
                    </a:cubicBezTo>
                    <a:lnTo>
                      <a:pt x="254281" y="126291"/>
                    </a:lnTo>
                    <a:lnTo>
                      <a:pt x="283009" y="115260"/>
                    </a:lnTo>
                    <a:lnTo>
                      <a:pt x="266423" y="72054"/>
                    </a:lnTo>
                    <a:lnTo>
                      <a:pt x="235896" y="83737"/>
                    </a:lnTo>
                    <a:lnTo>
                      <a:pt x="234172" y="81438"/>
                    </a:lnTo>
                    <a:cubicBezTo>
                      <a:pt x="230687" y="76842"/>
                      <a:pt x="227584" y="73242"/>
                      <a:pt x="224443" y="70062"/>
                    </a:cubicBezTo>
                    <a:cubicBezTo>
                      <a:pt x="219847" y="65466"/>
                      <a:pt x="214753" y="61253"/>
                      <a:pt x="208930" y="57269"/>
                    </a:cubicBezTo>
                    <a:lnTo>
                      <a:pt x="206364" y="55507"/>
                    </a:lnTo>
                    <a:lnTo>
                      <a:pt x="218545" y="26780"/>
                    </a:lnTo>
                    <a:lnTo>
                      <a:pt x="175951" y="8701"/>
                    </a:lnTo>
                    <a:lnTo>
                      <a:pt x="162967" y="39305"/>
                    </a:lnTo>
                    <a:lnTo>
                      <a:pt x="160094" y="38960"/>
                    </a:lnTo>
                    <a:cubicBezTo>
                      <a:pt x="149867" y="37735"/>
                      <a:pt x="139487" y="37964"/>
                      <a:pt x="129260" y="39611"/>
                    </a:cubicBezTo>
                    <a:lnTo>
                      <a:pt x="126196" y="40109"/>
                    </a:lnTo>
                    <a:lnTo>
                      <a:pt x="114858" y="10463"/>
                    </a:lnTo>
                    <a:lnTo>
                      <a:pt x="71652" y="27048"/>
                    </a:lnTo>
                    <a:lnTo>
                      <a:pt x="83603" y="58265"/>
                    </a:lnTo>
                    <a:lnTo>
                      <a:pt x="81305" y="59989"/>
                    </a:lnTo>
                    <a:cubicBezTo>
                      <a:pt x="77015" y="63244"/>
                      <a:pt x="73184" y="66500"/>
                      <a:pt x="69699" y="70024"/>
                    </a:cubicBezTo>
                    <a:cubicBezTo>
                      <a:pt x="65677" y="74008"/>
                      <a:pt x="61885" y="78604"/>
                      <a:pt x="58016" y="84043"/>
                    </a:cubicBezTo>
                    <a:lnTo>
                      <a:pt x="56216" y="86571"/>
                    </a:lnTo>
                    <a:lnTo>
                      <a:pt x="27029" y="73893"/>
                    </a:lnTo>
                    <a:lnTo>
                      <a:pt x="8567" y="116294"/>
                    </a:lnTo>
                    <a:lnTo>
                      <a:pt x="39209" y="129624"/>
                    </a:lnTo>
                    <a:lnTo>
                      <a:pt x="38826" y="132496"/>
                    </a:lnTo>
                    <a:cubicBezTo>
                      <a:pt x="37371" y="143221"/>
                      <a:pt x="37524" y="154214"/>
                      <a:pt x="39286" y="165169"/>
                    </a:cubicBezTo>
                    <a:lnTo>
                      <a:pt x="39784" y="168233"/>
                    </a:lnTo>
                    <a:lnTo>
                      <a:pt x="10367" y="179801"/>
                    </a:lnTo>
                    <a:lnTo>
                      <a:pt x="27335" y="222853"/>
                    </a:lnTo>
                    <a:lnTo>
                      <a:pt x="57901" y="210826"/>
                    </a:lnTo>
                    <a:lnTo>
                      <a:pt x="59663" y="213163"/>
                    </a:lnTo>
                    <a:cubicBezTo>
                      <a:pt x="62957" y="217529"/>
                      <a:pt x="66213" y="221321"/>
                      <a:pt x="69660" y="224769"/>
                    </a:cubicBezTo>
                    <a:cubicBezTo>
                      <a:pt x="73874" y="228982"/>
                      <a:pt x="78623" y="232927"/>
                      <a:pt x="84139" y="236834"/>
                    </a:cubicBezTo>
                    <a:lnTo>
                      <a:pt x="86667" y="238596"/>
                    </a:lnTo>
                    <a:lnTo>
                      <a:pt x="74601" y="267055"/>
                    </a:lnTo>
                    <a:close/>
                    <a:moveTo>
                      <a:pt x="73452" y="270043"/>
                    </a:moveTo>
                    <a:lnTo>
                      <a:pt x="73452" y="270043"/>
                    </a:lnTo>
                    <a:cubicBezTo>
                      <a:pt x="73452" y="270043"/>
                      <a:pt x="73452" y="270043"/>
                      <a:pt x="73452" y="270043"/>
                    </a:cubicBezTo>
                    <a:close/>
                    <a:moveTo>
                      <a:pt x="222490" y="267017"/>
                    </a:moveTo>
                    <a:cubicBezTo>
                      <a:pt x="222490" y="267017"/>
                      <a:pt x="222490" y="267017"/>
                      <a:pt x="222451" y="267017"/>
                    </a:cubicBezTo>
                    <a:lnTo>
                      <a:pt x="222490" y="267017"/>
                    </a:lnTo>
                    <a:close/>
                    <a:moveTo>
                      <a:pt x="264278" y="223888"/>
                    </a:moveTo>
                    <a:cubicBezTo>
                      <a:pt x="264278" y="223888"/>
                      <a:pt x="264278" y="223964"/>
                      <a:pt x="264240" y="224003"/>
                    </a:cubicBezTo>
                    <a:lnTo>
                      <a:pt x="264240" y="223888"/>
                    </a:lnTo>
                    <a:close/>
                    <a:moveTo>
                      <a:pt x="287299" y="180031"/>
                    </a:moveTo>
                    <a:cubicBezTo>
                      <a:pt x="287299" y="180031"/>
                      <a:pt x="287375" y="180031"/>
                      <a:pt x="287413" y="180069"/>
                    </a:cubicBezTo>
                    <a:lnTo>
                      <a:pt x="287299" y="180069"/>
                    </a:lnTo>
                    <a:close/>
                    <a:moveTo>
                      <a:pt x="9295" y="176813"/>
                    </a:moveTo>
                    <a:lnTo>
                      <a:pt x="9295" y="176813"/>
                    </a:lnTo>
                    <a:cubicBezTo>
                      <a:pt x="9295" y="176813"/>
                      <a:pt x="9295" y="176813"/>
                      <a:pt x="9295" y="176813"/>
                    </a:cubicBezTo>
                    <a:close/>
                    <a:moveTo>
                      <a:pt x="285728" y="175779"/>
                    </a:moveTo>
                    <a:cubicBezTo>
                      <a:pt x="285728" y="175779"/>
                      <a:pt x="285728" y="175779"/>
                      <a:pt x="285728" y="175779"/>
                    </a:cubicBezTo>
                    <a:lnTo>
                      <a:pt x="285728" y="175779"/>
                    </a:lnTo>
                    <a:close/>
                    <a:moveTo>
                      <a:pt x="5618" y="115030"/>
                    </a:moveTo>
                    <a:lnTo>
                      <a:pt x="5809" y="115107"/>
                    </a:lnTo>
                    <a:cubicBezTo>
                      <a:pt x="5809" y="115107"/>
                      <a:pt x="5694" y="115068"/>
                      <a:pt x="5618" y="115030"/>
                    </a:cubicBezTo>
                    <a:close/>
                    <a:moveTo>
                      <a:pt x="286188" y="114073"/>
                    </a:moveTo>
                    <a:cubicBezTo>
                      <a:pt x="286188" y="114073"/>
                      <a:pt x="286150" y="114073"/>
                      <a:pt x="286111" y="114073"/>
                    </a:cubicBezTo>
                    <a:lnTo>
                      <a:pt x="286188" y="114073"/>
                    </a:lnTo>
                    <a:close/>
                    <a:moveTo>
                      <a:pt x="28446" y="70943"/>
                    </a:moveTo>
                    <a:lnTo>
                      <a:pt x="28446" y="70943"/>
                    </a:lnTo>
                    <a:cubicBezTo>
                      <a:pt x="28446" y="70943"/>
                      <a:pt x="28446" y="70943"/>
                      <a:pt x="28446" y="70943"/>
                    </a:cubicBezTo>
                    <a:close/>
                    <a:moveTo>
                      <a:pt x="269641" y="70828"/>
                    </a:moveTo>
                    <a:lnTo>
                      <a:pt x="269526" y="70828"/>
                    </a:lnTo>
                    <a:cubicBezTo>
                      <a:pt x="269526" y="70828"/>
                      <a:pt x="269603" y="70828"/>
                      <a:pt x="269641" y="70828"/>
                    </a:cubicBezTo>
                    <a:close/>
                    <a:moveTo>
                      <a:pt x="221609" y="28006"/>
                    </a:moveTo>
                    <a:cubicBezTo>
                      <a:pt x="221609" y="28006"/>
                      <a:pt x="221609" y="28006"/>
                      <a:pt x="221609" y="28006"/>
                    </a:cubicBezTo>
                    <a:lnTo>
                      <a:pt x="221609" y="28006"/>
                    </a:lnTo>
                    <a:close/>
                    <a:moveTo>
                      <a:pt x="113824" y="7437"/>
                    </a:moveTo>
                    <a:cubicBezTo>
                      <a:pt x="113824" y="7437"/>
                      <a:pt x="113862" y="7552"/>
                      <a:pt x="113900" y="7628"/>
                    </a:cubicBezTo>
                    <a:lnTo>
                      <a:pt x="113824" y="7437"/>
                    </a:lnTo>
                    <a:close/>
                    <a:moveTo>
                      <a:pt x="173079" y="7398"/>
                    </a:moveTo>
                    <a:cubicBezTo>
                      <a:pt x="173079" y="7398"/>
                      <a:pt x="173194" y="7437"/>
                      <a:pt x="173270" y="7475"/>
                    </a:cubicBezTo>
                    <a:lnTo>
                      <a:pt x="173079" y="7398"/>
                    </a:lnTo>
                    <a:close/>
                    <a:moveTo>
                      <a:pt x="147224" y="246984"/>
                    </a:moveTo>
                    <a:lnTo>
                      <a:pt x="147186" y="246984"/>
                    </a:lnTo>
                    <a:cubicBezTo>
                      <a:pt x="120604" y="246984"/>
                      <a:pt x="95592" y="236643"/>
                      <a:pt x="76785" y="217836"/>
                    </a:cubicBezTo>
                    <a:cubicBezTo>
                      <a:pt x="37984" y="179035"/>
                      <a:pt x="37984" y="115873"/>
                      <a:pt x="76785" y="77034"/>
                    </a:cubicBezTo>
                    <a:lnTo>
                      <a:pt x="76785" y="77034"/>
                    </a:lnTo>
                    <a:cubicBezTo>
                      <a:pt x="94634" y="59184"/>
                      <a:pt x="118382" y="48881"/>
                      <a:pt x="143662" y="48000"/>
                    </a:cubicBezTo>
                    <a:cubicBezTo>
                      <a:pt x="171202" y="47042"/>
                      <a:pt x="198129" y="57614"/>
                      <a:pt x="217549" y="77072"/>
                    </a:cubicBezTo>
                    <a:cubicBezTo>
                      <a:pt x="256350" y="115873"/>
                      <a:pt x="256350" y="179035"/>
                      <a:pt x="217549" y="217874"/>
                    </a:cubicBezTo>
                    <a:cubicBezTo>
                      <a:pt x="198742" y="236681"/>
                      <a:pt x="173768" y="247023"/>
                      <a:pt x="147186" y="247023"/>
                    </a:cubicBezTo>
                    <a:close/>
                    <a:moveTo>
                      <a:pt x="82185" y="82434"/>
                    </a:moveTo>
                    <a:lnTo>
                      <a:pt x="82185" y="82434"/>
                    </a:lnTo>
                    <a:cubicBezTo>
                      <a:pt x="46372" y="118248"/>
                      <a:pt x="46372" y="176583"/>
                      <a:pt x="82185" y="212397"/>
                    </a:cubicBezTo>
                    <a:cubicBezTo>
                      <a:pt x="99537" y="229748"/>
                      <a:pt x="122634" y="239324"/>
                      <a:pt x="147148" y="239324"/>
                    </a:cubicBezTo>
                    <a:lnTo>
                      <a:pt x="147186" y="239324"/>
                    </a:lnTo>
                    <a:cubicBezTo>
                      <a:pt x="171700" y="239324"/>
                      <a:pt x="194758" y="229748"/>
                      <a:pt x="212110" y="212397"/>
                    </a:cubicBezTo>
                    <a:cubicBezTo>
                      <a:pt x="247923" y="176583"/>
                      <a:pt x="247961" y="118248"/>
                      <a:pt x="212110" y="82434"/>
                    </a:cubicBezTo>
                    <a:cubicBezTo>
                      <a:pt x="194184" y="64508"/>
                      <a:pt x="169325" y="54665"/>
                      <a:pt x="143892" y="55622"/>
                    </a:cubicBezTo>
                    <a:cubicBezTo>
                      <a:pt x="120565" y="56426"/>
                      <a:pt x="98618" y="65964"/>
                      <a:pt x="82147" y="82434"/>
                    </a:cubicBezTo>
                    <a:close/>
                  </a:path>
                </a:pathLst>
              </a:custGeom>
              <a:grpFill/>
              <a:ln w="38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7572B6C2-AE95-2442-6002-395282C4116C}"/>
                </a:ext>
              </a:extLst>
            </p:cNvPr>
            <p:cNvSpPr/>
            <p:nvPr/>
          </p:nvSpPr>
          <p:spPr>
            <a:xfrm>
              <a:off x="6667184" y="5260699"/>
              <a:ext cx="274937" cy="344028"/>
            </a:xfrm>
            <a:custGeom>
              <a:avLst/>
              <a:gdLst>
                <a:gd name="connsiteX0" fmla="*/ 74230 w 274937"/>
                <a:gd name="connsiteY0" fmla="*/ 344029 h 344028"/>
                <a:gd name="connsiteX1" fmla="*/ 3101 w 274937"/>
                <a:gd name="connsiteY1" fmla="*/ 331044 h 344028"/>
                <a:gd name="connsiteX2" fmla="*/ 305 w 274937"/>
                <a:gd name="connsiteY2" fmla="*/ 324877 h 344028"/>
                <a:gd name="connsiteX3" fmla="*/ 6472 w 274937"/>
                <a:gd name="connsiteY3" fmla="*/ 322081 h 344028"/>
                <a:gd name="connsiteX4" fmla="*/ 74230 w 274937"/>
                <a:gd name="connsiteY4" fmla="*/ 334415 h 344028"/>
                <a:gd name="connsiteX5" fmla="*/ 265324 w 274937"/>
                <a:gd name="connsiteY5" fmla="*/ 143321 h 344028"/>
                <a:gd name="connsiteX6" fmla="*/ 209363 w 274937"/>
                <a:gd name="connsiteY6" fmla="*/ 8187 h 344028"/>
                <a:gd name="connsiteX7" fmla="*/ 209363 w 274937"/>
                <a:gd name="connsiteY7" fmla="*/ 1408 h 344028"/>
                <a:gd name="connsiteX8" fmla="*/ 216143 w 274937"/>
                <a:gd name="connsiteY8" fmla="*/ 1408 h 344028"/>
                <a:gd name="connsiteX9" fmla="*/ 274938 w 274937"/>
                <a:gd name="connsiteY9" fmla="*/ 143321 h 344028"/>
                <a:gd name="connsiteX10" fmla="*/ 74268 w 274937"/>
                <a:gd name="connsiteY10" fmla="*/ 343991 h 344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4937" h="344028">
                  <a:moveTo>
                    <a:pt x="74230" y="344029"/>
                  </a:moveTo>
                  <a:cubicBezTo>
                    <a:pt x="49754" y="344029"/>
                    <a:pt x="25815" y="339662"/>
                    <a:pt x="3101" y="331044"/>
                  </a:cubicBezTo>
                  <a:cubicBezTo>
                    <a:pt x="611" y="330087"/>
                    <a:pt x="-615" y="327329"/>
                    <a:pt x="305" y="324877"/>
                  </a:cubicBezTo>
                  <a:cubicBezTo>
                    <a:pt x="1224" y="322426"/>
                    <a:pt x="3982" y="321162"/>
                    <a:pt x="6472" y="322081"/>
                  </a:cubicBezTo>
                  <a:cubicBezTo>
                    <a:pt x="28075" y="330278"/>
                    <a:pt x="50865" y="334415"/>
                    <a:pt x="74230" y="334415"/>
                  </a:cubicBezTo>
                  <a:cubicBezTo>
                    <a:pt x="179602" y="334415"/>
                    <a:pt x="265324" y="248692"/>
                    <a:pt x="265324" y="143321"/>
                  </a:cubicBezTo>
                  <a:cubicBezTo>
                    <a:pt x="265324" y="92263"/>
                    <a:pt x="245445" y="44269"/>
                    <a:pt x="209363" y="8187"/>
                  </a:cubicBezTo>
                  <a:cubicBezTo>
                    <a:pt x="207486" y="6310"/>
                    <a:pt x="207486" y="3284"/>
                    <a:pt x="209363" y="1408"/>
                  </a:cubicBezTo>
                  <a:cubicBezTo>
                    <a:pt x="211240" y="-469"/>
                    <a:pt x="214266" y="-469"/>
                    <a:pt x="216143" y="1408"/>
                  </a:cubicBezTo>
                  <a:cubicBezTo>
                    <a:pt x="254063" y="39328"/>
                    <a:pt x="274938" y="89696"/>
                    <a:pt x="274938" y="143321"/>
                  </a:cubicBezTo>
                  <a:cubicBezTo>
                    <a:pt x="274938" y="253978"/>
                    <a:pt x="184926" y="343991"/>
                    <a:pt x="74268" y="343991"/>
                  </a:cubicBezTo>
                  <a:close/>
                </a:path>
              </a:pathLst>
            </a:custGeom>
            <a:solidFill>
              <a:srgbClr val="000000"/>
            </a:solidFill>
            <a:ln w="38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0937B5EF-9449-78D4-BF72-0EE6A40ECF68}"/>
                </a:ext>
              </a:extLst>
            </p:cNvPr>
            <p:cNvSpPr/>
            <p:nvPr/>
          </p:nvSpPr>
          <p:spPr>
            <a:xfrm>
              <a:off x="6540744" y="5203349"/>
              <a:ext cx="270231" cy="344000"/>
            </a:xfrm>
            <a:custGeom>
              <a:avLst/>
              <a:gdLst>
                <a:gd name="connsiteX0" fmla="*/ 62166 w 270231"/>
                <a:gd name="connsiteY0" fmla="*/ 344000 h 344000"/>
                <a:gd name="connsiteX1" fmla="*/ 58795 w 270231"/>
                <a:gd name="connsiteY1" fmla="*/ 342583 h 344000"/>
                <a:gd name="connsiteX2" fmla="*/ 0 w 270231"/>
                <a:gd name="connsiteY2" fmla="*/ 200670 h 344000"/>
                <a:gd name="connsiteX3" fmla="*/ 200670 w 270231"/>
                <a:gd name="connsiteY3" fmla="*/ 0 h 344000"/>
                <a:gd name="connsiteX4" fmla="*/ 267011 w 270231"/>
                <a:gd name="connsiteY4" fmla="*/ 11223 h 344000"/>
                <a:gd name="connsiteX5" fmla="*/ 269960 w 270231"/>
                <a:gd name="connsiteY5" fmla="*/ 17313 h 344000"/>
                <a:gd name="connsiteX6" fmla="*/ 263870 w 270231"/>
                <a:gd name="connsiteY6" fmla="*/ 20262 h 344000"/>
                <a:gd name="connsiteX7" fmla="*/ 200670 w 270231"/>
                <a:gd name="connsiteY7" fmla="*/ 9576 h 344000"/>
                <a:gd name="connsiteX8" fmla="*/ 9576 w 270231"/>
                <a:gd name="connsiteY8" fmla="*/ 200670 h 344000"/>
                <a:gd name="connsiteX9" fmla="*/ 65537 w 270231"/>
                <a:gd name="connsiteY9" fmla="*/ 335803 h 344000"/>
                <a:gd name="connsiteX10" fmla="*/ 65537 w 270231"/>
                <a:gd name="connsiteY10" fmla="*/ 342583 h 344000"/>
                <a:gd name="connsiteX11" fmla="*/ 62166 w 270231"/>
                <a:gd name="connsiteY11" fmla="*/ 344000 h 3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0231" h="344000">
                  <a:moveTo>
                    <a:pt x="62166" y="344000"/>
                  </a:moveTo>
                  <a:cubicBezTo>
                    <a:pt x="60940" y="344000"/>
                    <a:pt x="59715" y="343541"/>
                    <a:pt x="58795" y="342583"/>
                  </a:cubicBezTo>
                  <a:cubicBezTo>
                    <a:pt x="20875" y="304663"/>
                    <a:pt x="0" y="254294"/>
                    <a:pt x="0" y="200670"/>
                  </a:cubicBezTo>
                  <a:cubicBezTo>
                    <a:pt x="0" y="90012"/>
                    <a:pt x="90012" y="0"/>
                    <a:pt x="200670" y="0"/>
                  </a:cubicBezTo>
                  <a:cubicBezTo>
                    <a:pt x="223422" y="0"/>
                    <a:pt x="245753" y="3792"/>
                    <a:pt x="267011" y="11223"/>
                  </a:cubicBezTo>
                  <a:cubicBezTo>
                    <a:pt x="269501" y="12104"/>
                    <a:pt x="270841" y="14823"/>
                    <a:pt x="269960" y="17313"/>
                  </a:cubicBezTo>
                  <a:cubicBezTo>
                    <a:pt x="269079" y="19803"/>
                    <a:pt x="266360" y="21143"/>
                    <a:pt x="263870" y="20262"/>
                  </a:cubicBezTo>
                  <a:cubicBezTo>
                    <a:pt x="243608" y="13176"/>
                    <a:pt x="222349" y="9576"/>
                    <a:pt x="200670" y="9576"/>
                  </a:cubicBezTo>
                  <a:cubicBezTo>
                    <a:pt x="95298" y="9576"/>
                    <a:pt x="9576" y="95298"/>
                    <a:pt x="9576" y="200670"/>
                  </a:cubicBezTo>
                  <a:cubicBezTo>
                    <a:pt x="9576" y="251728"/>
                    <a:pt x="29455" y="299722"/>
                    <a:pt x="65537" y="335803"/>
                  </a:cubicBezTo>
                  <a:cubicBezTo>
                    <a:pt x="67413" y="337680"/>
                    <a:pt x="67413" y="340706"/>
                    <a:pt x="65537" y="342583"/>
                  </a:cubicBezTo>
                  <a:cubicBezTo>
                    <a:pt x="64617" y="343502"/>
                    <a:pt x="63392" y="344000"/>
                    <a:pt x="62166" y="344000"/>
                  </a:cubicBezTo>
                  <a:close/>
                </a:path>
              </a:pathLst>
            </a:custGeom>
            <a:solidFill>
              <a:srgbClr val="000000"/>
            </a:solidFill>
            <a:ln w="38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EA4D990A-0032-CBFD-CE60-68F03DB00239}"/>
                </a:ext>
              </a:extLst>
            </p:cNvPr>
            <p:cNvSpPr/>
            <p:nvPr/>
          </p:nvSpPr>
          <p:spPr>
            <a:xfrm>
              <a:off x="6774852" y="5189713"/>
              <a:ext cx="70247" cy="49832"/>
            </a:xfrm>
            <a:custGeom>
              <a:avLst/>
              <a:gdLst>
                <a:gd name="connsiteX0" fmla="*/ 0 w 70247"/>
                <a:gd name="connsiteY0" fmla="*/ 49832 h 49832"/>
                <a:gd name="connsiteX1" fmla="*/ 70248 w 70247"/>
                <a:gd name="connsiteY1" fmla="*/ 48262 h 49832"/>
                <a:gd name="connsiteX2" fmla="*/ 19190 w 70247"/>
                <a:gd name="connsiteY2" fmla="*/ 0 h 49832"/>
                <a:gd name="connsiteX3" fmla="*/ 0 w 70247"/>
                <a:gd name="connsiteY3" fmla="*/ 49832 h 49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247" h="49832">
                  <a:moveTo>
                    <a:pt x="0" y="49832"/>
                  </a:moveTo>
                  <a:lnTo>
                    <a:pt x="70248" y="48262"/>
                  </a:lnTo>
                  <a:lnTo>
                    <a:pt x="19190" y="0"/>
                  </a:lnTo>
                  <a:lnTo>
                    <a:pt x="0" y="49832"/>
                  </a:lnTo>
                  <a:close/>
                </a:path>
              </a:pathLst>
            </a:custGeom>
            <a:solidFill>
              <a:srgbClr val="000000"/>
            </a:solidFill>
            <a:ln w="38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B569231D-14C1-67FD-B489-7997E01A52F4}"/>
                </a:ext>
              </a:extLst>
            </p:cNvPr>
            <p:cNvSpPr/>
            <p:nvPr/>
          </p:nvSpPr>
          <p:spPr>
            <a:xfrm>
              <a:off x="6624206" y="5564050"/>
              <a:ext cx="69520" cy="51862"/>
            </a:xfrm>
            <a:custGeom>
              <a:avLst/>
              <a:gdLst>
                <a:gd name="connsiteX0" fmla="*/ 69520 w 69520"/>
                <a:gd name="connsiteY0" fmla="*/ 0 h 51862"/>
                <a:gd name="connsiteX1" fmla="*/ 0 w 69520"/>
                <a:gd name="connsiteY1" fmla="*/ 10342 h 51862"/>
                <a:gd name="connsiteX2" fmla="*/ 56727 w 69520"/>
                <a:gd name="connsiteY2" fmla="*/ 51862 h 51862"/>
                <a:gd name="connsiteX3" fmla="*/ 69520 w 69520"/>
                <a:gd name="connsiteY3" fmla="*/ 0 h 51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520" h="51862">
                  <a:moveTo>
                    <a:pt x="69520" y="0"/>
                  </a:moveTo>
                  <a:lnTo>
                    <a:pt x="0" y="10342"/>
                  </a:lnTo>
                  <a:lnTo>
                    <a:pt x="56727" y="51862"/>
                  </a:lnTo>
                  <a:lnTo>
                    <a:pt x="69520" y="0"/>
                  </a:lnTo>
                  <a:close/>
                </a:path>
              </a:pathLst>
            </a:custGeom>
            <a:solidFill>
              <a:srgbClr val="000000"/>
            </a:solidFill>
            <a:ln w="38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58517F76-36C2-B206-FB96-D6CEA791A20D}"/>
              </a:ext>
            </a:extLst>
          </p:cNvPr>
          <p:cNvGrpSpPr/>
          <p:nvPr/>
        </p:nvGrpSpPr>
        <p:grpSpPr>
          <a:xfrm>
            <a:off x="10244838" y="1825541"/>
            <a:ext cx="509280" cy="851320"/>
            <a:chOff x="10244838" y="1825541"/>
            <a:chExt cx="509280" cy="851320"/>
          </a:xfrm>
        </p:grpSpPr>
        <p:pic>
          <p:nvPicPr>
            <p:cNvPr id="57" name="Arrow_13">
              <a:extLst>
                <a:ext uri="{FF2B5EF4-FFF2-40B4-BE49-F238E27FC236}">
                  <a16:creationId xmlns:a16="http://schemas.microsoft.com/office/drawing/2014/main" id="{6054758A-6D9F-63A5-A2CE-23F7C0D61535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rcRect l="86346" t="66790"/>
            <a:stretch/>
          </p:blipFill>
          <p:spPr>
            <a:xfrm rot="16200000">
              <a:off x="10409743" y="1660638"/>
              <a:ext cx="179472" cy="509278"/>
            </a:xfrm>
            <a:prstGeom prst="rect">
              <a:avLst/>
            </a:prstGeom>
          </p:spPr>
        </p:pic>
        <p:pic>
          <p:nvPicPr>
            <p:cNvPr id="58" name="Arrow_13">
              <a:extLst>
                <a:ext uri="{FF2B5EF4-FFF2-40B4-BE49-F238E27FC236}">
                  <a16:creationId xmlns:a16="http://schemas.microsoft.com/office/drawing/2014/main" id="{ACFD615A-1B1E-E0DB-80D5-5E3927BCBB8F}"/>
                </a:ext>
              </a:extLst>
            </p:cNvPr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rcRect l="-1" t="66790" r="47257"/>
            <a:stretch/>
          </p:blipFill>
          <p:spPr>
            <a:xfrm rot="16200000">
              <a:off x="10152836" y="2075582"/>
              <a:ext cx="693281" cy="509278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FFEA014-F089-664B-385F-A45C446B9C3D}"/>
              </a:ext>
            </a:extLst>
          </p:cNvPr>
          <p:cNvGrpSpPr/>
          <p:nvPr/>
        </p:nvGrpSpPr>
        <p:grpSpPr>
          <a:xfrm flipH="1">
            <a:off x="1387795" y="1825541"/>
            <a:ext cx="509280" cy="851320"/>
            <a:chOff x="10244838" y="1825541"/>
            <a:chExt cx="509280" cy="851320"/>
          </a:xfrm>
        </p:grpSpPr>
        <p:pic>
          <p:nvPicPr>
            <p:cNvPr id="61" name="Arrow_13">
              <a:extLst>
                <a:ext uri="{FF2B5EF4-FFF2-40B4-BE49-F238E27FC236}">
                  <a16:creationId xmlns:a16="http://schemas.microsoft.com/office/drawing/2014/main" id="{2B38C3F7-C425-81A2-790C-FBB98182C493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rcRect l="86346" t="66790"/>
            <a:stretch/>
          </p:blipFill>
          <p:spPr>
            <a:xfrm rot="16200000">
              <a:off x="10409743" y="1660638"/>
              <a:ext cx="179472" cy="509278"/>
            </a:xfrm>
            <a:prstGeom prst="rect">
              <a:avLst/>
            </a:prstGeom>
          </p:spPr>
        </p:pic>
        <p:pic>
          <p:nvPicPr>
            <p:cNvPr id="62" name="Arrow_13">
              <a:extLst>
                <a:ext uri="{FF2B5EF4-FFF2-40B4-BE49-F238E27FC236}">
                  <a16:creationId xmlns:a16="http://schemas.microsoft.com/office/drawing/2014/main" id="{2024725D-FA7D-7D45-20B3-EBDE4517EB56}"/>
                </a:ext>
              </a:extLst>
            </p:cNvPr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rcRect l="-1" t="66790" r="47257"/>
            <a:stretch/>
          </p:blipFill>
          <p:spPr>
            <a:xfrm rot="16200000">
              <a:off x="10152836" y="2075582"/>
              <a:ext cx="693281" cy="509278"/>
            </a:xfrm>
            <a:prstGeom prst="rect">
              <a:avLst/>
            </a:prstGeom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111AC2F-58EE-D717-D5F4-6BC7DF175A45}"/>
              </a:ext>
            </a:extLst>
          </p:cNvPr>
          <p:cNvGrpSpPr/>
          <p:nvPr/>
        </p:nvGrpSpPr>
        <p:grpSpPr>
          <a:xfrm>
            <a:off x="729761" y="4101435"/>
            <a:ext cx="484816" cy="437892"/>
            <a:chOff x="-328620" y="3436953"/>
            <a:chExt cx="588819" cy="531828"/>
          </a:xfrm>
        </p:grpSpPr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9B3BAE40-D117-7236-CC56-8E4738CE2F85}"/>
                </a:ext>
              </a:extLst>
            </p:cNvPr>
            <p:cNvSpPr/>
            <p:nvPr/>
          </p:nvSpPr>
          <p:spPr>
            <a:xfrm>
              <a:off x="-213941" y="3436953"/>
              <a:ext cx="359403" cy="359403"/>
            </a:xfrm>
            <a:custGeom>
              <a:avLst/>
              <a:gdLst>
                <a:gd name="connsiteX0" fmla="*/ 179702 w 359403"/>
                <a:gd name="connsiteY0" fmla="*/ 359404 h 359403"/>
                <a:gd name="connsiteX1" fmla="*/ 0 w 359403"/>
                <a:gd name="connsiteY1" fmla="*/ 179702 h 359403"/>
                <a:gd name="connsiteX2" fmla="*/ 179702 w 359403"/>
                <a:gd name="connsiteY2" fmla="*/ 0 h 359403"/>
                <a:gd name="connsiteX3" fmla="*/ 359404 w 359403"/>
                <a:gd name="connsiteY3" fmla="*/ 179702 h 359403"/>
                <a:gd name="connsiteX4" fmla="*/ 179702 w 359403"/>
                <a:gd name="connsiteY4" fmla="*/ 359404 h 359403"/>
                <a:gd name="connsiteX5" fmla="*/ 179702 w 359403"/>
                <a:gd name="connsiteY5" fmla="*/ 14611 h 359403"/>
                <a:gd name="connsiteX6" fmla="*/ 14553 w 359403"/>
                <a:gd name="connsiteY6" fmla="*/ 179760 h 359403"/>
                <a:gd name="connsiteX7" fmla="*/ 179702 w 359403"/>
                <a:gd name="connsiteY7" fmla="*/ 344909 h 359403"/>
                <a:gd name="connsiteX8" fmla="*/ 344851 w 359403"/>
                <a:gd name="connsiteY8" fmla="*/ 179760 h 359403"/>
                <a:gd name="connsiteX9" fmla="*/ 179702 w 359403"/>
                <a:gd name="connsiteY9" fmla="*/ 14611 h 359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9403" h="359403">
                  <a:moveTo>
                    <a:pt x="179702" y="359404"/>
                  </a:moveTo>
                  <a:cubicBezTo>
                    <a:pt x="80624" y="359404"/>
                    <a:pt x="0" y="278780"/>
                    <a:pt x="0" y="179702"/>
                  </a:cubicBezTo>
                  <a:cubicBezTo>
                    <a:pt x="0" y="80624"/>
                    <a:pt x="80624" y="0"/>
                    <a:pt x="179702" y="0"/>
                  </a:cubicBezTo>
                  <a:cubicBezTo>
                    <a:pt x="278780" y="0"/>
                    <a:pt x="359404" y="80624"/>
                    <a:pt x="359404" y="179702"/>
                  </a:cubicBezTo>
                  <a:cubicBezTo>
                    <a:pt x="359404" y="278780"/>
                    <a:pt x="278780" y="359404"/>
                    <a:pt x="179702" y="359404"/>
                  </a:cubicBezTo>
                  <a:close/>
                  <a:moveTo>
                    <a:pt x="179702" y="14611"/>
                  </a:moveTo>
                  <a:cubicBezTo>
                    <a:pt x="88658" y="14611"/>
                    <a:pt x="14553" y="88716"/>
                    <a:pt x="14553" y="179760"/>
                  </a:cubicBezTo>
                  <a:cubicBezTo>
                    <a:pt x="14553" y="270804"/>
                    <a:pt x="88658" y="344909"/>
                    <a:pt x="179702" y="344909"/>
                  </a:cubicBezTo>
                  <a:cubicBezTo>
                    <a:pt x="270746" y="344909"/>
                    <a:pt x="344851" y="270804"/>
                    <a:pt x="344851" y="179760"/>
                  </a:cubicBezTo>
                  <a:cubicBezTo>
                    <a:pt x="344851" y="88716"/>
                    <a:pt x="270746" y="14611"/>
                    <a:pt x="179702" y="14611"/>
                  </a:cubicBezTo>
                  <a:close/>
                </a:path>
              </a:pathLst>
            </a:custGeom>
            <a:solidFill>
              <a:schemeClr val="accent4"/>
            </a:solidFill>
            <a:ln w="576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6" name="344 circles">
              <a:extLst>
                <a:ext uri="{FF2B5EF4-FFF2-40B4-BE49-F238E27FC236}">
                  <a16:creationId xmlns:a16="http://schemas.microsoft.com/office/drawing/2014/main" id="{6907839D-CA84-BCF9-DB3D-A7C6EE4CEF86}"/>
                </a:ext>
              </a:extLst>
            </p:cNvPr>
            <p:cNvGrpSpPr/>
            <p:nvPr/>
          </p:nvGrpSpPr>
          <p:grpSpPr>
            <a:xfrm>
              <a:off x="-328620" y="3609378"/>
              <a:ext cx="588819" cy="359403"/>
              <a:chOff x="-328620" y="3609378"/>
              <a:chExt cx="588819" cy="359403"/>
            </a:xfrm>
            <a:solidFill>
              <a:srgbClr val="000000"/>
            </a:solidFill>
          </p:grpSpPr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D095429E-E8C1-B8C4-718F-D35F789D834F}"/>
                  </a:ext>
                </a:extLst>
              </p:cNvPr>
              <p:cNvSpPr/>
              <p:nvPr/>
            </p:nvSpPr>
            <p:spPr>
              <a:xfrm>
                <a:off x="-328620" y="3609378"/>
                <a:ext cx="359403" cy="359403"/>
              </a:xfrm>
              <a:custGeom>
                <a:avLst/>
                <a:gdLst>
                  <a:gd name="connsiteX0" fmla="*/ 179702 w 359403"/>
                  <a:gd name="connsiteY0" fmla="*/ 359404 h 359403"/>
                  <a:gd name="connsiteX1" fmla="*/ 0 w 359403"/>
                  <a:gd name="connsiteY1" fmla="*/ 179702 h 359403"/>
                  <a:gd name="connsiteX2" fmla="*/ 179702 w 359403"/>
                  <a:gd name="connsiteY2" fmla="*/ 0 h 359403"/>
                  <a:gd name="connsiteX3" fmla="*/ 359404 w 359403"/>
                  <a:gd name="connsiteY3" fmla="*/ 179702 h 359403"/>
                  <a:gd name="connsiteX4" fmla="*/ 179702 w 359403"/>
                  <a:gd name="connsiteY4" fmla="*/ 359404 h 359403"/>
                  <a:gd name="connsiteX5" fmla="*/ 179702 w 359403"/>
                  <a:gd name="connsiteY5" fmla="*/ 14611 h 359403"/>
                  <a:gd name="connsiteX6" fmla="*/ 14553 w 359403"/>
                  <a:gd name="connsiteY6" fmla="*/ 179760 h 359403"/>
                  <a:gd name="connsiteX7" fmla="*/ 179702 w 359403"/>
                  <a:gd name="connsiteY7" fmla="*/ 344909 h 359403"/>
                  <a:gd name="connsiteX8" fmla="*/ 344851 w 359403"/>
                  <a:gd name="connsiteY8" fmla="*/ 179760 h 359403"/>
                  <a:gd name="connsiteX9" fmla="*/ 179702 w 359403"/>
                  <a:gd name="connsiteY9" fmla="*/ 14611 h 359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59403" h="359403">
                    <a:moveTo>
                      <a:pt x="179702" y="359404"/>
                    </a:moveTo>
                    <a:cubicBezTo>
                      <a:pt x="80624" y="359404"/>
                      <a:pt x="0" y="278779"/>
                      <a:pt x="0" y="179702"/>
                    </a:cubicBezTo>
                    <a:cubicBezTo>
                      <a:pt x="0" y="80624"/>
                      <a:pt x="80624" y="0"/>
                      <a:pt x="179702" y="0"/>
                    </a:cubicBezTo>
                    <a:cubicBezTo>
                      <a:pt x="278780" y="0"/>
                      <a:pt x="359404" y="80624"/>
                      <a:pt x="359404" y="179702"/>
                    </a:cubicBezTo>
                    <a:cubicBezTo>
                      <a:pt x="359404" y="278779"/>
                      <a:pt x="278780" y="359404"/>
                      <a:pt x="179702" y="359404"/>
                    </a:cubicBezTo>
                    <a:close/>
                    <a:moveTo>
                      <a:pt x="179702" y="14611"/>
                    </a:moveTo>
                    <a:cubicBezTo>
                      <a:pt x="88658" y="14611"/>
                      <a:pt x="14553" y="88716"/>
                      <a:pt x="14553" y="179760"/>
                    </a:cubicBezTo>
                    <a:cubicBezTo>
                      <a:pt x="14553" y="270804"/>
                      <a:pt x="88658" y="344909"/>
                      <a:pt x="179702" y="344909"/>
                    </a:cubicBezTo>
                    <a:cubicBezTo>
                      <a:pt x="270746" y="344909"/>
                      <a:pt x="344851" y="270863"/>
                      <a:pt x="344851" y="179760"/>
                    </a:cubicBezTo>
                    <a:cubicBezTo>
                      <a:pt x="344851" y="88658"/>
                      <a:pt x="270746" y="14611"/>
                      <a:pt x="179702" y="14611"/>
                    </a:cubicBezTo>
                    <a:close/>
                  </a:path>
                </a:pathLst>
              </a:custGeom>
              <a:solidFill>
                <a:srgbClr val="000000"/>
              </a:solidFill>
              <a:ln w="57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6E1322F9-D612-D9D5-240B-C698CF4C6857}"/>
                  </a:ext>
                </a:extLst>
              </p:cNvPr>
              <p:cNvSpPr/>
              <p:nvPr/>
            </p:nvSpPr>
            <p:spPr>
              <a:xfrm>
                <a:off x="-99204" y="3609378"/>
                <a:ext cx="359403" cy="359403"/>
              </a:xfrm>
              <a:custGeom>
                <a:avLst/>
                <a:gdLst>
                  <a:gd name="connsiteX0" fmla="*/ 179702 w 359403"/>
                  <a:gd name="connsiteY0" fmla="*/ 359404 h 359403"/>
                  <a:gd name="connsiteX1" fmla="*/ 0 w 359403"/>
                  <a:gd name="connsiteY1" fmla="*/ 179702 h 359403"/>
                  <a:gd name="connsiteX2" fmla="*/ 179702 w 359403"/>
                  <a:gd name="connsiteY2" fmla="*/ 0 h 359403"/>
                  <a:gd name="connsiteX3" fmla="*/ 359404 w 359403"/>
                  <a:gd name="connsiteY3" fmla="*/ 179702 h 359403"/>
                  <a:gd name="connsiteX4" fmla="*/ 179702 w 359403"/>
                  <a:gd name="connsiteY4" fmla="*/ 359404 h 359403"/>
                  <a:gd name="connsiteX5" fmla="*/ 179702 w 359403"/>
                  <a:gd name="connsiteY5" fmla="*/ 14611 h 359403"/>
                  <a:gd name="connsiteX6" fmla="*/ 14553 w 359403"/>
                  <a:gd name="connsiteY6" fmla="*/ 179760 h 359403"/>
                  <a:gd name="connsiteX7" fmla="*/ 179702 w 359403"/>
                  <a:gd name="connsiteY7" fmla="*/ 344909 h 359403"/>
                  <a:gd name="connsiteX8" fmla="*/ 344851 w 359403"/>
                  <a:gd name="connsiteY8" fmla="*/ 179760 h 359403"/>
                  <a:gd name="connsiteX9" fmla="*/ 179702 w 359403"/>
                  <a:gd name="connsiteY9" fmla="*/ 14611 h 359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59403" h="359403">
                    <a:moveTo>
                      <a:pt x="179702" y="359404"/>
                    </a:moveTo>
                    <a:cubicBezTo>
                      <a:pt x="80624" y="359404"/>
                      <a:pt x="0" y="278779"/>
                      <a:pt x="0" y="179702"/>
                    </a:cubicBezTo>
                    <a:cubicBezTo>
                      <a:pt x="0" y="80624"/>
                      <a:pt x="80624" y="0"/>
                      <a:pt x="179702" y="0"/>
                    </a:cubicBezTo>
                    <a:cubicBezTo>
                      <a:pt x="278780" y="0"/>
                      <a:pt x="359404" y="80624"/>
                      <a:pt x="359404" y="179702"/>
                    </a:cubicBezTo>
                    <a:cubicBezTo>
                      <a:pt x="359404" y="278779"/>
                      <a:pt x="278780" y="359404"/>
                      <a:pt x="179702" y="359404"/>
                    </a:cubicBezTo>
                    <a:close/>
                    <a:moveTo>
                      <a:pt x="179702" y="14611"/>
                    </a:moveTo>
                    <a:cubicBezTo>
                      <a:pt x="88658" y="14611"/>
                      <a:pt x="14553" y="88716"/>
                      <a:pt x="14553" y="179760"/>
                    </a:cubicBezTo>
                    <a:cubicBezTo>
                      <a:pt x="14553" y="270804"/>
                      <a:pt x="88658" y="344909"/>
                      <a:pt x="179702" y="344909"/>
                    </a:cubicBezTo>
                    <a:cubicBezTo>
                      <a:pt x="270746" y="344909"/>
                      <a:pt x="344851" y="270863"/>
                      <a:pt x="344851" y="179760"/>
                    </a:cubicBezTo>
                    <a:cubicBezTo>
                      <a:pt x="344851" y="88658"/>
                      <a:pt x="270746" y="14611"/>
                      <a:pt x="179702" y="14611"/>
                    </a:cubicBezTo>
                    <a:close/>
                  </a:path>
                </a:pathLst>
              </a:custGeom>
              <a:solidFill>
                <a:srgbClr val="000000"/>
              </a:solidFill>
              <a:ln w="57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70" name="TextBox1167131128">
            <a:extLst>
              <a:ext uri="{FF2B5EF4-FFF2-40B4-BE49-F238E27FC236}">
                <a16:creationId xmlns:a16="http://schemas.microsoft.com/office/drawing/2014/main" id="{2748341C-6DA3-2692-CE7D-FECD5D1BB206}"/>
              </a:ext>
            </a:extLst>
          </p:cNvPr>
          <p:cNvSpPr txBox="1"/>
          <p:nvPr/>
        </p:nvSpPr>
        <p:spPr>
          <a:xfrm>
            <a:off x="1396620" y="4212659"/>
            <a:ext cx="438287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>
              <a:spcBef>
                <a:spcPts val="600"/>
              </a:spcBef>
            </a:pPr>
            <a:r>
              <a:rPr lang="en-US" dirty="0"/>
              <a:t>Multiple suppliers' sub-systems integration</a:t>
            </a:r>
          </a:p>
        </p:txBody>
      </p:sp>
      <p:sp>
        <p:nvSpPr>
          <p:cNvPr id="71" name="TextBox1167131128">
            <a:extLst>
              <a:ext uri="{FF2B5EF4-FFF2-40B4-BE49-F238E27FC236}">
                <a16:creationId xmlns:a16="http://schemas.microsoft.com/office/drawing/2014/main" id="{1C746945-A17D-3EFD-0139-46BEB0F2B080}"/>
              </a:ext>
            </a:extLst>
          </p:cNvPr>
          <p:cNvSpPr txBox="1"/>
          <p:nvPr/>
        </p:nvSpPr>
        <p:spPr>
          <a:xfrm>
            <a:off x="1396620" y="4972784"/>
            <a:ext cx="438287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>
              <a:spcBef>
                <a:spcPts val="600"/>
              </a:spcBef>
            </a:pPr>
            <a:r>
              <a:rPr lang="en-US" dirty="0"/>
              <a:t>Internal OEM organization</a:t>
            </a:r>
          </a:p>
        </p:txBody>
      </p:sp>
      <p:sp>
        <p:nvSpPr>
          <p:cNvPr id="72" name="TextBox1167131128">
            <a:extLst>
              <a:ext uri="{FF2B5EF4-FFF2-40B4-BE49-F238E27FC236}">
                <a16:creationId xmlns:a16="http://schemas.microsoft.com/office/drawing/2014/main" id="{235F86FD-03BB-2208-402F-135B781D65B5}"/>
              </a:ext>
            </a:extLst>
          </p:cNvPr>
          <p:cNvSpPr txBox="1"/>
          <p:nvPr/>
        </p:nvSpPr>
        <p:spPr>
          <a:xfrm>
            <a:off x="1396620" y="5732909"/>
            <a:ext cx="438287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>
              <a:spcBef>
                <a:spcPts val="600"/>
              </a:spcBef>
            </a:pPr>
            <a:r>
              <a:rPr lang="en-US" dirty="0"/>
              <a:t>Electrification skepticism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242A5770-4E5A-DCEA-F1C9-5A427F5E9353}"/>
              </a:ext>
            </a:extLst>
          </p:cNvPr>
          <p:cNvGrpSpPr/>
          <p:nvPr/>
        </p:nvGrpSpPr>
        <p:grpSpPr>
          <a:xfrm>
            <a:off x="780406" y="5635507"/>
            <a:ext cx="383526" cy="410247"/>
            <a:chOff x="-638815" y="3775077"/>
            <a:chExt cx="944138" cy="1009918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21C75D0-5808-E6A7-1B9C-DC9BB3172EE4}"/>
                </a:ext>
              </a:extLst>
            </p:cNvPr>
            <p:cNvSpPr/>
            <p:nvPr/>
          </p:nvSpPr>
          <p:spPr>
            <a:xfrm>
              <a:off x="-638815" y="3775077"/>
              <a:ext cx="944138" cy="1009918"/>
            </a:xfrm>
            <a:custGeom>
              <a:avLst/>
              <a:gdLst>
                <a:gd name="connsiteX0" fmla="*/ 795834 w 944138"/>
                <a:gd name="connsiteY0" fmla="*/ 1009881 h 1009918"/>
                <a:gd name="connsiteX1" fmla="*/ 784309 w 944138"/>
                <a:gd name="connsiteY1" fmla="*/ 1001023 h 1009918"/>
                <a:gd name="connsiteX2" fmla="*/ 807264 w 944138"/>
                <a:gd name="connsiteY2" fmla="*/ 670315 h 1009918"/>
                <a:gd name="connsiteX3" fmla="*/ 912992 w 944138"/>
                <a:gd name="connsiteY3" fmla="*/ 290649 h 1009918"/>
                <a:gd name="connsiteX4" fmla="*/ 757449 w 944138"/>
                <a:gd name="connsiteY4" fmla="*/ 92529 h 1009918"/>
                <a:gd name="connsiteX5" fmla="*/ 307202 w 944138"/>
                <a:gd name="connsiteY5" fmla="*/ 81765 h 1009918"/>
                <a:gd name="connsiteX6" fmla="*/ 153754 w 944138"/>
                <a:gd name="connsiteY6" fmla="*/ 301602 h 1009918"/>
                <a:gd name="connsiteX7" fmla="*/ 158993 w 944138"/>
                <a:gd name="connsiteY7" fmla="*/ 439143 h 1009918"/>
                <a:gd name="connsiteX8" fmla="*/ 156040 w 944138"/>
                <a:gd name="connsiteY8" fmla="*/ 449145 h 1009918"/>
                <a:gd name="connsiteX9" fmla="*/ 24024 w 944138"/>
                <a:gd name="connsiteY9" fmla="*/ 594020 h 1009918"/>
                <a:gd name="connsiteX10" fmla="*/ 24786 w 944138"/>
                <a:gd name="connsiteY10" fmla="*/ 607545 h 1009918"/>
                <a:gd name="connsiteX11" fmla="*/ 118416 w 944138"/>
                <a:gd name="connsiteY11" fmla="*/ 627453 h 1009918"/>
                <a:gd name="connsiteX12" fmla="*/ 131180 w 944138"/>
                <a:gd name="connsiteY12" fmla="*/ 634120 h 1009918"/>
                <a:gd name="connsiteX13" fmla="*/ 153373 w 944138"/>
                <a:gd name="connsiteY13" fmla="*/ 813571 h 1009918"/>
                <a:gd name="connsiteX14" fmla="*/ 152706 w 944138"/>
                <a:gd name="connsiteY14" fmla="*/ 815476 h 1009918"/>
                <a:gd name="connsiteX15" fmla="*/ 153754 w 944138"/>
                <a:gd name="connsiteY15" fmla="*/ 879198 h 1009918"/>
                <a:gd name="connsiteX16" fmla="*/ 253005 w 944138"/>
                <a:gd name="connsiteY16" fmla="*/ 905773 h 1009918"/>
                <a:gd name="connsiteX17" fmla="*/ 370257 w 944138"/>
                <a:gd name="connsiteY17" fmla="*/ 884532 h 1009918"/>
                <a:gd name="connsiteX18" fmla="*/ 383211 w 944138"/>
                <a:gd name="connsiteY18" fmla="*/ 891295 h 1009918"/>
                <a:gd name="connsiteX19" fmla="*/ 410929 w 944138"/>
                <a:gd name="connsiteY19" fmla="*/ 999975 h 1009918"/>
                <a:gd name="connsiteX20" fmla="*/ 397213 w 944138"/>
                <a:gd name="connsiteY20" fmla="*/ 1009786 h 1009918"/>
                <a:gd name="connsiteX21" fmla="*/ 387402 w 944138"/>
                <a:gd name="connsiteY21" fmla="*/ 996070 h 1009918"/>
                <a:gd name="connsiteX22" fmla="*/ 365209 w 944138"/>
                <a:gd name="connsiteY22" fmla="*/ 909678 h 1009918"/>
                <a:gd name="connsiteX23" fmla="*/ 256529 w 944138"/>
                <a:gd name="connsiteY23" fmla="*/ 929395 h 1009918"/>
                <a:gd name="connsiteX24" fmla="*/ 255195 w 944138"/>
                <a:gd name="connsiteY24" fmla="*/ 929586 h 1009918"/>
                <a:gd name="connsiteX25" fmla="*/ 134133 w 944138"/>
                <a:gd name="connsiteY25" fmla="*/ 892724 h 1009918"/>
                <a:gd name="connsiteX26" fmla="*/ 130608 w 944138"/>
                <a:gd name="connsiteY26" fmla="*/ 806713 h 1009918"/>
                <a:gd name="connsiteX27" fmla="*/ 113082 w 944138"/>
                <a:gd name="connsiteY27" fmla="*/ 652313 h 1009918"/>
                <a:gd name="connsiteX28" fmla="*/ 5545 w 944138"/>
                <a:gd name="connsiteY28" fmla="*/ 622976 h 1009918"/>
                <a:gd name="connsiteX29" fmla="*/ 1354 w 944138"/>
                <a:gd name="connsiteY29" fmla="*/ 614499 h 1009918"/>
                <a:gd name="connsiteX30" fmla="*/ 21 w 944138"/>
                <a:gd name="connsiteY30" fmla="*/ 590400 h 1009918"/>
                <a:gd name="connsiteX31" fmla="*/ 3069 w 944138"/>
                <a:gd name="connsiteY31" fmla="*/ 581733 h 1009918"/>
                <a:gd name="connsiteX32" fmla="*/ 134609 w 944138"/>
                <a:gd name="connsiteY32" fmla="*/ 437238 h 1009918"/>
                <a:gd name="connsiteX33" fmla="*/ 129942 w 944138"/>
                <a:gd name="connsiteY33" fmla="*/ 301888 h 1009918"/>
                <a:gd name="connsiteX34" fmla="*/ 295296 w 944138"/>
                <a:gd name="connsiteY34" fmla="*/ 61096 h 1009918"/>
                <a:gd name="connsiteX35" fmla="*/ 769926 w 944138"/>
                <a:gd name="connsiteY35" fmla="*/ 72240 h 1009918"/>
                <a:gd name="connsiteX36" fmla="*/ 936233 w 944138"/>
                <a:gd name="connsiteY36" fmla="*/ 285315 h 1009918"/>
                <a:gd name="connsiteX37" fmla="*/ 827362 w 944138"/>
                <a:gd name="connsiteY37" fmla="*/ 683079 h 1009918"/>
                <a:gd name="connsiteX38" fmla="*/ 807360 w 944138"/>
                <a:gd name="connsiteY38" fmla="*/ 994927 h 1009918"/>
                <a:gd name="connsiteX39" fmla="*/ 798882 w 944138"/>
                <a:gd name="connsiteY39" fmla="*/ 1009500 h 1009918"/>
                <a:gd name="connsiteX40" fmla="*/ 795834 w 944138"/>
                <a:gd name="connsiteY40" fmla="*/ 1009881 h 100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44138" h="1009918">
                  <a:moveTo>
                    <a:pt x="795834" y="1009881"/>
                  </a:moveTo>
                  <a:cubicBezTo>
                    <a:pt x="790596" y="1009881"/>
                    <a:pt x="785738" y="1006357"/>
                    <a:pt x="784309" y="1001023"/>
                  </a:cubicBezTo>
                  <a:cubicBezTo>
                    <a:pt x="782023" y="992546"/>
                    <a:pt x="730302" y="791092"/>
                    <a:pt x="807264" y="670315"/>
                  </a:cubicBezTo>
                  <a:cubicBezTo>
                    <a:pt x="902610" y="520677"/>
                    <a:pt x="937185" y="396471"/>
                    <a:pt x="912992" y="290649"/>
                  </a:cubicBezTo>
                  <a:cubicBezTo>
                    <a:pt x="894894" y="211686"/>
                    <a:pt x="842602" y="145011"/>
                    <a:pt x="757449" y="92529"/>
                  </a:cubicBezTo>
                  <a:cubicBezTo>
                    <a:pt x="615717" y="4994"/>
                    <a:pt x="447410" y="993"/>
                    <a:pt x="307202" y="81765"/>
                  </a:cubicBezTo>
                  <a:cubicBezTo>
                    <a:pt x="211761" y="136725"/>
                    <a:pt x="151563" y="223021"/>
                    <a:pt x="153754" y="301602"/>
                  </a:cubicBezTo>
                  <a:cubicBezTo>
                    <a:pt x="153754" y="303031"/>
                    <a:pt x="153754" y="408378"/>
                    <a:pt x="158993" y="439143"/>
                  </a:cubicBezTo>
                  <a:cubicBezTo>
                    <a:pt x="159564" y="442763"/>
                    <a:pt x="158517" y="446382"/>
                    <a:pt x="156040" y="449145"/>
                  </a:cubicBezTo>
                  <a:lnTo>
                    <a:pt x="24024" y="594020"/>
                  </a:lnTo>
                  <a:lnTo>
                    <a:pt x="24786" y="607545"/>
                  </a:lnTo>
                  <a:cubicBezTo>
                    <a:pt x="36120" y="615261"/>
                    <a:pt x="71077" y="635454"/>
                    <a:pt x="118416" y="627453"/>
                  </a:cubicBezTo>
                  <a:cubicBezTo>
                    <a:pt x="123655" y="626691"/>
                    <a:pt x="128894" y="629262"/>
                    <a:pt x="131180" y="634120"/>
                  </a:cubicBezTo>
                  <a:cubicBezTo>
                    <a:pt x="132990" y="638025"/>
                    <a:pt x="175662" y="730037"/>
                    <a:pt x="153373" y="813571"/>
                  </a:cubicBezTo>
                  <a:cubicBezTo>
                    <a:pt x="153183" y="814238"/>
                    <a:pt x="152992" y="814809"/>
                    <a:pt x="152706" y="815476"/>
                  </a:cubicBezTo>
                  <a:cubicBezTo>
                    <a:pt x="152516" y="815857"/>
                    <a:pt x="135942" y="853576"/>
                    <a:pt x="153754" y="879198"/>
                  </a:cubicBezTo>
                  <a:cubicBezTo>
                    <a:pt x="168042" y="899772"/>
                    <a:pt x="202236" y="908916"/>
                    <a:pt x="253005" y="905773"/>
                  </a:cubicBezTo>
                  <a:lnTo>
                    <a:pt x="370257" y="884532"/>
                  </a:lnTo>
                  <a:cubicBezTo>
                    <a:pt x="375591" y="883580"/>
                    <a:pt x="380925" y="886342"/>
                    <a:pt x="383211" y="891295"/>
                  </a:cubicBezTo>
                  <a:cubicBezTo>
                    <a:pt x="386640" y="898725"/>
                    <a:pt x="416739" y="965209"/>
                    <a:pt x="410929" y="999975"/>
                  </a:cubicBezTo>
                  <a:cubicBezTo>
                    <a:pt x="409786" y="1006452"/>
                    <a:pt x="403690" y="1010739"/>
                    <a:pt x="397213" y="1009786"/>
                  </a:cubicBezTo>
                  <a:cubicBezTo>
                    <a:pt x="390736" y="1008738"/>
                    <a:pt x="386355" y="1002547"/>
                    <a:pt x="387402" y="996070"/>
                  </a:cubicBezTo>
                  <a:cubicBezTo>
                    <a:pt x="390831" y="975687"/>
                    <a:pt x="374925" y="932538"/>
                    <a:pt x="365209" y="909678"/>
                  </a:cubicBezTo>
                  <a:lnTo>
                    <a:pt x="256529" y="929395"/>
                  </a:lnTo>
                  <a:cubicBezTo>
                    <a:pt x="256529" y="929395"/>
                    <a:pt x="255576" y="929490"/>
                    <a:pt x="255195" y="929586"/>
                  </a:cubicBezTo>
                  <a:cubicBezTo>
                    <a:pt x="194426" y="933586"/>
                    <a:pt x="153659" y="921108"/>
                    <a:pt x="134133" y="892724"/>
                  </a:cubicBezTo>
                  <a:cubicBezTo>
                    <a:pt x="110415" y="858339"/>
                    <a:pt x="127465" y="814143"/>
                    <a:pt x="130608" y="806713"/>
                  </a:cubicBezTo>
                  <a:cubicBezTo>
                    <a:pt x="146706" y="745086"/>
                    <a:pt x="122417" y="675459"/>
                    <a:pt x="113082" y="652313"/>
                  </a:cubicBezTo>
                  <a:cubicBezTo>
                    <a:pt x="49360" y="659076"/>
                    <a:pt x="7450" y="624500"/>
                    <a:pt x="5545" y="622976"/>
                  </a:cubicBezTo>
                  <a:cubicBezTo>
                    <a:pt x="3069" y="620880"/>
                    <a:pt x="1545" y="617832"/>
                    <a:pt x="1354" y="614499"/>
                  </a:cubicBezTo>
                  <a:lnTo>
                    <a:pt x="21" y="590400"/>
                  </a:lnTo>
                  <a:cubicBezTo>
                    <a:pt x="-170" y="587257"/>
                    <a:pt x="973" y="584114"/>
                    <a:pt x="3069" y="581733"/>
                  </a:cubicBezTo>
                  <a:lnTo>
                    <a:pt x="134609" y="437238"/>
                  </a:lnTo>
                  <a:cubicBezTo>
                    <a:pt x="129942" y="399519"/>
                    <a:pt x="129942" y="306079"/>
                    <a:pt x="129942" y="301888"/>
                  </a:cubicBezTo>
                  <a:cubicBezTo>
                    <a:pt x="127465" y="213687"/>
                    <a:pt x="190806" y="121294"/>
                    <a:pt x="295296" y="61096"/>
                  </a:cubicBezTo>
                  <a:cubicBezTo>
                    <a:pt x="443219" y="-24153"/>
                    <a:pt x="620670" y="-19962"/>
                    <a:pt x="769926" y="72240"/>
                  </a:cubicBezTo>
                  <a:cubicBezTo>
                    <a:pt x="860700" y="128247"/>
                    <a:pt x="916611" y="199971"/>
                    <a:pt x="936233" y="285315"/>
                  </a:cubicBezTo>
                  <a:cubicBezTo>
                    <a:pt x="974428" y="452193"/>
                    <a:pt x="863748" y="625929"/>
                    <a:pt x="827362" y="683079"/>
                  </a:cubicBezTo>
                  <a:cubicBezTo>
                    <a:pt x="755925" y="795188"/>
                    <a:pt x="806883" y="992927"/>
                    <a:pt x="807360" y="994927"/>
                  </a:cubicBezTo>
                  <a:cubicBezTo>
                    <a:pt x="809074" y="1001309"/>
                    <a:pt x="805264" y="1007786"/>
                    <a:pt x="798882" y="1009500"/>
                  </a:cubicBezTo>
                  <a:cubicBezTo>
                    <a:pt x="797835" y="1009786"/>
                    <a:pt x="796882" y="1009881"/>
                    <a:pt x="795834" y="10098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97610CE1-2CAF-90B6-4472-3915AD2CFEAC}"/>
                </a:ext>
              </a:extLst>
            </p:cNvPr>
            <p:cNvSpPr/>
            <p:nvPr/>
          </p:nvSpPr>
          <p:spPr>
            <a:xfrm>
              <a:off x="-270672" y="3966856"/>
              <a:ext cx="284911" cy="451389"/>
            </a:xfrm>
            <a:custGeom>
              <a:avLst/>
              <a:gdLst>
                <a:gd name="connsiteX0" fmla="*/ 245574 w 284911"/>
                <a:gd name="connsiteY0" fmla="*/ 34957 h 451389"/>
                <a:gd name="connsiteX1" fmla="*/ 284912 w 284911"/>
                <a:gd name="connsiteY1" fmla="*/ 131255 h 451389"/>
                <a:gd name="connsiteX2" fmla="*/ 245955 w 284911"/>
                <a:gd name="connsiteY2" fmla="*/ 223838 h 451389"/>
                <a:gd name="connsiteX3" fmla="*/ 142608 w 284911"/>
                <a:gd name="connsiteY3" fmla="*/ 255746 h 451389"/>
                <a:gd name="connsiteX4" fmla="*/ 140132 w 284911"/>
                <a:gd name="connsiteY4" fmla="*/ 303371 h 451389"/>
                <a:gd name="connsiteX5" fmla="*/ 63932 w 284911"/>
                <a:gd name="connsiteY5" fmla="*/ 303371 h 451389"/>
                <a:gd name="connsiteX6" fmla="*/ 60884 w 284911"/>
                <a:gd name="connsiteY6" fmla="*/ 198120 h 451389"/>
                <a:gd name="connsiteX7" fmla="*/ 88697 w 284911"/>
                <a:gd name="connsiteY7" fmla="*/ 198120 h 451389"/>
                <a:gd name="connsiteX8" fmla="*/ 171660 w 284911"/>
                <a:gd name="connsiteY8" fmla="*/ 183833 h 451389"/>
                <a:gd name="connsiteX9" fmla="*/ 200711 w 284911"/>
                <a:gd name="connsiteY9" fmla="*/ 131826 h 451389"/>
                <a:gd name="connsiteX10" fmla="*/ 184899 w 284911"/>
                <a:gd name="connsiteY10" fmla="*/ 88487 h 451389"/>
                <a:gd name="connsiteX11" fmla="*/ 141846 w 284911"/>
                <a:gd name="connsiteY11" fmla="*/ 72390 h 451389"/>
                <a:gd name="connsiteX12" fmla="*/ 97555 w 284911"/>
                <a:gd name="connsiteY12" fmla="*/ 87821 h 451389"/>
                <a:gd name="connsiteX13" fmla="*/ 81744 w 284911"/>
                <a:gd name="connsiteY13" fmla="*/ 130588 h 451389"/>
                <a:gd name="connsiteX14" fmla="*/ 19 w 284911"/>
                <a:gd name="connsiteY14" fmla="*/ 130588 h 451389"/>
                <a:gd name="connsiteX15" fmla="*/ 16116 w 284911"/>
                <a:gd name="connsiteY15" fmla="*/ 63151 h 451389"/>
                <a:gd name="connsiteX16" fmla="*/ 65361 w 284911"/>
                <a:gd name="connsiteY16" fmla="*/ 16669 h 451389"/>
                <a:gd name="connsiteX17" fmla="*/ 141846 w 284911"/>
                <a:gd name="connsiteY17" fmla="*/ 0 h 451389"/>
                <a:gd name="connsiteX18" fmla="*/ 245574 w 284911"/>
                <a:gd name="connsiteY18" fmla="*/ 34957 h 451389"/>
                <a:gd name="connsiteX19" fmla="*/ 62884 w 284911"/>
                <a:gd name="connsiteY19" fmla="*/ 436817 h 451389"/>
                <a:gd name="connsiteX20" fmla="*/ 47739 w 284911"/>
                <a:gd name="connsiteY20" fmla="*/ 400621 h 451389"/>
                <a:gd name="connsiteX21" fmla="*/ 62884 w 284911"/>
                <a:gd name="connsiteY21" fmla="*/ 364427 h 451389"/>
                <a:gd name="connsiteX22" fmla="*/ 101556 w 284911"/>
                <a:gd name="connsiteY22" fmla="*/ 349853 h 451389"/>
                <a:gd name="connsiteX23" fmla="*/ 139275 w 284911"/>
                <a:gd name="connsiteY23" fmla="*/ 364427 h 451389"/>
                <a:gd name="connsiteX24" fmla="*/ 154134 w 284911"/>
                <a:gd name="connsiteY24" fmla="*/ 400621 h 451389"/>
                <a:gd name="connsiteX25" fmla="*/ 139275 w 284911"/>
                <a:gd name="connsiteY25" fmla="*/ 436817 h 451389"/>
                <a:gd name="connsiteX26" fmla="*/ 101556 w 284911"/>
                <a:gd name="connsiteY26" fmla="*/ 451390 h 451389"/>
                <a:gd name="connsiteX27" fmla="*/ 62884 w 284911"/>
                <a:gd name="connsiteY27" fmla="*/ 436817 h 451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84911" h="451389">
                  <a:moveTo>
                    <a:pt x="245574" y="34957"/>
                  </a:moveTo>
                  <a:cubicBezTo>
                    <a:pt x="271767" y="58293"/>
                    <a:pt x="284912" y="90392"/>
                    <a:pt x="284912" y="131255"/>
                  </a:cubicBezTo>
                  <a:cubicBezTo>
                    <a:pt x="284912" y="172117"/>
                    <a:pt x="271863" y="202597"/>
                    <a:pt x="245955" y="223838"/>
                  </a:cubicBezTo>
                  <a:cubicBezTo>
                    <a:pt x="219951" y="245078"/>
                    <a:pt x="185471" y="255746"/>
                    <a:pt x="142608" y="255746"/>
                  </a:cubicBezTo>
                  <a:lnTo>
                    <a:pt x="140132" y="303371"/>
                  </a:lnTo>
                  <a:lnTo>
                    <a:pt x="63932" y="303371"/>
                  </a:lnTo>
                  <a:lnTo>
                    <a:pt x="60884" y="198120"/>
                  </a:lnTo>
                  <a:lnTo>
                    <a:pt x="88697" y="198120"/>
                  </a:lnTo>
                  <a:cubicBezTo>
                    <a:pt x="124606" y="198120"/>
                    <a:pt x="152229" y="193358"/>
                    <a:pt x="171660" y="183833"/>
                  </a:cubicBezTo>
                  <a:cubicBezTo>
                    <a:pt x="191091" y="174308"/>
                    <a:pt x="200711" y="156972"/>
                    <a:pt x="200711" y="131826"/>
                  </a:cubicBezTo>
                  <a:cubicBezTo>
                    <a:pt x="200711" y="113633"/>
                    <a:pt x="195472" y="99251"/>
                    <a:pt x="184899" y="88487"/>
                  </a:cubicBezTo>
                  <a:cubicBezTo>
                    <a:pt x="174327" y="77724"/>
                    <a:pt x="160039" y="72390"/>
                    <a:pt x="141846" y="72390"/>
                  </a:cubicBezTo>
                  <a:cubicBezTo>
                    <a:pt x="123654" y="72390"/>
                    <a:pt x="108128" y="77533"/>
                    <a:pt x="97555" y="87821"/>
                  </a:cubicBezTo>
                  <a:cubicBezTo>
                    <a:pt x="86982" y="98107"/>
                    <a:pt x="81744" y="112395"/>
                    <a:pt x="81744" y="130588"/>
                  </a:cubicBezTo>
                  <a:lnTo>
                    <a:pt x="19" y="130588"/>
                  </a:lnTo>
                  <a:cubicBezTo>
                    <a:pt x="-362" y="105442"/>
                    <a:pt x="4972" y="82963"/>
                    <a:pt x="16116" y="63151"/>
                  </a:cubicBezTo>
                  <a:cubicBezTo>
                    <a:pt x="27261" y="43339"/>
                    <a:pt x="43644" y="27813"/>
                    <a:pt x="65361" y="16669"/>
                  </a:cubicBezTo>
                  <a:cubicBezTo>
                    <a:pt x="87078" y="5525"/>
                    <a:pt x="112509" y="0"/>
                    <a:pt x="141846" y="0"/>
                  </a:cubicBezTo>
                  <a:cubicBezTo>
                    <a:pt x="184804" y="0"/>
                    <a:pt x="219285" y="11621"/>
                    <a:pt x="245574" y="34957"/>
                  </a:cubicBezTo>
                  <a:close/>
                  <a:moveTo>
                    <a:pt x="62884" y="436817"/>
                  </a:moveTo>
                  <a:cubicBezTo>
                    <a:pt x="52788" y="427101"/>
                    <a:pt x="47739" y="415004"/>
                    <a:pt x="47739" y="400621"/>
                  </a:cubicBezTo>
                  <a:cubicBezTo>
                    <a:pt x="47739" y="386239"/>
                    <a:pt x="52788" y="374142"/>
                    <a:pt x="62884" y="364427"/>
                  </a:cubicBezTo>
                  <a:cubicBezTo>
                    <a:pt x="72981" y="354711"/>
                    <a:pt x="85935" y="349853"/>
                    <a:pt x="101556" y="349853"/>
                  </a:cubicBezTo>
                  <a:cubicBezTo>
                    <a:pt x="117177" y="349853"/>
                    <a:pt x="129464" y="354711"/>
                    <a:pt x="139275" y="364427"/>
                  </a:cubicBezTo>
                  <a:cubicBezTo>
                    <a:pt x="149181" y="374142"/>
                    <a:pt x="154134" y="386239"/>
                    <a:pt x="154134" y="400621"/>
                  </a:cubicBezTo>
                  <a:cubicBezTo>
                    <a:pt x="154134" y="415004"/>
                    <a:pt x="149181" y="427196"/>
                    <a:pt x="139275" y="436817"/>
                  </a:cubicBezTo>
                  <a:cubicBezTo>
                    <a:pt x="129369" y="446532"/>
                    <a:pt x="116796" y="451390"/>
                    <a:pt x="101556" y="451390"/>
                  </a:cubicBezTo>
                  <a:cubicBezTo>
                    <a:pt x="86316" y="451390"/>
                    <a:pt x="72981" y="446532"/>
                    <a:pt x="62884" y="436817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2E192A97-1D4A-B4CB-A17A-C90020D9E507}"/>
              </a:ext>
            </a:extLst>
          </p:cNvPr>
          <p:cNvGrpSpPr/>
          <p:nvPr/>
        </p:nvGrpSpPr>
        <p:grpSpPr>
          <a:xfrm>
            <a:off x="711149" y="4875383"/>
            <a:ext cx="522039" cy="410247"/>
            <a:chOff x="-735049" y="4070948"/>
            <a:chExt cx="1052426" cy="827055"/>
          </a:xfrm>
        </p:grpSpPr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F41CA275-441E-4A06-16AC-D1CC057C960F}"/>
                </a:ext>
              </a:extLst>
            </p:cNvPr>
            <p:cNvSpPr/>
            <p:nvPr/>
          </p:nvSpPr>
          <p:spPr>
            <a:xfrm>
              <a:off x="-350806" y="4077996"/>
              <a:ext cx="286131" cy="315944"/>
            </a:xfrm>
            <a:custGeom>
              <a:avLst/>
              <a:gdLst>
                <a:gd name="connsiteX0" fmla="*/ 143066 w 286131"/>
                <a:gd name="connsiteY0" fmla="*/ 315944 h 315944"/>
                <a:gd name="connsiteX1" fmla="*/ 0 w 286131"/>
                <a:gd name="connsiteY1" fmla="*/ 158020 h 315944"/>
                <a:gd name="connsiteX2" fmla="*/ 143066 w 286131"/>
                <a:gd name="connsiteY2" fmla="*/ 0 h 315944"/>
                <a:gd name="connsiteX3" fmla="*/ 286131 w 286131"/>
                <a:gd name="connsiteY3" fmla="*/ 158020 h 315944"/>
                <a:gd name="connsiteX4" fmla="*/ 143066 w 286131"/>
                <a:gd name="connsiteY4" fmla="*/ 315944 h 315944"/>
                <a:gd name="connsiteX5" fmla="*/ 143066 w 286131"/>
                <a:gd name="connsiteY5" fmla="*/ 23813 h 315944"/>
                <a:gd name="connsiteX6" fmla="*/ 23813 w 286131"/>
                <a:gd name="connsiteY6" fmla="*/ 158020 h 315944"/>
                <a:gd name="connsiteX7" fmla="*/ 143066 w 286131"/>
                <a:gd name="connsiteY7" fmla="*/ 292132 h 315944"/>
                <a:gd name="connsiteX8" fmla="*/ 262319 w 286131"/>
                <a:gd name="connsiteY8" fmla="*/ 158020 h 315944"/>
                <a:gd name="connsiteX9" fmla="*/ 143066 w 286131"/>
                <a:gd name="connsiteY9" fmla="*/ 23813 h 315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6131" h="315944">
                  <a:moveTo>
                    <a:pt x="143066" y="315944"/>
                  </a:moveTo>
                  <a:cubicBezTo>
                    <a:pt x="64199" y="315944"/>
                    <a:pt x="0" y="245078"/>
                    <a:pt x="0" y="158020"/>
                  </a:cubicBezTo>
                  <a:cubicBezTo>
                    <a:pt x="0" y="70961"/>
                    <a:pt x="64199" y="0"/>
                    <a:pt x="143066" y="0"/>
                  </a:cubicBezTo>
                  <a:cubicBezTo>
                    <a:pt x="221933" y="0"/>
                    <a:pt x="286131" y="70866"/>
                    <a:pt x="286131" y="158020"/>
                  </a:cubicBezTo>
                  <a:cubicBezTo>
                    <a:pt x="286131" y="245174"/>
                    <a:pt x="221933" y="315944"/>
                    <a:pt x="143066" y="315944"/>
                  </a:cubicBezTo>
                  <a:close/>
                  <a:moveTo>
                    <a:pt x="143066" y="23813"/>
                  </a:moveTo>
                  <a:cubicBezTo>
                    <a:pt x="77343" y="23813"/>
                    <a:pt x="23813" y="84011"/>
                    <a:pt x="23813" y="158020"/>
                  </a:cubicBezTo>
                  <a:cubicBezTo>
                    <a:pt x="23813" y="232029"/>
                    <a:pt x="77248" y="292132"/>
                    <a:pt x="143066" y="292132"/>
                  </a:cubicBezTo>
                  <a:cubicBezTo>
                    <a:pt x="208883" y="292132"/>
                    <a:pt x="262319" y="231934"/>
                    <a:pt x="262319" y="158020"/>
                  </a:cubicBezTo>
                  <a:cubicBezTo>
                    <a:pt x="262319" y="84106"/>
                    <a:pt x="208883" y="23813"/>
                    <a:pt x="143066" y="238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8CBC59E-318A-2E69-745D-7191E9CA2B79}"/>
                </a:ext>
              </a:extLst>
            </p:cNvPr>
            <p:cNvSpPr/>
            <p:nvPr/>
          </p:nvSpPr>
          <p:spPr>
            <a:xfrm>
              <a:off x="-655034" y="4070948"/>
              <a:ext cx="252984" cy="279082"/>
            </a:xfrm>
            <a:custGeom>
              <a:avLst/>
              <a:gdLst>
                <a:gd name="connsiteX0" fmla="*/ 126492 w 252984"/>
                <a:gd name="connsiteY0" fmla="*/ 279083 h 279082"/>
                <a:gd name="connsiteX1" fmla="*/ 0 w 252984"/>
                <a:gd name="connsiteY1" fmla="*/ 139541 h 279082"/>
                <a:gd name="connsiteX2" fmla="*/ 126492 w 252984"/>
                <a:gd name="connsiteY2" fmla="*/ 0 h 279082"/>
                <a:gd name="connsiteX3" fmla="*/ 252984 w 252984"/>
                <a:gd name="connsiteY3" fmla="*/ 139541 h 279082"/>
                <a:gd name="connsiteX4" fmla="*/ 126492 w 252984"/>
                <a:gd name="connsiteY4" fmla="*/ 279083 h 279082"/>
                <a:gd name="connsiteX5" fmla="*/ 126492 w 252984"/>
                <a:gd name="connsiteY5" fmla="*/ 23813 h 279082"/>
                <a:gd name="connsiteX6" fmla="*/ 23813 w 252984"/>
                <a:gd name="connsiteY6" fmla="*/ 139541 h 279082"/>
                <a:gd name="connsiteX7" fmla="*/ 126492 w 252984"/>
                <a:gd name="connsiteY7" fmla="*/ 255270 h 279082"/>
                <a:gd name="connsiteX8" fmla="*/ 229172 w 252984"/>
                <a:gd name="connsiteY8" fmla="*/ 139541 h 279082"/>
                <a:gd name="connsiteX9" fmla="*/ 126492 w 252984"/>
                <a:gd name="connsiteY9" fmla="*/ 23813 h 279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2984" h="279082">
                  <a:moveTo>
                    <a:pt x="126492" y="279083"/>
                  </a:moveTo>
                  <a:cubicBezTo>
                    <a:pt x="56769" y="279083"/>
                    <a:pt x="0" y="216503"/>
                    <a:pt x="0" y="139541"/>
                  </a:cubicBezTo>
                  <a:cubicBezTo>
                    <a:pt x="0" y="62579"/>
                    <a:pt x="56769" y="0"/>
                    <a:pt x="126492" y="0"/>
                  </a:cubicBezTo>
                  <a:cubicBezTo>
                    <a:pt x="196215" y="0"/>
                    <a:pt x="252984" y="62579"/>
                    <a:pt x="252984" y="139541"/>
                  </a:cubicBezTo>
                  <a:cubicBezTo>
                    <a:pt x="252984" y="216503"/>
                    <a:pt x="196215" y="279083"/>
                    <a:pt x="126492" y="279083"/>
                  </a:cubicBezTo>
                  <a:close/>
                  <a:moveTo>
                    <a:pt x="126492" y="23813"/>
                  </a:moveTo>
                  <a:cubicBezTo>
                    <a:pt x="69914" y="23813"/>
                    <a:pt x="23813" y="75724"/>
                    <a:pt x="23813" y="139541"/>
                  </a:cubicBezTo>
                  <a:cubicBezTo>
                    <a:pt x="23813" y="203359"/>
                    <a:pt x="69818" y="255270"/>
                    <a:pt x="126492" y="255270"/>
                  </a:cubicBezTo>
                  <a:cubicBezTo>
                    <a:pt x="183166" y="255270"/>
                    <a:pt x="229172" y="203359"/>
                    <a:pt x="229172" y="139541"/>
                  </a:cubicBezTo>
                  <a:cubicBezTo>
                    <a:pt x="229172" y="75724"/>
                    <a:pt x="183166" y="23813"/>
                    <a:pt x="126492" y="238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FDC74BB-7680-4006-61C0-EA2D7BCD131F}"/>
                </a:ext>
              </a:extLst>
            </p:cNvPr>
            <p:cNvSpPr/>
            <p:nvPr/>
          </p:nvSpPr>
          <p:spPr>
            <a:xfrm>
              <a:off x="-735049" y="4354602"/>
              <a:ext cx="382402" cy="435864"/>
            </a:xfrm>
            <a:custGeom>
              <a:avLst/>
              <a:gdLst>
                <a:gd name="connsiteX0" fmla="*/ 206507 w 382402"/>
                <a:gd name="connsiteY0" fmla="*/ 435864 h 435864"/>
                <a:gd name="connsiteX1" fmla="*/ 201649 w 382402"/>
                <a:gd name="connsiteY1" fmla="*/ 435864 h 435864"/>
                <a:gd name="connsiteX2" fmla="*/ 199458 w 382402"/>
                <a:gd name="connsiteY2" fmla="*/ 435674 h 435864"/>
                <a:gd name="connsiteX3" fmla="*/ 5 w 382402"/>
                <a:gd name="connsiteY3" fmla="*/ 358331 h 435864"/>
                <a:gd name="connsiteX4" fmla="*/ 14578 w 382402"/>
                <a:gd name="connsiteY4" fmla="*/ 180594 h 435864"/>
                <a:gd name="connsiteX5" fmla="*/ 199553 w 382402"/>
                <a:gd name="connsiteY5" fmla="*/ 191 h 435864"/>
                <a:gd name="connsiteX6" fmla="*/ 201268 w 382402"/>
                <a:gd name="connsiteY6" fmla="*/ 0 h 435864"/>
                <a:gd name="connsiteX7" fmla="*/ 202982 w 382402"/>
                <a:gd name="connsiteY7" fmla="*/ 0 h 435864"/>
                <a:gd name="connsiteX8" fmla="*/ 205268 w 382402"/>
                <a:gd name="connsiteY8" fmla="*/ 0 h 435864"/>
                <a:gd name="connsiteX9" fmla="*/ 206888 w 382402"/>
                <a:gd name="connsiteY9" fmla="*/ 0 h 435864"/>
                <a:gd name="connsiteX10" fmla="*/ 208602 w 382402"/>
                <a:gd name="connsiteY10" fmla="*/ 191 h 435864"/>
                <a:gd name="connsiteX11" fmla="*/ 381767 w 382402"/>
                <a:gd name="connsiteY11" fmla="*/ 126016 h 435864"/>
                <a:gd name="connsiteX12" fmla="*/ 374337 w 382402"/>
                <a:gd name="connsiteY12" fmla="*/ 141161 h 435864"/>
                <a:gd name="connsiteX13" fmla="*/ 359193 w 382402"/>
                <a:gd name="connsiteY13" fmla="*/ 133731 h 435864"/>
                <a:gd name="connsiteX14" fmla="*/ 205554 w 382402"/>
                <a:gd name="connsiteY14" fmla="*/ 23813 h 435864"/>
                <a:gd name="connsiteX15" fmla="*/ 202506 w 382402"/>
                <a:gd name="connsiteY15" fmla="*/ 23813 h 435864"/>
                <a:gd name="connsiteX16" fmla="*/ 38295 w 382402"/>
                <a:gd name="connsiteY16" fmla="*/ 182880 h 435864"/>
                <a:gd name="connsiteX17" fmla="*/ 23912 w 382402"/>
                <a:gd name="connsiteY17" fmla="*/ 358521 h 435864"/>
                <a:gd name="connsiteX18" fmla="*/ 204125 w 382402"/>
                <a:gd name="connsiteY18" fmla="*/ 412052 h 435864"/>
                <a:gd name="connsiteX19" fmla="*/ 305852 w 382402"/>
                <a:gd name="connsiteY19" fmla="*/ 401479 h 435864"/>
                <a:gd name="connsiteX20" fmla="*/ 319949 w 382402"/>
                <a:gd name="connsiteY20" fmla="*/ 410623 h 435864"/>
                <a:gd name="connsiteX21" fmla="*/ 310806 w 382402"/>
                <a:gd name="connsiteY21" fmla="*/ 424720 h 435864"/>
                <a:gd name="connsiteX22" fmla="*/ 208793 w 382402"/>
                <a:gd name="connsiteY22" fmla="*/ 435674 h 435864"/>
                <a:gd name="connsiteX23" fmla="*/ 206602 w 382402"/>
                <a:gd name="connsiteY23" fmla="*/ 435864 h 43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82402" h="435864">
                  <a:moveTo>
                    <a:pt x="206507" y="435864"/>
                  </a:moveTo>
                  <a:lnTo>
                    <a:pt x="201649" y="435864"/>
                  </a:lnTo>
                  <a:cubicBezTo>
                    <a:pt x="200887" y="435864"/>
                    <a:pt x="200220" y="435864"/>
                    <a:pt x="199458" y="435674"/>
                  </a:cubicBezTo>
                  <a:cubicBezTo>
                    <a:pt x="4386" y="429387"/>
                    <a:pt x="-186" y="365665"/>
                    <a:pt x="5" y="358331"/>
                  </a:cubicBezTo>
                  <a:lnTo>
                    <a:pt x="14578" y="180594"/>
                  </a:lnTo>
                  <a:cubicBezTo>
                    <a:pt x="32580" y="18955"/>
                    <a:pt x="166502" y="1905"/>
                    <a:pt x="199553" y="191"/>
                  </a:cubicBezTo>
                  <a:cubicBezTo>
                    <a:pt x="200125" y="95"/>
                    <a:pt x="200696" y="0"/>
                    <a:pt x="201268" y="0"/>
                  </a:cubicBezTo>
                  <a:cubicBezTo>
                    <a:pt x="201268" y="0"/>
                    <a:pt x="201935" y="0"/>
                    <a:pt x="202982" y="0"/>
                  </a:cubicBezTo>
                  <a:lnTo>
                    <a:pt x="205268" y="0"/>
                  </a:lnTo>
                  <a:cubicBezTo>
                    <a:pt x="206126" y="0"/>
                    <a:pt x="206793" y="0"/>
                    <a:pt x="206888" y="0"/>
                  </a:cubicBezTo>
                  <a:cubicBezTo>
                    <a:pt x="207459" y="0"/>
                    <a:pt x="208031" y="0"/>
                    <a:pt x="208602" y="191"/>
                  </a:cubicBezTo>
                  <a:cubicBezTo>
                    <a:pt x="237463" y="1715"/>
                    <a:pt x="343571" y="14764"/>
                    <a:pt x="381767" y="126016"/>
                  </a:cubicBezTo>
                  <a:cubicBezTo>
                    <a:pt x="383862" y="132207"/>
                    <a:pt x="380624" y="138970"/>
                    <a:pt x="374337" y="141161"/>
                  </a:cubicBezTo>
                  <a:cubicBezTo>
                    <a:pt x="368146" y="143256"/>
                    <a:pt x="361383" y="140018"/>
                    <a:pt x="359193" y="133731"/>
                  </a:cubicBezTo>
                  <a:cubicBezTo>
                    <a:pt x="324141" y="31528"/>
                    <a:pt x="225843" y="24194"/>
                    <a:pt x="205554" y="23813"/>
                  </a:cubicBezTo>
                  <a:lnTo>
                    <a:pt x="202506" y="23813"/>
                  </a:lnTo>
                  <a:cubicBezTo>
                    <a:pt x="178884" y="24289"/>
                    <a:pt x="54869" y="34004"/>
                    <a:pt x="38295" y="182880"/>
                  </a:cubicBezTo>
                  <a:lnTo>
                    <a:pt x="23912" y="358521"/>
                  </a:lnTo>
                  <a:cubicBezTo>
                    <a:pt x="24770" y="362807"/>
                    <a:pt x="37819" y="407480"/>
                    <a:pt x="204125" y="412052"/>
                  </a:cubicBezTo>
                  <a:cubicBezTo>
                    <a:pt x="243845" y="410909"/>
                    <a:pt x="278040" y="407384"/>
                    <a:pt x="305852" y="401479"/>
                  </a:cubicBezTo>
                  <a:cubicBezTo>
                    <a:pt x="312234" y="400145"/>
                    <a:pt x="318616" y="404241"/>
                    <a:pt x="319949" y="410623"/>
                  </a:cubicBezTo>
                  <a:cubicBezTo>
                    <a:pt x="321283" y="417005"/>
                    <a:pt x="317187" y="423386"/>
                    <a:pt x="310806" y="424720"/>
                  </a:cubicBezTo>
                  <a:cubicBezTo>
                    <a:pt x="282516" y="430721"/>
                    <a:pt x="248226" y="434340"/>
                    <a:pt x="208793" y="435674"/>
                  </a:cubicBezTo>
                  <a:cubicBezTo>
                    <a:pt x="208126" y="435769"/>
                    <a:pt x="207364" y="435864"/>
                    <a:pt x="206602" y="43586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16713E3-2F3D-545A-7240-B53743A69396}"/>
                </a:ext>
              </a:extLst>
            </p:cNvPr>
            <p:cNvSpPr/>
            <p:nvPr/>
          </p:nvSpPr>
          <p:spPr>
            <a:xfrm>
              <a:off x="-10668" y="4070948"/>
              <a:ext cx="252984" cy="279082"/>
            </a:xfrm>
            <a:custGeom>
              <a:avLst/>
              <a:gdLst>
                <a:gd name="connsiteX0" fmla="*/ 126492 w 252984"/>
                <a:gd name="connsiteY0" fmla="*/ 279083 h 279082"/>
                <a:gd name="connsiteX1" fmla="*/ 0 w 252984"/>
                <a:gd name="connsiteY1" fmla="*/ 139541 h 279082"/>
                <a:gd name="connsiteX2" fmla="*/ 126492 w 252984"/>
                <a:gd name="connsiteY2" fmla="*/ 0 h 279082"/>
                <a:gd name="connsiteX3" fmla="*/ 252984 w 252984"/>
                <a:gd name="connsiteY3" fmla="*/ 139541 h 279082"/>
                <a:gd name="connsiteX4" fmla="*/ 126492 w 252984"/>
                <a:gd name="connsiteY4" fmla="*/ 279083 h 279082"/>
                <a:gd name="connsiteX5" fmla="*/ 126492 w 252984"/>
                <a:gd name="connsiteY5" fmla="*/ 23813 h 279082"/>
                <a:gd name="connsiteX6" fmla="*/ 23813 w 252984"/>
                <a:gd name="connsiteY6" fmla="*/ 139541 h 279082"/>
                <a:gd name="connsiteX7" fmla="*/ 126492 w 252984"/>
                <a:gd name="connsiteY7" fmla="*/ 255270 h 279082"/>
                <a:gd name="connsiteX8" fmla="*/ 229172 w 252984"/>
                <a:gd name="connsiteY8" fmla="*/ 139541 h 279082"/>
                <a:gd name="connsiteX9" fmla="*/ 126492 w 252984"/>
                <a:gd name="connsiteY9" fmla="*/ 23813 h 279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2984" h="279082">
                  <a:moveTo>
                    <a:pt x="126492" y="279083"/>
                  </a:moveTo>
                  <a:cubicBezTo>
                    <a:pt x="56769" y="279083"/>
                    <a:pt x="0" y="216503"/>
                    <a:pt x="0" y="139541"/>
                  </a:cubicBezTo>
                  <a:cubicBezTo>
                    <a:pt x="0" y="62579"/>
                    <a:pt x="56769" y="0"/>
                    <a:pt x="126492" y="0"/>
                  </a:cubicBezTo>
                  <a:cubicBezTo>
                    <a:pt x="196215" y="0"/>
                    <a:pt x="252984" y="62579"/>
                    <a:pt x="252984" y="139541"/>
                  </a:cubicBezTo>
                  <a:cubicBezTo>
                    <a:pt x="252984" y="216503"/>
                    <a:pt x="196215" y="279083"/>
                    <a:pt x="126492" y="279083"/>
                  </a:cubicBezTo>
                  <a:close/>
                  <a:moveTo>
                    <a:pt x="126492" y="23813"/>
                  </a:moveTo>
                  <a:cubicBezTo>
                    <a:pt x="69914" y="23813"/>
                    <a:pt x="23813" y="75724"/>
                    <a:pt x="23813" y="139541"/>
                  </a:cubicBezTo>
                  <a:cubicBezTo>
                    <a:pt x="23813" y="203359"/>
                    <a:pt x="69818" y="255270"/>
                    <a:pt x="126492" y="255270"/>
                  </a:cubicBezTo>
                  <a:cubicBezTo>
                    <a:pt x="183166" y="255270"/>
                    <a:pt x="229172" y="203359"/>
                    <a:pt x="229172" y="139541"/>
                  </a:cubicBezTo>
                  <a:cubicBezTo>
                    <a:pt x="229172" y="75724"/>
                    <a:pt x="183166" y="23813"/>
                    <a:pt x="126492" y="238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B080DB52-AF6A-79F4-8279-3D856D1CC16E}"/>
                </a:ext>
              </a:extLst>
            </p:cNvPr>
            <p:cNvSpPr/>
            <p:nvPr/>
          </p:nvSpPr>
          <p:spPr>
            <a:xfrm>
              <a:off x="-65921" y="4354507"/>
              <a:ext cx="383298" cy="435959"/>
            </a:xfrm>
            <a:custGeom>
              <a:avLst/>
              <a:gdLst>
                <a:gd name="connsiteX0" fmla="*/ 181745 w 383298"/>
                <a:gd name="connsiteY0" fmla="*/ 435959 h 435959"/>
                <a:gd name="connsiteX1" fmla="*/ 176887 w 383298"/>
                <a:gd name="connsiteY1" fmla="*/ 435959 h 435959"/>
                <a:gd name="connsiteX2" fmla="*/ 174696 w 383298"/>
                <a:gd name="connsiteY2" fmla="*/ 435769 h 435959"/>
                <a:gd name="connsiteX3" fmla="*/ 69064 w 383298"/>
                <a:gd name="connsiteY3" fmla="*/ 424053 h 435959"/>
                <a:gd name="connsiteX4" fmla="*/ 60015 w 383298"/>
                <a:gd name="connsiteY4" fmla="*/ 409861 h 435959"/>
                <a:gd name="connsiteX5" fmla="*/ 74208 w 383298"/>
                <a:gd name="connsiteY5" fmla="*/ 400812 h 435959"/>
                <a:gd name="connsiteX6" fmla="*/ 179268 w 383298"/>
                <a:gd name="connsiteY6" fmla="*/ 412051 h 435959"/>
                <a:gd name="connsiteX7" fmla="*/ 359481 w 383298"/>
                <a:gd name="connsiteY7" fmla="*/ 358521 h 435959"/>
                <a:gd name="connsiteX8" fmla="*/ 345003 w 383298"/>
                <a:gd name="connsiteY8" fmla="*/ 182594 h 435959"/>
                <a:gd name="connsiteX9" fmla="*/ 180792 w 383298"/>
                <a:gd name="connsiteY9" fmla="*/ 23813 h 435959"/>
                <a:gd name="connsiteX10" fmla="*/ 177744 w 383298"/>
                <a:gd name="connsiteY10" fmla="*/ 23813 h 435959"/>
                <a:gd name="connsiteX11" fmla="*/ 23249 w 383298"/>
                <a:gd name="connsiteY11" fmla="*/ 136589 h 435959"/>
                <a:gd name="connsiteX12" fmla="*/ 8199 w 383298"/>
                <a:gd name="connsiteY12" fmla="*/ 144209 h 435959"/>
                <a:gd name="connsiteX13" fmla="*/ 579 w 383298"/>
                <a:gd name="connsiteY13" fmla="*/ 129159 h 435959"/>
                <a:gd name="connsiteX14" fmla="*/ 174792 w 383298"/>
                <a:gd name="connsiteY14" fmla="*/ 191 h 435959"/>
                <a:gd name="connsiteX15" fmla="*/ 176506 w 383298"/>
                <a:gd name="connsiteY15" fmla="*/ 0 h 435959"/>
                <a:gd name="connsiteX16" fmla="*/ 178125 w 383298"/>
                <a:gd name="connsiteY16" fmla="*/ 0 h 435959"/>
                <a:gd name="connsiteX17" fmla="*/ 180411 w 383298"/>
                <a:gd name="connsiteY17" fmla="*/ 0 h 435959"/>
                <a:gd name="connsiteX18" fmla="*/ 182126 w 383298"/>
                <a:gd name="connsiteY18" fmla="*/ 0 h 435959"/>
                <a:gd name="connsiteX19" fmla="*/ 183840 w 383298"/>
                <a:gd name="connsiteY19" fmla="*/ 191 h 435959"/>
                <a:gd name="connsiteX20" fmla="*/ 368721 w 383298"/>
                <a:gd name="connsiteY20" fmla="*/ 180308 h 435959"/>
                <a:gd name="connsiteX21" fmla="*/ 383294 w 383298"/>
                <a:gd name="connsiteY21" fmla="*/ 357568 h 435959"/>
                <a:gd name="connsiteX22" fmla="*/ 183840 w 383298"/>
                <a:gd name="connsiteY22" fmla="*/ 435674 h 435959"/>
                <a:gd name="connsiteX23" fmla="*/ 181650 w 383298"/>
                <a:gd name="connsiteY23" fmla="*/ 435864 h 435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83298" h="435959">
                  <a:moveTo>
                    <a:pt x="181745" y="435959"/>
                  </a:moveTo>
                  <a:lnTo>
                    <a:pt x="176887" y="435959"/>
                  </a:lnTo>
                  <a:cubicBezTo>
                    <a:pt x="176125" y="435959"/>
                    <a:pt x="175458" y="435959"/>
                    <a:pt x="174696" y="435769"/>
                  </a:cubicBezTo>
                  <a:cubicBezTo>
                    <a:pt x="133548" y="434435"/>
                    <a:pt x="98115" y="430530"/>
                    <a:pt x="69064" y="424053"/>
                  </a:cubicBezTo>
                  <a:cubicBezTo>
                    <a:pt x="62682" y="422624"/>
                    <a:pt x="58587" y="416243"/>
                    <a:pt x="60015" y="409861"/>
                  </a:cubicBezTo>
                  <a:cubicBezTo>
                    <a:pt x="61444" y="403479"/>
                    <a:pt x="67731" y="399383"/>
                    <a:pt x="74208" y="400812"/>
                  </a:cubicBezTo>
                  <a:cubicBezTo>
                    <a:pt x="102687" y="407099"/>
                    <a:pt x="138025" y="410909"/>
                    <a:pt x="179268" y="412051"/>
                  </a:cubicBezTo>
                  <a:cubicBezTo>
                    <a:pt x="345480" y="407480"/>
                    <a:pt x="358624" y="362807"/>
                    <a:pt x="359481" y="358521"/>
                  </a:cubicBezTo>
                  <a:lnTo>
                    <a:pt x="345003" y="182594"/>
                  </a:lnTo>
                  <a:cubicBezTo>
                    <a:pt x="328525" y="34004"/>
                    <a:pt x="204414" y="24289"/>
                    <a:pt x="180792" y="23813"/>
                  </a:cubicBezTo>
                  <a:lnTo>
                    <a:pt x="177744" y="23813"/>
                  </a:lnTo>
                  <a:cubicBezTo>
                    <a:pt x="157170" y="24194"/>
                    <a:pt x="57444" y="31718"/>
                    <a:pt x="23249" y="136589"/>
                  </a:cubicBezTo>
                  <a:cubicBezTo>
                    <a:pt x="21249" y="142875"/>
                    <a:pt x="14486" y="146304"/>
                    <a:pt x="8199" y="144209"/>
                  </a:cubicBezTo>
                  <a:cubicBezTo>
                    <a:pt x="1913" y="142208"/>
                    <a:pt x="-1421" y="135445"/>
                    <a:pt x="579" y="129159"/>
                  </a:cubicBezTo>
                  <a:cubicBezTo>
                    <a:pt x="37822" y="14954"/>
                    <a:pt x="145645" y="1715"/>
                    <a:pt x="174792" y="191"/>
                  </a:cubicBezTo>
                  <a:cubicBezTo>
                    <a:pt x="175363" y="191"/>
                    <a:pt x="175935" y="0"/>
                    <a:pt x="176506" y="0"/>
                  </a:cubicBezTo>
                  <a:cubicBezTo>
                    <a:pt x="176601" y="0"/>
                    <a:pt x="177078" y="0"/>
                    <a:pt x="178125" y="0"/>
                  </a:cubicBezTo>
                  <a:lnTo>
                    <a:pt x="180411" y="0"/>
                  </a:lnTo>
                  <a:cubicBezTo>
                    <a:pt x="181459" y="0"/>
                    <a:pt x="182031" y="0"/>
                    <a:pt x="182126" y="0"/>
                  </a:cubicBezTo>
                  <a:cubicBezTo>
                    <a:pt x="182697" y="0"/>
                    <a:pt x="183269" y="0"/>
                    <a:pt x="183840" y="191"/>
                  </a:cubicBezTo>
                  <a:cubicBezTo>
                    <a:pt x="216892" y="1905"/>
                    <a:pt x="350814" y="18955"/>
                    <a:pt x="368721" y="180308"/>
                  </a:cubicBezTo>
                  <a:lnTo>
                    <a:pt x="383294" y="357568"/>
                  </a:lnTo>
                  <a:cubicBezTo>
                    <a:pt x="383484" y="365665"/>
                    <a:pt x="378912" y="429482"/>
                    <a:pt x="183840" y="435674"/>
                  </a:cubicBezTo>
                  <a:cubicBezTo>
                    <a:pt x="183174" y="435769"/>
                    <a:pt x="182412" y="435864"/>
                    <a:pt x="181650" y="43586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157EA48B-EAE7-AA03-4295-652FBAE21EC3}"/>
                </a:ext>
              </a:extLst>
            </p:cNvPr>
            <p:cNvSpPr/>
            <p:nvPr/>
          </p:nvSpPr>
          <p:spPr>
            <a:xfrm>
              <a:off x="-442342" y="4402608"/>
              <a:ext cx="463491" cy="495395"/>
            </a:xfrm>
            <a:custGeom>
              <a:avLst/>
              <a:gdLst>
                <a:gd name="connsiteX0" fmla="*/ 234602 w 463491"/>
                <a:gd name="connsiteY0" fmla="*/ 495395 h 495395"/>
                <a:gd name="connsiteX1" fmla="*/ 229077 w 463491"/>
                <a:gd name="connsiteY1" fmla="*/ 495395 h 495395"/>
                <a:gd name="connsiteX2" fmla="*/ 226791 w 463491"/>
                <a:gd name="connsiteY2" fmla="*/ 495205 h 495395"/>
                <a:gd name="connsiteX3" fmla="*/ 1 w 463491"/>
                <a:gd name="connsiteY3" fmla="*/ 408337 h 495395"/>
                <a:gd name="connsiteX4" fmla="*/ 16670 w 463491"/>
                <a:gd name="connsiteY4" fmla="*/ 205073 h 495395"/>
                <a:gd name="connsiteX5" fmla="*/ 226791 w 463491"/>
                <a:gd name="connsiteY5" fmla="*/ 191 h 495395"/>
                <a:gd name="connsiteX6" fmla="*/ 228601 w 463491"/>
                <a:gd name="connsiteY6" fmla="*/ 0 h 495395"/>
                <a:gd name="connsiteX7" fmla="*/ 230506 w 463491"/>
                <a:gd name="connsiteY7" fmla="*/ 0 h 495395"/>
                <a:gd name="connsiteX8" fmla="*/ 232983 w 463491"/>
                <a:gd name="connsiteY8" fmla="*/ 0 h 495395"/>
                <a:gd name="connsiteX9" fmla="*/ 234888 w 463491"/>
                <a:gd name="connsiteY9" fmla="*/ 0 h 495395"/>
                <a:gd name="connsiteX10" fmla="*/ 236697 w 463491"/>
                <a:gd name="connsiteY10" fmla="*/ 191 h 495395"/>
                <a:gd name="connsiteX11" fmla="*/ 446819 w 463491"/>
                <a:gd name="connsiteY11" fmla="*/ 204788 h 495395"/>
                <a:gd name="connsiteX12" fmla="*/ 463488 w 463491"/>
                <a:gd name="connsiteY12" fmla="*/ 407670 h 495395"/>
                <a:gd name="connsiteX13" fmla="*/ 236793 w 463491"/>
                <a:gd name="connsiteY13" fmla="*/ 495205 h 495395"/>
                <a:gd name="connsiteX14" fmla="*/ 234507 w 463491"/>
                <a:gd name="connsiteY14" fmla="*/ 495395 h 495395"/>
                <a:gd name="connsiteX15" fmla="*/ 23909 w 463491"/>
                <a:gd name="connsiteY15" fmla="*/ 408623 h 495395"/>
                <a:gd name="connsiteX16" fmla="*/ 231840 w 463491"/>
                <a:gd name="connsiteY16" fmla="*/ 471488 h 495395"/>
                <a:gd name="connsiteX17" fmla="*/ 439770 w 463491"/>
                <a:gd name="connsiteY17" fmla="*/ 408623 h 495395"/>
                <a:gd name="connsiteX18" fmla="*/ 423197 w 463491"/>
                <a:gd name="connsiteY18" fmla="*/ 207073 h 495395"/>
                <a:gd name="connsiteX19" fmla="*/ 234411 w 463491"/>
                <a:gd name="connsiteY19" fmla="*/ 23813 h 495395"/>
                <a:gd name="connsiteX20" fmla="*/ 229935 w 463491"/>
                <a:gd name="connsiteY20" fmla="*/ 23813 h 495395"/>
                <a:gd name="connsiteX21" fmla="*/ 40387 w 463491"/>
                <a:gd name="connsiteY21" fmla="*/ 207454 h 495395"/>
                <a:gd name="connsiteX22" fmla="*/ 23814 w 463491"/>
                <a:gd name="connsiteY22" fmla="*/ 408718 h 495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63491" h="495395">
                  <a:moveTo>
                    <a:pt x="234602" y="495395"/>
                  </a:moveTo>
                  <a:lnTo>
                    <a:pt x="229077" y="495395"/>
                  </a:lnTo>
                  <a:cubicBezTo>
                    <a:pt x="228315" y="495395"/>
                    <a:pt x="227553" y="495395"/>
                    <a:pt x="226791" y="495205"/>
                  </a:cubicBezTo>
                  <a:cubicBezTo>
                    <a:pt x="5049" y="488156"/>
                    <a:pt x="-94" y="416623"/>
                    <a:pt x="1" y="408337"/>
                  </a:cubicBezTo>
                  <a:lnTo>
                    <a:pt x="16670" y="205073"/>
                  </a:lnTo>
                  <a:cubicBezTo>
                    <a:pt x="37149" y="21146"/>
                    <a:pt x="189739" y="2096"/>
                    <a:pt x="226791" y="191"/>
                  </a:cubicBezTo>
                  <a:cubicBezTo>
                    <a:pt x="227363" y="95"/>
                    <a:pt x="228030" y="0"/>
                    <a:pt x="228601" y="0"/>
                  </a:cubicBezTo>
                  <a:cubicBezTo>
                    <a:pt x="228696" y="0"/>
                    <a:pt x="229363" y="0"/>
                    <a:pt x="230506" y="0"/>
                  </a:cubicBezTo>
                  <a:lnTo>
                    <a:pt x="232983" y="0"/>
                  </a:lnTo>
                  <a:cubicBezTo>
                    <a:pt x="234126" y="0"/>
                    <a:pt x="234792" y="0"/>
                    <a:pt x="234888" y="0"/>
                  </a:cubicBezTo>
                  <a:cubicBezTo>
                    <a:pt x="235459" y="0"/>
                    <a:pt x="236126" y="0"/>
                    <a:pt x="236697" y="191"/>
                  </a:cubicBezTo>
                  <a:cubicBezTo>
                    <a:pt x="273750" y="2096"/>
                    <a:pt x="426435" y="21146"/>
                    <a:pt x="446819" y="204788"/>
                  </a:cubicBezTo>
                  <a:lnTo>
                    <a:pt x="463488" y="407670"/>
                  </a:lnTo>
                  <a:cubicBezTo>
                    <a:pt x="463678" y="416623"/>
                    <a:pt x="458535" y="488156"/>
                    <a:pt x="236793" y="495205"/>
                  </a:cubicBezTo>
                  <a:cubicBezTo>
                    <a:pt x="236031" y="495300"/>
                    <a:pt x="235269" y="495395"/>
                    <a:pt x="234507" y="495395"/>
                  </a:cubicBezTo>
                  <a:close/>
                  <a:moveTo>
                    <a:pt x="23909" y="408623"/>
                  </a:moveTo>
                  <a:cubicBezTo>
                    <a:pt x="24671" y="413290"/>
                    <a:pt x="38292" y="466154"/>
                    <a:pt x="231840" y="471488"/>
                  </a:cubicBezTo>
                  <a:cubicBezTo>
                    <a:pt x="425483" y="466154"/>
                    <a:pt x="439008" y="413194"/>
                    <a:pt x="439770" y="408623"/>
                  </a:cubicBezTo>
                  <a:lnTo>
                    <a:pt x="423197" y="207073"/>
                  </a:lnTo>
                  <a:cubicBezTo>
                    <a:pt x="404242" y="36481"/>
                    <a:pt x="263558" y="24479"/>
                    <a:pt x="234411" y="23813"/>
                  </a:cubicBezTo>
                  <a:lnTo>
                    <a:pt x="229935" y="23813"/>
                  </a:lnTo>
                  <a:cubicBezTo>
                    <a:pt x="202503" y="24384"/>
                    <a:pt x="59437" y="35623"/>
                    <a:pt x="40387" y="207454"/>
                  </a:cubicBezTo>
                  <a:lnTo>
                    <a:pt x="23814" y="408718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7" name="TextBox1167131128">
            <a:extLst>
              <a:ext uri="{FF2B5EF4-FFF2-40B4-BE49-F238E27FC236}">
                <a16:creationId xmlns:a16="http://schemas.microsoft.com/office/drawing/2014/main" id="{E5693E68-F244-5ABD-5305-AF549141F8DC}"/>
              </a:ext>
            </a:extLst>
          </p:cNvPr>
          <p:cNvSpPr txBox="1"/>
          <p:nvPr/>
        </p:nvSpPr>
        <p:spPr>
          <a:xfrm>
            <a:off x="7124204" y="4424040"/>
            <a:ext cx="4382873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>
              <a:spcBef>
                <a:spcPts val="600"/>
              </a:spcBef>
            </a:pPr>
            <a:r>
              <a:rPr lang="en-US" dirty="0"/>
              <a:t>Commercial vehicle specific component availability</a:t>
            </a:r>
          </a:p>
        </p:txBody>
      </p:sp>
      <p:sp>
        <p:nvSpPr>
          <p:cNvPr id="88" name="TextBox1167131128">
            <a:extLst>
              <a:ext uri="{FF2B5EF4-FFF2-40B4-BE49-F238E27FC236}">
                <a16:creationId xmlns:a16="http://schemas.microsoft.com/office/drawing/2014/main" id="{6381D0F7-31CD-0226-46A9-B1FF946B435B}"/>
              </a:ext>
            </a:extLst>
          </p:cNvPr>
          <p:cNvSpPr txBox="1"/>
          <p:nvPr/>
        </p:nvSpPr>
        <p:spPr>
          <a:xfrm>
            <a:off x="7124204" y="5526349"/>
            <a:ext cx="438287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>
              <a:spcBef>
                <a:spcPts val="600"/>
              </a:spcBef>
            </a:pPr>
            <a:r>
              <a:rPr lang="en-US" dirty="0"/>
              <a:t>Technology maturity and reliability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E166289A-3ED8-0036-9036-6FFDC12469B2}"/>
              </a:ext>
            </a:extLst>
          </p:cNvPr>
          <p:cNvGrpSpPr/>
          <p:nvPr/>
        </p:nvGrpSpPr>
        <p:grpSpPr>
          <a:xfrm>
            <a:off x="6454735" y="4419031"/>
            <a:ext cx="542486" cy="440905"/>
            <a:chOff x="6460075" y="3604729"/>
            <a:chExt cx="804425" cy="653796"/>
          </a:xfrm>
        </p:grpSpPr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8667048B-1508-536B-005E-FB5168940831}"/>
                </a:ext>
              </a:extLst>
            </p:cNvPr>
            <p:cNvSpPr/>
            <p:nvPr/>
          </p:nvSpPr>
          <p:spPr>
            <a:xfrm>
              <a:off x="7060817" y="4117936"/>
              <a:ext cx="140589" cy="140589"/>
            </a:xfrm>
            <a:custGeom>
              <a:avLst/>
              <a:gdLst>
                <a:gd name="connsiteX0" fmla="*/ 70294 w 140589"/>
                <a:gd name="connsiteY0" fmla="*/ 140589 h 140589"/>
                <a:gd name="connsiteX1" fmla="*/ 0 w 140589"/>
                <a:gd name="connsiteY1" fmla="*/ 70295 h 140589"/>
                <a:gd name="connsiteX2" fmla="*/ 70294 w 140589"/>
                <a:gd name="connsiteY2" fmla="*/ 0 h 140589"/>
                <a:gd name="connsiteX3" fmla="*/ 140589 w 140589"/>
                <a:gd name="connsiteY3" fmla="*/ 70295 h 140589"/>
                <a:gd name="connsiteX4" fmla="*/ 70294 w 140589"/>
                <a:gd name="connsiteY4" fmla="*/ 140589 h 140589"/>
                <a:gd name="connsiteX5" fmla="*/ 70294 w 140589"/>
                <a:gd name="connsiteY5" fmla="*/ 18955 h 140589"/>
                <a:gd name="connsiteX6" fmla="*/ 19050 w 140589"/>
                <a:gd name="connsiteY6" fmla="*/ 70199 h 140589"/>
                <a:gd name="connsiteX7" fmla="*/ 70294 w 140589"/>
                <a:gd name="connsiteY7" fmla="*/ 121444 h 140589"/>
                <a:gd name="connsiteX8" fmla="*/ 121539 w 140589"/>
                <a:gd name="connsiteY8" fmla="*/ 70199 h 140589"/>
                <a:gd name="connsiteX9" fmla="*/ 70294 w 140589"/>
                <a:gd name="connsiteY9" fmla="*/ 18955 h 14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589" h="140589">
                  <a:moveTo>
                    <a:pt x="70294" y="140589"/>
                  </a:moveTo>
                  <a:cubicBezTo>
                    <a:pt x="31528" y="140589"/>
                    <a:pt x="0" y="109061"/>
                    <a:pt x="0" y="70295"/>
                  </a:cubicBezTo>
                  <a:cubicBezTo>
                    <a:pt x="0" y="31528"/>
                    <a:pt x="31528" y="0"/>
                    <a:pt x="70294" y="0"/>
                  </a:cubicBezTo>
                  <a:cubicBezTo>
                    <a:pt x="109061" y="0"/>
                    <a:pt x="140589" y="31528"/>
                    <a:pt x="140589" y="70295"/>
                  </a:cubicBezTo>
                  <a:cubicBezTo>
                    <a:pt x="140589" y="109061"/>
                    <a:pt x="109061" y="140589"/>
                    <a:pt x="70294" y="140589"/>
                  </a:cubicBezTo>
                  <a:close/>
                  <a:moveTo>
                    <a:pt x="70294" y="18955"/>
                  </a:moveTo>
                  <a:cubicBezTo>
                    <a:pt x="42005" y="18955"/>
                    <a:pt x="19050" y="42005"/>
                    <a:pt x="19050" y="70199"/>
                  </a:cubicBezTo>
                  <a:cubicBezTo>
                    <a:pt x="19050" y="98393"/>
                    <a:pt x="42100" y="121444"/>
                    <a:pt x="70294" y="121444"/>
                  </a:cubicBezTo>
                  <a:cubicBezTo>
                    <a:pt x="98488" y="121444"/>
                    <a:pt x="121539" y="98393"/>
                    <a:pt x="121539" y="70199"/>
                  </a:cubicBezTo>
                  <a:cubicBezTo>
                    <a:pt x="121539" y="42005"/>
                    <a:pt x="98488" y="18955"/>
                    <a:pt x="70294" y="18955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F3972D73-62DC-11A8-703D-31C82586D139}"/>
                </a:ext>
              </a:extLst>
            </p:cNvPr>
            <p:cNvSpPr/>
            <p:nvPr/>
          </p:nvSpPr>
          <p:spPr>
            <a:xfrm>
              <a:off x="6730014" y="4117936"/>
              <a:ext cx="140588" cy="140589"/>
            </a:xfrm>
            <a:custGeom>
              <a:avLst/>
              <a:gdLst>
                <a:gd name="connsiteX0" fmla="*/ 70294 w 140588"/>
                <a:gd name="connsiteY0" fmla="*/ 140589 h 140589"/>
                <a:gd name="connsiteX1" fmla="*/ 0 w 140588"/>
                <a:gd name="connsiteY1" fmla="*/ 70295 h 140589"/>
                <a:gd name="connsiteX2" fmla="*/ 70294 w 140588"/>
                <a:gd name="connsiteY2" fmla="*/ 0 h 140589"/>
                <a:gd name="connsiteX3" fmla="*/ 140589 w 140588"/>
                <a:gd name="connsiteY3" fmla="*/ 70295 h 140589"/>
                <a:gd name="connsiteX4" fmla="*/ 70294 w 140588"/>
                <a:gd name="connsiteY4" fmla="*/ 140589 h 140589"/>
                <a:gd name="connsiteX5" fmla="*/ 70294 w 140588"/>
                <a:gd name="connsiteY5" fmla="*/ 18955 h 140589"/>
                <a:gd name="connsiteX6" fmla="*/ 19050 w 140588"/>
                <a:gd name="connsiteY6" fmla="*/ 70199 h 140589"/>
                <a:gd name="connsiteX7" fmla="*/ 70294 w 140588"/>
                <a:gd name="connsiteY7" fmla="*/ 121444 h 140589"/>
                <a:gd name="connsiteX8" fmla="*/ 121539 w 140588"/>
                <a:gd name="connsiteY8" fmla="*/ 70199 h 140589"/>
                <a:gd name="connsiteX9" fmla="*/ 70294 w 140588"/>
                <a:gd name="connsiteY9" fmla="*/ 18955 h 14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588" h="140589">
                  <a:moveTo>
                    <a:pt x="70294" y="140589"/>
                  </a:moveTo>
                  <a:cubicBezTo>
                    <a:pt x="31528" y="140589"/>
                    <a:pt x="0" y="109061"/>
                    <a:pt x="0" y="70295"/>
                  </a:cubicBezTo>
                  <a:cubicBezTo>
                    <a:pt x="0" y="31528"/>
                    <a:pt x="31528" y="0"/>
                    <a:pt x="70294" y="0"/>
                  </a:cubicBezTo>
                  <a:cubicBezTo>
                    <a:pt x="109061" y="0"/>
                    <a:pt x="140589" y="31528"/>
                    <a:pt x="140589" y="70295"/>
                  </a:cubicBezTo>
                  <a:cubicBezTo>
                    <a:pt x="140589" y="109061"/>
                    <a:pt x="109061" y="140589"/>
                    <a:pt x="70294" y="140589"/>
                  </a:cubicBezTo>
                  <a:close/>
                  <a:moveTo>
                    <a:pt x="70294" y="18955"/>
                  </a:moveTo>
                  <a:cubicBezTo>
                    <a:pt x="42005" y="18955"/>
                    <a:pt x="19050" y="42005"/>
                    <a:pt x="19050" y="70199"/>
                  </a:cubicBezTo>
                  <a:cubicBezTo>
                    <a:pt x="19050" y="98393"/>
                    <a:pt x="42100" y="121444"/>
                    <a:pt x="70294" y="121444"/>
                  </a:cubicBezTo>
                  <a:cubicBezTo>
                    <a:pt x="98489" y="121444"/>
                    <a:pt x="121539" y="98393"/>
                    <a:pt x="121539" y="70199"/>
                  </a:cubicBezTo>
                  <a:cubicBezTo>
                    <a:pt x="121539" y="42005"/>
                    <a:pt x="98489" y="18955"/>
                    <a:pt x="70294" y="18955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10B9E579-B1CD-2818-617D-B15DF4A0AF49}"/>
                </a:ext>
              </a:extLst>
            </p:cNvPr>
            <p:cNvSpPr/>
            <p:nvPr/>
          </p:nvSpPr>
          <p:spPr>
            <a:xfrm>
              <a:off x="6643131" y="3711116"/>
              <a:ext cx="621369" cy="301853"/>
            </a:xfrm>
            <a:custGeom>
              <a:avLst/>
              <a:gdLst>
                <a:gd name="connsiteX0" fmla="*/ 535796 w 621369"/>
                <a:gd name="connsiteY0" fmla="*/ 301854 h 301853"/>
                <a:gd name="connsiteX1" fmla="*/ 70880 w 621369"/>
                <a:gd name="connsiteY1" fmla="*/ 301854 h 301853"/>
                <a:gd name="connsiteX2" fmla="*/ 61355 w 621369"/>
                <a:gd name="connsiteY2" fmla="*/ 292329 h 301853"/>
                <a:gd name="connsiteX3" fmla="*/ 70880 w 621369"/>
                <a:gd name="connsiteY3" fmla="*/ 282804 h 301853"/>
                <a:gd name="connsiteX4" fmla="*/ 528747 w 621369"/>
                <a:gd name="connsiteY4" fmla="*/ 282804 h 301853"/>
                <a:gd name="connsiteX5" fmla="*/ 599232 w 621369"/>
                <a:gd name="connsiteY5" fmla="*/ 55442 h 301853"/>
                <a:gd name="connsiteX6" fmla="*/ 8968 w 621369"/>
                <a:gd name="connsiteY6" fmla="*/ 19057 h 301853"/>
                <a:gd name="connsiteX7" fmla="*/ 14 w 621369"/>
                <a:gd name="connsiteY7" fmla="*/ 8960 h 301853"/>
                <a:gd name="connsiteX8" fmla="*/ 10111 w 621369"/>
                <a:gd name="connsiteY8" fmla="*/ 7 h 301853"/>
                <a:gd name="connsiteX9" fmla="*/ 612472 w 621369"/>
                <a:gd name="connsiteY9" fmla="*/ 37154 h 301853"/>
                <a:gd name="connsiteX10" fmla="*/ 619711 w 621369"/>
                <a:gd name="connsiteY10" fmla="*/ 41250 h 301853"/>
                <a:gd name="connsiteX11" fmla="*/ 620949 w 621369"/>
                <a:gd name="connsiteY11" fmla="*/ 49441 h 301853"/>
                <a:gd name="connsiteX12" fmla="*/ 544844 w 621369"/>
                <a:gd name="connsiteY12" fmla="*/ 295091 h 301853"/>
                <a:gd name="connsiteX13" fmla="*/ 535700 w 621369"/>
                <a:gd name="connsiteY13" fmla="*/ 301759 h 301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1369" h="301853">
                  <a:moveTo>
                    <a:pt x="535796" y="301854"/>
                  </a:moveTo>
                  <a:lnTo>
                    <a:pt x="70880" y="301854"/>
                  </a:lnTo>
                  <a:cubicBezTo>
                    <a:pt x="65642" y="301854"/>
                    <a:pt x="61355" y="297568"/>
                    <a:pt x="61355" y="292329"/>
                  </a:cubicBezTo>
                  <a:cubicBezTo>
                    <a:pt x="61355" y="287090"/>
                    <a:pt x="65642" y="282804"/>
                    <a:pt x="70880" y="282804"/>
                  </a:cubicBezTo>
                  <a:lnTo>
                    <a:pt x="528747" y="282804"/>
                  </a:lnTo>
                  <a:lnTo>
                    <a:pt x="599232" y="55442"/>
                  </a:lnTo>
                  <a:lnTo>
                    <a:pt x="8968" y="19057"/>
                  </a:lnTo>
                  <a:cubicBezTo>
                    <a:pt x="3729" y="18771"/>
                    <a:pt x="-271" y="14199"/>
                    <a:pt x="14" y="8960"/>
                  </a:cubicBezTo>
                  <a:cubicBezTo>
                    <a:pt x="300" y="3721"/>
                    <a:pt x="5063" y="-184"/>
                    <a:pt x="10111" y="7"/>
                  </a:cubicBezTo>
                  <a:lnTo>
                    <a:pt x="612472" y="37154"/>
                  </a:lnTo>
                  <a:cubicBezTo>
                    <a:pt x="615425" y="37345"/>
                    <a:pt x="618092" y="38869"/>
                    <a:pt x="619711" y="41250"/>
                  </a:cubicBezTo>
                  <a:cubicBezTo>
                    <a:pt x="621330" y="43631"/>
                    <a:pt x="621806" y="46679"/>
                    <a:pt x="620949" y="49441"/>
                  </a:cubicBezTo>
                  <a:lnTo>
                    <a:pt x="544844" y="295091"/>
                  </a:lnTo>
                  <a:cubicBezTo>
                    <a:pt x="543606" y="299092"/>
                    <a:pt x="539891" y="301759"/>
                    <a:pt x="535700" y="30175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7563B4F4-A99D-0243-6809-8C86B81DDBC8}"/>
                </a:ext>
              </a:extLst>
            </p:cNvPr>
            <p:cNvSpPr/>
            <p:nvPr/>
          </p:nvSpPr>
          <p:spPr>
            <a:xfrm>
              <a:off x="6771465" y="3719122"/>
              <a:ext cx="52542" cy="293848"/>
            </a:xfrm>
            <a:custGeom>
              <a:avLst/>
              <a:gdLst>
                <a:gd name="connsiteX0" fmla="*/ 43035 w 52542"/>
                <a:gd name="connsiteY0" fmla="*/ 293848 h 293848"/>
                <a:gd name="connsiteX1" fmla="*/ 33605 w 52542"/>
                <a:gd name="connsiteY1" fmla="*/ 285466 h 293848"/>
                <a:gd name="connsiteX2" fmla="*/ 77 w 52542"/>
                <a:gd name="connsiteY2" fmla="*/ 10670 h 293848"/>
                <a:gd name="connsiteX3" fmla="*/ 8364 w 52542"/>
                <a:gd name="connsiteY3" fmla="*/ 97 h 293848"/>
                <a:gd name="connsiteX4" fmla="*/ 18937 w 52542"/>
                <a:gd name="connsiteY4" fmla="*/ 8384 h 293848"/>
                <a:gd name="connsiteX5" fmla="*/ 52465 w 52542"/>
                <a:gd name="connsiteY5" fmla="*/ 283180 h 293848"/>
                <a:gd name="connsiteX6" fmla="*/ 44178 w 52542"/>
                <a:gd name="connsiteY6" fmla="*/ 293753 h 293848"/>
                <a:gd name="connsiteX7" fmla="*/ 43035 w 52542"/>
                <a:gd name="connsiteY7" fmla="*/ 293753 h 293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542" h="293848">
                  <a:moveTo>
                    <a:pt x="43035" y="293848"/>
                  </a:moveTo>
                  <a:cubicBezTo>
                    <a:pt x="38273" y="293848"/>
                    <a:pt x="34177" y="290324"/>
                    <a:pt x="33605" y="285466"/>
                  </a:cubicBezTo>
                  <a:lnTo>
                    <a:pt x="77" y="10670"/>
                  </a:lnTo>
                  <a:cubicBezTo>
                    <a:pt x="-589" y="5431"/>
                    <a:pt x="3125" y="669"/>
                    <a:pt x="8364" y="97"/>
                  </a:cubicBezTo>
                  <a:cubicBezTo>
                    <a:pt x="13603" y="-665"/>
                    <a:pt x="18365" y="3145"/>
                    <a:pt x="18937" y="8384"/>
                  </a:cubicBezTo>
                  <a:lnTo>
                    <a:pt x="52465" y="283180"/>
                  </a:lnTo>
                  <a:cubicBezTo>
                    <a:pt x="53132" y="288419"/>
                    <a:pt x="49417" y="293181"/>
                    <a:pt x="44178" y="293753"/>
                  </a:cubicBezTo>
                  <a:cubicBezTo>
                    <a:pt x="43797" y="293753"/>
                    <a:pt x="43416" y="293753"/>
                    <a:pt x="43035" y="29375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D9010C66-1F29-990E-AE3B-283B270E5EB4}"/>
                </a:ext>
              </a:extLst>
            </p:cNvPr>
            <p:cNvSpPr/>
            <p:nvPr/>
          </p:nvSpPr>
          <p:spPr>
            <a:xfrm>
              <a:off x="6931848" y="3738745"/>
              <a:ext cx="19050" cy="261842"/>
            </a:xfrm>
            <a:custGeom>
              <a:avLst/>
              <a:gdLst>
                <a:gd name="connsiteX0" fmla="*/ 9525 w 19050"/>
                <a:gd name="connsiteY0" fmla="*/ 261842 h 261842"/>
                <a:gd name="connsiteX1" fmla="*/ 0 w 19050"/>
                <a:gd name="connsiteY1" fmla="*/ 252317 h 261842"/>
                <a:gd name="connsiteX2" fmla="*/ 0 w 19050"/>
                <a:gd name="connsiteY2" fmla="*/ 9525 h 261842"/>
                <a:gd name="connsiteX3" fmla="*/ 9525 w 19050"/>
                <a:gd name="connsiteY3" fmla="*/ 0 h 261842"/>
                <a:gd name="connsiteX4" fmla="*/ 19050 w 19050"/>
                <a:gd name="connsiteY4" fmla="*/ 9525 h 261842"/>
                <a:gd name="connsiteX5" fmla="*/ 19050 w 19050"/>
                <a:gd name="connsiteY5" fmla="*/ 252317 h 261842"/>
                <a:gd name="connsiteX6" fmla="*/ 9525 w 19050"/>
                <a:gd name="connsiteY6" fmla="*/ 261842 h 261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50" h="261842">
                  <a:moveTo>
                    <a:pt x="9525" y="261842"/>
                  </a:moveTo>
                  <a:cubicBezTo>
                    <a:pt x="4286" y="261842"/>
                    <a:pt x="0" y="257556"/>
                    <a:pt x="0" y="252317"/>
                  </a:cubicBezTo>
                  <a:lnTo>
                    <a:pt x="0" y="9525"/>
                  </a:lnTo>
                  <a:cubicBezTo>
                    <a:pt x="0" y="4286"/>
                    <a:pt x="4286" y="0"/>
                    <a:pt x="9525" y="0"/>
                  </a:cubicBezTo>
                  <a:cubicBezTo>
                    <a:pt x="14764" y="0"/>
                    <a:pt x="19050" y="4286"/>
                    <a:pt x="19050" y="9525"/>
                  </a:cubicBezTo>
                  <a:lnTo>
                    <a:pt x="19050" y="252317"/>
                  </a:lnTo>
                  <a:cubicBezTo>
                    <a:pt x="19050" y="257556"/>
                    <a:pt x="14764" y="261842"/>
                    <a:pt x="9525" y="26184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8D9C4744-E637-47D3-1668-1DD8BC46228B}"/>
                </a:ext>
              </a:extLst>
            </p:cNvPr>
            <p:cNvSpPr/>
            <p:nvPr/>
          </p:nvSpPr>
          <p:spPr>
            <a:xfrm>
              <a:off x="7051022" y="3748572"/>
              <a:ext cx="51021" cy="261635"/>
            </a:xfrm>
            <a:custGeom>
              <a:avLst/>
              <a:gdLst>
                <a:gd name="connsiteX0" fmla="*/ 9509 w 51021"/>
                <a:gd name="connsiteY0" fmla="*/ 261540 h 261635"/>
                <a:gd name="connsiteX1" fmla="*/ 8271 w 51021"/>
                <a:gd name="connsiteY1" fmla="*/ 261540 h 261635"/>
                <a:gd name="connsiteX2" fmla="*/ 79 w 51021"/>
                <a:gd name="connsiteY2" fmla="*/ 250872 h 261635"/>
                <a:gd name="connsiteX3" fmla="*/ 32083 w 51021"/>
                <a:gd name="connsiteY3" fmla="*/ 8271 h 261635"/>
                <a:gd name="connsiteX4" fmla="*/ 42751 w 51021"/>
                <a:gd name="connsiteY4" fmla="*/ 79 h 261635"/>
                <a:gd name="connsiteX5" fmla="*/ 50943 w 51021"/>
                <a:gd name="connsiteY5" fmla="*/ 10747 h 261635"/>
                <a:gd name="connsiteX6" fmla="*/ 18939 w 51021"/>
                <a:gd name="connsiteY6" fmla="*/ 253349 h 261635"/>
                <a:gd name="connsiteX7" fmla="*/ 9509 w 51021"/>
                <a:gd name="connsiteY7" fmla="*/ 261636 h 261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021" h="261635">
                  <a:moveTo>
                    <a:pt x="9509" y="261540"/>
                  </a:moveTo>
                  <a:cubicBezTo>
                    <a:pt x="9509" y="261540"/>
                    <a:pt x="8652" y="261540"/>
                    <a:pt x="8271" y="261540"/>
                  </a:cubicBezTo>
                  <a:cubicBezTo>
                    <a:pt x="3032" y="260874"/>
                    <a:pt x="-588" y="256111"/>
                    <a:pt x="79" y="250872"/>
                  </a:cubicBezTo>
                  <a:lnTo>
                    <a:pt x="32083" y="8271"/>
                  </a:lnTo>
                  <a:cubicBezTo>
                    <a:pt x="32750" y="3032"/>
                    <a:pt x="37417" y="-588"/>
                    <a:pt x="42751" y="79"/>
                  </a:cubicBezTo>
                  <a:cubicBezTo>
                    <a:pt x="47990" y="746"/>
                    <a:pt x="51609" y="5508"/>
                    <a:pt x="50943" y="10747"/>
                  </a:cubicBezTo>
                  <a:lnTo>
                    <a:pt x="18939" y="253349"/>
                  </a:lnTo>
                  <a:cubicBezTo>
                    <a:pt x="18272" y="258111"/>
                    <a:pt x="14176" y="261636"/>
                    <a:pt x="9509" y="261636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61605B2C-EF3C-9B6D-EC92-1BC19D2404AD}"/>
                </a:ext>
              </a:extLst>
            </p:cNvPr>
            <p:cNvSpPr/>
            <p:nvPr/>
          </p:nvSpPr>
          <p:spPr>
            <a:xfrm>
              <a:off x="6683817" y="3856475"/>
              <a:ext cx="539305" cy="19050"/>
            </a:xfrm>
            <a:custGeom>
              <a:avLst/>
              <a:gdLst>
                <a:gd name="connsiteX0" fmla="*/ 529781 w 539305"/>
                <a:gd name="connsiteY0" fmla="*/ 19050 h 19050"/>
                <a:gd name="connsiteX1" fmla="*/ 9525 w 539305"/>
                <a:gd name="connsiteY1" fmla="*/ 19050 h 19050"/>
                <a:gd name="connsiteX2" fmla="*/ 0 w 539305"/>
                <a:gd name="connsiteY2" fmla="*/ 9525 h 19050"/>
                <a:gd name="connsiteX3" fmla="*/ 9525 w 539305"/>
                <a:gd name="connsiteY3" fmla="*/ 0 h 19050"/>
                <a:gd name="connsiteX4" fmla="*/ 529781 w 539305"/>
                <a:gd name="connsiteY4" fmla="*/ 0 h 19050"/>
                <a:gd name="connsiteX5" fmla="*/ 539306 w 539305"/>
                <a:gd name="connsiteY5" fmla="*/ 9525 h 19050"/>
                <a:gd name="connsiteX6" fmla="*/ 529781 w 539305"/>
                <a:gd name="connsiteY6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9305" h="19050">
                  <a:moveTo>
                    <a:pt x="529781" y="19050"/>
                  </a:moveTo>
                  <a:lnTo>
                    <a:pt x="9525" y="19050"/>
                  </a:lnTo>
                  <a:cubicBezTo>
                    <a:pt x="4286" y="19050"/>
                    <a:pt x="0" y="14764"/>
                    <a:pt x="0" y="9525"/>
                  </a:cubicBezTo>
                  <a:cubicBezTo>
                    <a:pt x="0" y="4286"/>
                    <a:pt x="4286" y="0"/>
                    <a:pt x="9525" y="0"/>
                  </a:cubicBezTo>
                  <a:lnTo>
                    <a:pt x="529781" y="0"/>
                  </a:lnTo>
                  <a:cubicBezTo>
                    <a:pt x="535019" y="0"/>
                    <a:pt x="539306" y="4286"/>
                    <a:pt x="539306" y="9525"/>
                  </a:cubicBezTo>
                  <a:cubicBezTo>
                    <a:pt x="539306" y="14764"/>
                    <a:pt x="535019" y="19050"/>
                    <a:pt x="529781" y="1905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64241C5F-F38A-F023-A465-4C2542101D94}"/>
                </a:ext>
              </a:extLst>
            </p:cNvPr>
            <p:cNvSpPr/>
            <p:nvPr/>
          </p:nvSpPr>
          <p:spPr>
            <a:xfrm>
              <a:off x="6637240" y="3688454"/>
              <a:ext cx="503396" cy="448532"/>
            </a:xfrm>
            <a:custGeom>
              <a:avLst/>
              <a:gdLst>
                <a:gd name="connsiteX0" fmla="*/ 493871 w 503396"/>
                <a:gd name="connsiteY0" fmla="*/ 429482 h 448532"/>
                <a:gd name="connsiteX1" fmla="*/ 165164 w 503396"/>
                <a:gd name="connsiteY1" fmla="*/ 429482 h 448532"/>
                <a:gd name="connsiteX2" fmla="*/ 90964 w 503396"/>
                <a:gd name="connsiteY2" fmla="*/ 368332 h 448532"/>
                <a:gd name="connsiteX3" fmla="*/ 18955 w 503396"/>
                <a:gd name="connsiteY3" fmla="*/ 0 h 448532"/>
                <a:gd name="connsiteX4" fmla="*/ 0 w 503396"/>
                <a:gd name="connsiteY4" fmla="*/ 2572 h 448532"/>
                <a:gd name="connsiteX5" fmla="*/ 72200 w 503396"/>
                <a:gd name="connsiteY5" fmla="*/ 371951 h 448532"/>
                <a:gd name="connsiteX6" fmla="*/ 165164 w 503396"/>
                <a:gd name="connsiteY6" fmla="*/ 448532 h 448532"/>
                <a:gd name="connsiteX7" fmla="*/ 493871 w 503396"/>
                <a:gd name="connsiteY7" fmla="*/ 448532 h 448532"/>
                <a:gd name="connsiteX8" fmla="*/ 503396 w 503396"/>
                <a:gd name="connsiteY8" fmla="*/ 439007 h 448532"/>
                <a:gd name="connsiteX9" fmla="*/ 493871 w 503396"/>
                <a:gd name="connsiteY9" fmla="*/ 429482 h 44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3396" h="448532">
                  <a:moveTo>
                    <a:pt x="493871" y="429482"/>
                  </a:moveTo>
                  <a:lnTo>
                    <a:pt x="165164" y="429482"/>
                  </a:lnTo>
                  <a:cubicBezTo>
                    <a:pt x="129064" y="429482"/>
                    <a:pt x="97822" y="403765"/>
                    <a:pt x="90964" y="368332"/>
                  </a:cubicBezTo>
                  <a:lnTo>
                    <a:pt x="18955" y="0"/>
                  </a:lnTo>
                  <a:lnTo>
                    <a:pt x="0" y="2572"/>
                  </a:lnTo>
                  <a:lnTo>
                    <a:pt x="72200" y="371951"/>
                  </a:lnTo>
                  <a:cubicBezTo>
                    <a:pt x="80867" y="416338"/>
                    <a:pt x="119920" y="448532"/>
                    <a:pt x="165164" y="448532"/>
                  </a:cubicBezTo>
                  <a:lnTo>
                    <a:pt x="493871" y="448532"/>
                  </a:lnTo>
                  <a:cubicBezTo>
                    <a:pt x="499110" y="448532"/>
                    <a:pt x="503396" y="444246"/>
                    <a:pt x="503396" y="439007"/>
                  </a:cubicBezTo>
                  <a:cubicBezTo>
                    <a:pt x="503396" y="433769"/>
                    <a:pt x="499110" y="429482"/>
                    <a:pt x="493871" y="42948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07092884-66B9-E306-68DD-A5EEF62D5F50}"/>
                </a:ext>
              </a:extLst>
            </p:cNvPr>
            <p:cNvSpPr/>
            <p:nvPr/>
          </p:nvSpPr>
          <p:spPr>
            <a:xfrm>
              <a:off x="6460075" y="3604729"/>
              <a:ext cx="192023" cy="65341"/>
            </a:xfrm>
            <a:custGeom>
              <a:avLst/>
              <a:gdLst>
                <a:gd name="connsiteX0" fmla="*/ 165735 w 192023"/>
                <a:gd name="connsiteY0" fmla="*/ 27623 h 65341"/>
                <a:gd name="connsiteX1" fmla="*/ 173069 w 192023"/>
                <a:gd name="connsiteY1" fmla="*/ 65342 h 65341"/>
                <a:gd name="connsiteX2" fmla="*/ 192024 w 192023"/>
                <a:gd name="connsiteY2" fmla="*/ 62770 h 65341"/>
                <a:gd name="connsiteX3" fmla="*/ 184404 w 192023"/>
                <a:gd name="connsiteY3" fmla="*/ 23908 h 65341"/>
                <a:gd name="connsiteX4" fmla="*/ 155353 w 192023"/>
                <a:gd name="connsiteY4" fmla="*/ 0 h 65341"/>
                <a:gd name="connsiteX5" fmla="*/ 9525 w 192023"/>
                <a:gd name="connsiteY5" fmla="*/ 0 h 65341"/>
                <a:gd name="connsiteX6" fmla="*/ 0 w 192023"/>
                <a:gd name="connsiteY6" fmla="*/ 9525 h 65341"/>
                <a:gd name="connsiteX7" fmla="*/ 9525 w 192023"/>
                <a:gd name="connsiteY7" fmla="*/ 19050 h 65341"/>
                <a:gd name="connsiteX8" fmla="*/ 155353 w 192023"/>
                <a:gd name="connsiteY8" fmla="*/ 19050 h 65341"/>
                <a:gd name="connsiteX9" fmla="*/ 165735 w 192023"/>
                <a:gd name="connsiteY9" fmla="*/ 27623 h 65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2023" h="65341">
                  <a:moveTo>
                    <a:pt x="165735" y="27623"/>
                  </a:moveTo>
                  <a:lnTo>
                    <a:pt x="173069" y="65342"/>
                  </a:lnTo>
                  <a:lnTo>
                    <a:pt x="192024" y="62770"/>
                  </a:lnTo>
                  <a:lnTo>
                    <a:pt x="184404" y="23908"/>
                  </a:lnTo>
                  <a:cubicBezTo>
                    <a:pt x="181737" y="10001"/>
                    <a:pt x="169450" y="0"/>
                    <a:pt x="155353" y="0"/>
                  </a:cubicBezTo>
                  <a:lnTo>
                    <a:pt x="9525" y="0"/>
                  </a:lnTo>
                  <a:cubicBezTo>
                    <a:pt x="4286" y="0"/>
                    <a:pt x="0" y="4286"/>
                    <a:pt x="0" y="9525"/>
                  </a:cubicBezTo>
                  <a:cubicBezTo>
                    <a:pt x="0" y="14764"/>
                    <a:pt x="4286" y="19050"/>
                    <a:pt x="9525" y="19050"/>
                  </a:cubicBezTo>
                  <a:lnTo>
                    <a:pt x="155353" y="19050"/>
                  </a:lnTo>
                  <a:cubicBezTo>
                    <a:pt x="160401" y="19050"/>
                    <a:pt x="164783" y="22670"/>
                    <a:pt x="165735" y="2762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" name="TextBox1167131128">
            <a:extLst>
              <a:ext uri="{FF2B5EF4-FFF2-40B4-BE49-F238E27FC236}">
                <a16:creationId xmlns:a16="http://schemas.microsoft.com/office/drawing/2014/main" id="{07EFCBDA-0167-7788-BACA-8B00670A2299}"/>
              </a:ext>
            </a:extLst>
          </p:cNvPr>
          <p:cNvSpPr txBox="1"/>
          <p:nvPr/>
        </p:nvSpPr>
        <p:spPr>
          <a:xfrm>
            <a:off x="1396620" y="3452534"/>
            <a:ext cx="450188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>
              <a:spcBef>
                <a:spcPts val="600"/>
              </a:spcBef>
            </a:pPr>
            <a:r>
              <a:rPr lang="en-US" dirty="0"/>
              <a:t>Low commercial vehicle </a:t>
            </a:r>
            <a:r>
              <a:rPr lang="en-US" dirty="0" err="1"/>
              <a:t>xEVs</a:t>
            </a:r>
            <a:r>
              <a:rPr lang="en-US" dirty="0"/>
              <a:t> sales volumes</a:t>
            </a: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0A723B10-6CCE-61E7-D5C2-79C027BB68B7}"/>
              </a:ext>
            </a:extLst>
          </p:cNvPr>
          <p:cNvGrpSpPr/>
          <p:nvPr/>
        </p:nvGrpSpPr>
        <p:grpSpPr>
          <a:xfrm>
            <a:off x="771300" y="3326233"/>
            <a:ext cx="494947" cy="468046"/>
            <a:chOff x="-800059" y="2837167"/>
            <a:chExt cx="1068787" cy="1010698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55D0C749-C947-BD89-B1C3-B5DC30342BB4}"/>
                </a:ext>
              </a:extLst>
            </p:cNvPr>
            <p:cNvSpPr/>
            <p:nvPr/>
          </p:nvSpPr>
          <p:spPr>
            <a:xfrm>
              <a:off x="-370400" y="2982519"/>
              <a:ext cx="578262" cy="529399"/>
            </a:xfrm>
            <a:custGeom>
              <a:avLst/>
              <a:gdLst>
                <a:gd name="connsiteX0" fmla="*/ 578263 w 578262"/>
                <a:gd name="connsiteY0" fmla="*/ 529400 h 529399"/>
                <a:gd name="connsiteX1" fmla="*/ 0 w 578262"/>
                <a:gd name="connsiteY1" fmla="*/ 529400 h 529399"/>
                <a:gd name="connsiteX2" fmla="*/ 0 w 578262"/>
                <a:gd name="connsiteY2" fmla="*/ 178975 h 529399"/>
                <a:gd name="connsiteX3" fmla="*/ 11906 w 578262"/>
                <a:gd name="connsiteY3" fmla="*/ 167069 h 529399"/>
                <a:gd name="connsiteX4" fmla="*/ 23813 w 578262"/>
                <a:gd name="connsiteY4" fmla="*/ 178975 h 529399"/>
                <a:gd name="connsiteX5" fmla="*/ 23813 w 578262"/>
                <a:gd name="connsiteY5" fmla="*/ 505587 h 529399"/>
                <a:gd name="connsiteX6" fmla="*/ 554450 w 578262"/>
                <a:gd name="connsiteY6" fmla="*/ 505587 h 529399"/>
                <a:gd name="connsiteX7" fmla="*/ 554450 w 578262"/>
                <a:gd name="connsiteY7" fmla="*/ 23813 h 529399"/>
                <a:gd name="connsiteX8" fmla="*/ 23813 w 578262"/>
                <a:gd name="connsiteY8" fmla="*/ 23813 h 529399"/>
                <a:gd name="connsiteX9" fmla="*/ 23813 w 578262"/>
                <a:gd name="connsiteY9" fmla="*/ 95631 h 529399"/>
                <a:gd name="connsiteX10" fmla="*/ 11906 w 578262"/>
                <a:gd name="connsiteY10" fmla="*/ 107537 h 529399"/>
                <a:gd name="connsiteX11" fmla="*/ 0 w 578262"/>
                <a:gd name="connsiteY11" fmla="*/ 95631 h 529399"/>
                <a:gd name="connsiteX12" fmla="*/ 0 w 578262"/>
                <a:gd name="connsiteY12" fmla="*/ 0 h 529399"/>
                <a:gd name="connsiteX13" fmla="*/ 578263 w 578262"/>
                <a:gd name="connsiteY13" fmla="*/ 0 h 529399"/>
                <a:gd name="connsiteX14" fmla="*/ 578263 w 578262"/>
                <a:gd name="connsiteY14" fmla="*/ 529400 h 529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8262" h="529399">
                  <a:moveTo>
                    <a:pt x="578263" y="529400"/>
                  </a:moveTo>
                  <a:lnTo>
                    <a:pt x="0" y="529400"/>
                  </a:lnTo>
                  <a:lnTo>
                    <a:pt x="0" y="178975"/>
                  </a:lnTo>
                  <a:cubicBezTo>
                    <a:pt x="0" y="172402"/>
                    <a:pt x="5334" y="167069"/>
                    <a:pt x="11906" y="167069"/>
                  </a:cubicBezTo>
                  <a:cubicBezTo>
                    <a:pt x="18479" y="167069"/>
                    <a:pt x="23813" y="172402"/>
                    <a:pt x="23813" y="178975"/>
                  </a:cubicBezTo>
                  <a:lnTo>
                    <a:pt x="23813" y="505587"/>
                  </a:lnTo>
                  <a:lnTo>
                    <a:pt x="554450" y="505587"/>
                  </a:lnTo>
                  <a:lnTo>
                    <a:pt x="554450" y="23813"/>
                  </a:lnTo>
                  <a:lnTo>
                    <a:pt x="23813" y="23813"/>
                  </a:lnTo>
                  <a:lnTo>
                    <a:pt x="23813" y="95631"/>
                  </a:lnTo>
                  <a:cubicBezTo>
                    <a:pt x="23813" y="102203"/>
                    <a:pt x="18479" y="107537"/>
                    <a:pt x="11906" y="107537"/>
                  </a:cubicBezTo>
                  <a:cubicBezTo>
                    <a:pt x="5334" y="107537"/>
                    <a:pt x="0" y="102203"/>
                    <a:pt x="0" y="95631"/>
                  </a:cubicBezTo>
                  <a:lnTo>
                    <a:pt x="0" y="0"/>
                  </a:lnTo>
                  <a:lnTo>
                    <a:pt x="578263" y="0"/>
                  </a:lnTo>
                  <a:lnTo>
                    <a:pt x="578263" y="5294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46CC4D1E-8920-2249-AB5F-0C4B7DF2103C}"/>
                </a:ext>
              </a:extLst>
            </p:cNvPr>
            <p:cNvSpPr/>
            <p:nvPr/>
          </p:nvSpPr>
          <p:spPr>
            <a:xfrm>
              <a:off x="-430121" y="2982424"/>
              <a:ext cx="698849" cy="23812"/>
            </a:xfrm>
            <a:custGeom>
              <a:avLst/>
              <a:gdLst>
                <a:gd name="connsiteX0" fmla="*/ 686943 w 698849"/>
                <a:gd name="connsiteY0" fmla="*/ 23813 h 23812"/>
                <a:gd name="connsiteX1" fmla="*/ 11906 w 698849"/>
                <a:gd name="connsiteY1" fmla="*/ 23813 h 23812"/>
                <a:gd name="connsiteX2" fmla="*/ 0 w 698849"/>
                <a:gd name="connsiteY2" fmla="*/ 11906 h 23812"/>
                <a:gd name="connsiteX3" fmla="*/ 11906 w 698849"/>
                <a:gd name="connsiteY3" fmla="*/ 0 h 23812"/>
                <a:gd name="connsiteX4" fmla="*/ 686943 w 698849"/>
                <a:gd name="connsiteY4" fmla="*/ 0 h 23812"/>
                <a:gd name="connsiteX5" fmla="*/ 698849 w 698849"/>
                <a:gd name="connsiteY5" fmla="*/ 11906 h 23812"/>
                <a:gd name="connsiteX6" fmla="*/ 686943 w 698849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8849" h="23812">
                  <a:moveTo>
                    <a:pt x="686943" y="23813"/>
                  </a:moveTo>
                  <a:lnTo>
                    <a:pt x="11906" y="23813"/>
                  </a:lnTo>
                  <a:cubicBezTo>
                    <a:pt x="5334" y="23813"/>
                    <a:pt x="0" y="18478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686943" y="0"/>
                  </a:lnTo>
                  <a:cubicBezTo>
                    <a:pt x="693515" y="0"/>
                    <a:pt x="698849" y="5334"/>
                    <a:pt x="698849" y="11906"/>
                  </a:cubicBezTo>
                  <a:cubicBezTo>
                    <a:pt x="698849" y="18478"/>
                    <a:pt x="693515" y="23813"/>
                    <a:pt x="686943" y="238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B725EA40-E8FE-6B80-A5F3-98BD851EFEDD}"/>
                </a:ext>
              </a:extLst>
            </p:cNvPr>
            <p:cNvSpPr/>
            <p:nvPr/>
          </p:nvSpPr>
          <p:spPr>
            <a:xfrm>
              <a:off x="-93127" y="3488011"/>
              <a:ext cx="23812" cy="359663"/>
            </a:xfrm>
            <a:custGeom>
              <a:avLst/>
              <a:gdLst>
                <a:gd name="connsiteX0" fmla="*/ 11906 w 23812"/>
                <a:gd name="connsiteY0" fmla="*/ 359664 h 359663"/>
                <a:gd name="connsiteX1" fmla="*/ 0 w 23812"/>
                <a:gd name="connsiteY1" fmla="*/ 347758 h 359663"/>
                <a:gd name="connsiteX2" fmla="*/ 0 w 23812"/>
                <a:gd name="connsiteY2" fmla="*/ 11906 h 359663"/>
                <a:gd name="connsiteX3" fmla="*/ 11906 w 23812"/>
                <a:gd name="connsiteY3" fmla="*/ 0 h 359663"/>
                <a:gd name="connsiteX4" fmla="*/ 23813 w 23812"/>
                <a:gd name="connsiteY4" fmla="*/ 11906 h 359663"/>
                <a:gd name="connsiteX5" fmla="*/ 23813 w 23812"/>
                <a:gd name="connsiteY5" fmla="*/ 347758 h 359663"/>
                <a:gd name="connsiteX6" fmla="*/ 11906 w 23812"/>
                <a:gd name="connsiteY6" fmla="*/ 359664 h 359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359663">
                  <a:moveTo>
                    <a:pt x="11906" y="359664"/>
                  </a:moveTo>
                  <a:cubicBezTo>
                    <a:pt x="5334" y="359664"/>
                    <a:pt x="0" y="354330"/>
                    <a:pt x="0" y="347758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9" y="0"/>
                    <a:pt x="23813" y="5334"/>
                    <a:pt x="23813" y="11906"/>
                  </a:cubicBezTo>
                  <a:lnTo>
                    <a:pt x="23813" y="347758"/>
                  </a:lnTo>
                  <a:cubicBezTo>
                    <a:pt x="23813" y="354330"/>
                    <a:pt x="18479" y="359664"/>
                    <a:pt x="11906" y="35966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440AB8CD-4DC2-EE6E-265A-12F4D96302A6}"/>
                </a:ext>
              </a:extLst>
            </p:cNvPr>
            <p:cNvSpPr/>
            <p:nvPr/>
          </p:nvSpPr>
          <p:spPr>
            <a:xfrm>
              <a:off x="-295914" y="3823862"/>
              <a:ext cx="430815" cy="23812"/>
            </a:xfrm>
            <a:custGeom>
              <a:avLst/>
              <a:gdLst>
                <a:gd name="connsiteX0" fmla="*/ 418910 w 430815"/>
                <a:gd name="connsiteY0" fmla="*/ 23813 h 23812"/>
                <a:gd name="connsiteX1" fmla="*/ 11906 w 430815"/>
                <a:gd name="connsiteY1" fmla="*/ 23813 h 23812"/>
                <a:gd name="connsiteX2" fmla="*/ 0 w 430815"/>
                <a:gd name="connsiteY2" fmla="*/ 11906 h 23812"/>
                <a:gd name="connsiteX3" fmla="*/ 11906 w 430815"/>
                <a:gd name="connsiteY3" fmla="*/ 0 h 23812"/>
                <a:gd name="connsiteX4" fmla="*/ 418910 w 430815"/>
                <a:gd name="connsiteY4" fmla="*/ 0 h 23812"/>
                <a:gd name="connsiteX5" fmla="*/ 430816 w 430815"/>
                <a:gd name="connsiteY5" fmla="*/ 11906 h 23812"/>
                <a:gd name="connsiteX6" fmla="*/ 418910 w 430815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0815" h="23812">
                  <a:moveTo>
                    <a:pt x="418910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418910" y="0"/>
                  </a:lnTo>
                  <a:cubicBezTo>
                    <a:pt x="425482" y="0"/>
                    <a:pt x="430816" y="5334"/>
                    <a:pt x="430816" y="11906"/>
                  </a:cubicBezTo>
                  <a:cubicBezTo>
                    <a:pt x="430816" y="18479"/>
                    <a:pt x="425482" y="23813"/>
                    <a:pt x="418910" y="238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C1AD2E2-D537-3887-D6F7-030A75BD5C06}"/>
                </a:ext>
              </a:extLst>
            </p:cNvPr>
            <p:cNvSpPr/>
            <p:nvPr/>
          </p:nvSpPr>
          <p:spPr>
            <a:xfrm>
              <a:off x="-207419" y="3667652"/>
              <a:ext cx="245028" cy="180213"/>
            </a:xfrm>
            <a:custGeom>
              <a:avLst/>
              <a:gdLst>
                <a:gd name="connsiteX0" fmla="*/ 233165 w 245028"/>
                <a:gd name="connsiteY0" fmla="*/ 180023 h 180213"/>
                <a:gd name="connsiteX1" fmla="*/ 223544 w 245028"/>
                <a:gd name="connsiteY1" fmla="*/ 175070 h 180213"/>
                <a:gd name="connsiteX2" fmla="*/ 125913 w 245028"/>
                <a:gd name="connsiteY2" fmla="*/ 39719 h 180213"/>
                <a:gd name="connsiteX3" fmla="*/ 21329 w 245028"/>
                <a:gd name="connsiteY3" fmla="*/ 175451 h 180213"/>
                <a:gd name="connsiteX4" fmla="*/ 4660 w 245028"/>
                <a:gd name="connsiteY4" fmla="*/ 177641 h 180213"/>
                <a:gd name="connsiteX5" fmla="*/ 2469 w 245028"/>
                <a:gd name="connsiteY5" fmla="*/ 160973 h 180213"/>
                <a:gd name="connsiteX6" fmla="*/ 126485 w 245028"/>
                <a:gd name="connsiteY6" fmla="*/ 0 h 180213"/>
                <a:gd name="connsiteX7" fmla="*/ 242785 w 245028"/>
                <a:gd name="connsiteY7" fmla="*/ 161258 h 180213"/>
                <a:gd name="connsiteX8" fmla="*/ 240118 w 245028"/>
                <a:gd name="connsiteY8" fmla="*/ 177927 h 180213"/>
                <a:gd name="connsiteX9" fmla="*/ 233165 w 245028"/>
                <a:gd name="connsiteY9" fmla="*/ 180213 h 180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5028" h="180213">
                  <a:moveTo>
                    <a:pt x="233165" y="180023"/>
                  </a:moveTo>
                  <a:cubicBezTo>
                    <a:pt x="229450" y="180023"/>
                    <a:pt x="225830" y="178308"/>
                    <a:pt x="223544" y="175070"/>
                  </a:cubicBezTo>
                  <a:lnTo>
                    <a:pt x="125913" y="39719"/>
                  </a:lnTo>
                  <a:lnTo>
                    <a:pt x="21329" y="175451"/>
                  </a:lnTo>
                  <a:cubicBezTo>
                    <a:pt x="17328" y="180689"/>
                    <a:pt x="9803" y="181642"/>
                    <a:pt x="4660" y="177641"/>
                  </a:cubicBezTo>
                  <a:cubicBezTo>
                    <a:pt x="-579" y="173641"/>
                    <a:pt x="-1531" y="166116"/>
                    <a:pt x="2469" y="160973"/>
                  </a:cubicBezTo>
                  <a:lnTo>
                    <a:pt x="126485" y="0"/>
                  </a:lnTo>
                  <a:lnTo>
                    <a:pt x="242785" y="161258"/>
                  </a:lnTo>
                  <a:cubicBezTo>
                    <a:pt x="246595" y="166592"/>
                    <a:pt x="245452" y="174022"/>
                    <a:pt x="240118" y="177927"/>
                  </a:cubicBezTo>
                  <a:cubicBezTo>
                    <a:pt x="238022" y="179451"/>
                    <a:pt x="235546" y="180213"/>
                    <a:pt x="233165" y="1802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2E9DEEE4-91E7-2780-0676-FFC8AED236B8}"/>
                </a:ext>
              </a:extLst>
            </p:cNvPr>
            <p:cNvSpPr/>
            <p:nvPr/>
          </p:nvSpPr>
          <p:spPr>
            <a:xfrm>
              <a:off x="-694535" y="2837167"/>
              <a:ext cx="201167" cy="221360"/>
            </a:xfrm>
            <a:custGeom>
              <a:avLst/>
              <a:gdLst>
                <a:gd name="connsiteX0" fmla="*/ 100584 w 201167"/>
                <a:gd name="connsiteY0" fmla="*/ 221361 h 221360"/>
                <a:gd name="connsiteX1" fmla="*/ 0 w 201167"/>
                <a:gd name="connsiteY1" fmla="*/ 110681 h 221360"/>
                <a:gd name="connsiteX2" fmla="*/ 100584 w 201167"/>
                <a:gd name="connsiteY2" fmla="*/ 0 h 221360"/>
                <a:gd name="connsiteX3" fmla="*/ 201168 w 201167"/>
                <a:gd name="connsiteY3" fmla="*/ 110681 h 221360"/>
                <a:gd name="connsiteX4" fmla="*/ 100584 w 201167"/>
                <a:gd name="connsiteY4" fmla="*/ 221361 h 221360"/>
                <a:gd name="connsiteX5" fmla="*/ 100584 w 201167"/>
                <a:gd name="connsiteY5" fmla="*/ 23813 h 221360"/>
                <a:gd name="connsiteX6" fmla="*/ 23813 w 201167"/>
                <a:gd name="connsiteY6" fmla="*/ 110681 h 221360"/>
                <a:gd name="connsiteX7" fmla="*/ 100584 w 201167"/>
                <a:gd name="connsiteY7" fmla="*/ 197549 h 221360"/>
                <a:gd name="connsiteX8" fmla="*/ 177355 w 201167"/>
                <a:gd name="connsiteY8" fmla="*/ 110681 h 221360"/>
                <a:gd name="connsiteX9" fmla="*/ 100584 w 201167"/>
                <a:gd name="connsiteY9" fmla="*/ 23813 h 221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1167" h="221360">
                  <a:moveTo>
                    <a:pt x="100584" y="221361"/>
                  </a:moveTo>
                  <a:cubicBezTo>
                    <a:pt x="45148" y="221361"/>
                    <a:pt x="0" y="171736"/>
                    <a:pt x="0" y="110681"/>
                  </a:cubicBezTo>
                  <a:cubicBezTo>
                    <a:pt x="0" y="49625"/>
                    <a:pt x="45148" y="0"/>
                    <a:pt x="100584" y="0"/>
                  </a:cubicBezTo>
                  <a:cubicBezTo>
                    <a:pt x="156020" y="0"/>
                    <a:pt x="201168" y="49625"/>
                    <a:pt x="201168" y="110681"/>
                  </a:cubicBezTo>
                  <a:cubicBezTo>
                    <a:pt x="201168" y="171736"/>
                    <a:pt x="156020" y="221361"/>
                    <a:pt x="100584" y="221361"/>
                  </a:cubicBezTo>
                  <a:close/>
                  <a:moveTo>
                    <a:pt x="100584" y="23813"/>
                  </a:moveTo>
                  <a:cubicBezTo>
                    <a:pt x="58293" y="23813"/>
                    <a:pt x="23813" y="62770"/>
                    <a:pt x="23813" y="110681"/>
                  </a:cubicBezTo>
                  <a:cubicBezTo>
                    <a:pt x="23813" y="158591"/>
                    <a:pt x="58293" y="197549"/>
                    <a:pt x="100584" y="197549"/>
                  </a:cubicBezTo>
                  <a:cubicBezTo>
                    <a:pt x="142875" y="197549"/>
                    <a:pt x="177355" y="158591"/>
                    <a:pt x="177355" y="110681"/>
                  </a:cubicBezTo>
                  <a:cubicBezTo>
                    <a:pt x="177355" y="62770"/>
                    <a:pt x="142875" y="23813"/>
                    <a:pt x="100584" y="238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CA82151A-A7ED-BF53-8727-8A7CAE0A7D2D}"/>
                </a:ext>
              </a:extLst>
            </p:cNvPr>
            <p:cNvSpPr/>
            <p:nvPr/>
          </p:nvSpPr>
          <p:spPr>
            <a:xfrm>
              <a:off x="-706060" y="3437147"/>
              <a:ext cx="124015" cy="410527"/>
            </a:xfrm>
            <a:custGeom>
              <a:avLst/>
              <a:gdLst>
                <a:gd name="connsiteX0" fmla="*/ 62008 w 124015"/>
                <a:gd name="connsiteY0" fmla="*/ 410528 h 410527"/>
                <a:gd name="connsiteX1" fmla="*/ 0 w 124015"/>
                <a:gd name="connsiteY1" fmla="*/ 348520 h 410527"/>
                <a:gd name="connsiteX2" fmla="*/ 0 w 124015"/>
                <a:gd name="connsiteY2" fmla="*/ 11906 h 410527"/>
                <a:gd name="connsiteX3" fmla="*/ 11906 w 124015"/>
                <a:gd name="connsiteY3" fmla="*/ 0 h 410527"/>
                <a:gd name="connsiteX4" fmla="*/ 23813 w 124015"/>
                <a:gd name="connsiteY4" fmla="*/ 11906 h 410527"/>
                <a:gd name="connsiteX5" fmla="*/ 23813 w 124015"/>
                <a:gd name="connsiteY5" fmla="*/ 348520 h 410527"/>
                <a:gd name="connsiteX6" fmla="*/ 62008 w 124015"/>
                <a:gd name="connsiteY6" fmla="*/ 386715 h 410527"/>
                <a:gd name="connsiteX7" fmla="*/ 100203 w 124015"/>
                <a:gd name="connsiteY7" fmla="*/ 348520 h 410527"/>
                <a:gd name="connsiteX8" fmla="*/ 100203 w 124015"/>
                <a:gd name="connsiteY8" fmla="*/ 11906 h 410527"/>
                <a:gd name="connsiteX9" fmla="*/ 112109 w 124015"/>
                <a:gd name="connsiteY9" fmla="*/ 0 h 410527"/>
                <a:gd name="connsiteX10" fmla="*/ 124016 w 124015"/>
                <a:gd name="connsiteY10" fmla="*/ 11906 h 410527"/>
                <a:gd name="connsiteX11" fmla="*/ 124016 w 124015"/>
                <a:gd name="connsiteY11" fmla="*/ 348520 h 410527"/>
                <a:gd name="connsiteX12" fmla="*/ 62008 w 124015"/>
                <a:gd name="connsiteY12" fmla="*/ 410528 h 410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4015" h="410527">
                  <a:moveTo>
                    <a:pt x="62008" y="410528"/>
                  </a:moveTo>
                  <a:cubicBezTo>
                    <a:pt x="27813" y="410528"/>
                    <a:pt x="0" y="382715"/>
                    <a:pt x="0" y="348520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8" y="0"/>
                    <a:pt x="23813" y="5334"/>
                    <a:pt x="23813" y="11906"/>
                  </a:cubicBezTo>
                  <a:lnTo>
                    <a:pt x="23813" y="348520"/>
                  </a:lnTo>
                  <a:cubicBezTo>
                    <a:pt x="23813" y="369570"/>
                    <a:pt x="40957" y="386715"/>
                    <a:pt x="62008" y="386715"/>
                  </a:cubicBezTo>
                  <a:cubicBezTo>
                    <a:pt x="83058" y="386715"/>
                    <a:pt x="100203" y="369570"/>
                    <a:pt x="100203" y="348520"/>
                  </a:cubicBezTo>
                  <a:lnTo>
                    <a:pt x="100203" y="11906"/>
                  </a:lnTo>
                  <a:cubicBezTo>
                    <a:pt x="100203" y="5334"/>
                    <a:pt x="105537" y="0"/>
                    <a:pt x="112109" y="0"/>
                  </a:cubicBezTo>
                  <a:cubicBezTo>
                    <a:pt x="118681" y="0"/>
                    <a:pt x="124016" y="5334"/>
                    <a:pt x="124016" y="11906"/>
                  </a:cubicBezTo>
                  <a:lnTo>
                    <a:pt x="124016" y="348520"/>
                  </a:lnTo>
                  <a:cubicBezTo>
                    <a:pt x="124016" y="382715"/>
                    <a:pt x="96202" y="410528"/>
                    <a:pt x="62008" y="41052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C65DA474-8A31-B084-F7E0-0E30F131F92D}"/>
                </a:ext>
              </a:extLst>
            </p:cNvPr>
            <p:cNvSpPr/>
            <p:nvPr/>
          </p:nvSpPr>
          <p:spPr>
            <a:xfrm>
              <a:off x="-605857" y="3437147"/>
              <a:ext cx="124015" cy="410527"/>
            </a:xfrm>
            <a:custGeom>
              <a:avLst/>
              <a:gdLst>
                <a:gd name="connsiteX0" fmla="*/ 62008 w 124015"/>
                <a:gd name="connsiteY0" fmla="*/ 410528 h 410527"/>
                <a:gd name="connsiteX1" fmla="*/ 0 w 124015"/>
                <a:gd name="connsiteY1" fmla="*/ 348520 h 410527"/>
                <a:gd name="connsiteX2" fmla="*/ 0 w 124015"/>
                <a:gd name="connsiteY2" fmla="*/ 11906 h 410527"/>
                <a:gd name="connsiteX3" fmla="*/ 11906 w 124015"/>
                <a:gd name="connsiteY3" fmla="*/ 0 h 410527"/>
                <a:gd name="connsiteX4" fmla="*/ 23813 w 124015"/>
                <a:gd name="connsiteY4" fmla="*/ 11906 h 410527"/>
                <a:gd name="connsiteX5" fmla="*/ 23813 w 124015"/>
                <a:gd name="connsiteY5" fmla="*/ 348520 h 410527"/>
                <a:gd name="connsiteX6" fmla="*/ 62008 w 124015"/>
                <a:gd name="connsiteY6" fmla="*/ 386715 h 410527"/>
                <a:gd name="connsiteX7" fmla="*/ 100203 w 124015"/>
                <a:gd name="connsiteY7" fmla="*/ 348520 h 410527"/>
                <a:gd name="connsiteX8" fmla="*/ 100203 w 124015"/>
                <a:gd name="connsiteY8" fmla="*/ 11906 h 410527"/>
                <a:gd name="connsiteX9" fmla="*/ 112109 w 124015"/>
                <a:gd name="connsiteY9" fmla="*/ 0 h 410527"/>
                <a:gd name="connsiteX10" fmla="*/ 124016 w 124015"/>
                <a:gd name="connsiteY10" fmla="*/ 11906 h 410527"/>
                <a:gd name="connsiteX11" fmla="*/ 124016 w 124015"/>
                <a:gd name="connsiteY11" fmla="*/ 348520 h 410527"/>
                <a:gd name="connsiteX12" fmla="*/ 62008 w 124015"/>
                <a:gd name="connsiteY12" fmla="*/ 410528 h 410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4015" h="410527">
                  <a:moveTo>
                    <a:pt x="62008" y="410528"/>
                  </a:moveTo>
                  <a:cubicBezTo>
                    <a:pt x="27813" y="410528"/>
                    <a:pt x="0" y="382715"/>
                    <a:pt x="0" y="348520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8" y="0"/>
                    <a:pt x="23813" y="5334"/>
                    <a:pt x="23813" y="11906"/>
                  </a:cubicBezTo>
                  <a:lnTo>
                    <a:pt x="23813" y="348520"/>
                  </a:lnTo>
                  <a:cubicBezTo>
                    <a:pt x="23813" y="369570"/>
                    <a:pt x="40957" y="386715"/>
                    <a:pt x="62008" y="386715"/>
                  </a:cubicBezTo>
                  <a:cubicBezTo>
                    <a:pt x="83058" y="386715"/>
                    <a:pt x="100203" y="369570"/>
                    <a:pt x="100203" y="348520"/>
                  </a:cubicBezTo>
                  <a:lnTo>
                    <a:pt x="100203" y="11906"/>
                  </a:lnTo>
                  <a:cubicBezTo>
                    <a:pt x="100203" y="5334"/>
                    <a:pt x="105537" y="0"/>
                    <a:pt x="112109" y="0"/>
                  </a:cubicBezTo>
                  <a:cubicBezTo>
                    <a:pt x="118681" y="0"/>
                    <a:pt x="124016" y="5334"/>
                    <a:pt x="124016" y="11906"/>
                  </a:cubicBezTo>
                  <a:lnTo>
                    <a:pt x="124016" y="348520"/>
                  </a:lnTo>
                  <a:cubicBezTo>
                    <a:pt x="124016" y="382715"/>
                    <a:pt x="96202" y="410528"/>
                    <a:pt x="62008" y="41052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937D0C5-2B48-0D12-FE47-8A28B2C45260}"/>
                </a:ext>
              </a:extLst>
            </p:cNvPr>
            <p:cNvSpPr/>
            <p:nvPr/>
          </p:nvSpPr>
          <p:spPr>
            <a:xfrm>
              <a:off x="-505654" y="3232931"/>
              <a:ext cx="23812" cy="228123"/>
            </a:xfrm>
            <a:custGeom>
              <a:avLst/>
              <a:gdLst>
                <a:gd name="connsiteX0" fmla="*/ 11906 w 23812"/>
                <a:gd name="connsiteY0" fmla="*/ 228124 h 228123"/>
                <a:gd name="connsiteX1" fmla="*/ 0 w 23812"/>
                <a:gd name="connsiteY1" fmla="*/ 216218 h 228123"/>
                <a:gd name="connsiteX2" fmla="*/ 0 w 23812"/>
                <a:gd name="connsiteY2" fmla="*/ 11906 h 228123"/>
                <a:gd name="connsiteX3" fmla="*/ 11906 w 23812"/>
                <a:gd name="connsiteY3" fmla="*/ 0 h 228123"/>
                <a:gd name="connsiteX4" fmla="*/ 23813 w 23812"/>
                <a:gd name="connsiteY4" fmla="*/ 11906 h 228123"/>
                <a:gd name="connsiteX5" fmla="*/ 23813 w 23812"/>
                <a:gd name="connsiteY5" fmla="*/ 216218 h 228123"/>
                <a:gd name="connsiteX6" fmla="*/ 11906 w 23812"/>
                <a:gd name="connsiteY6" fmla="*/ 228124 h 228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228123">
                  <a:moveTo>
                    <a:pt x="11906" y="228124"/>
                  </a:moveTo>
                  <a:cubicBezTo>
                    <a:pt x="5334" y="228124"/>
                    <a:pt x="0" y="222790"/>
                    <a:pt x="0" y="216218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8" y="0"/>
                    <a:pt x="23813" y="5334"/>
                    <a:pt x="23813" y="11906"/>
                  </a:cubicBezTo>
                  <a:lnTo>
                    <a:pt x="23813" y="216218"/>
                  </a:lnTo>
                  <a:cubicBezTo>
                    <a:pt x="23813" y="222790"/>
                    <a:pt x="18478" y="228124"/>
                    <a:pt x="11906" y="22812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88D05A6-5F20-4744-D9B4-67674CFFE627}"/>
                </a:ext>
              </a:extLst>
            </p:cNvPr>
            <p:cNvSpPr/>
            <p:nvPr/>
          </p:nvSpPr>
          <p:spPr>
            <a:xfrm>
              <a:off x="-705965" y="3232931"/>
              <a:ext cx="23812" cy="228123"/>
            </a:xfrm>
            <a:custGeom>
              <a:avLst/>
              <a:gdLst>
                <a:gd name="connsiteX0" fmla="*/ 11906 w 23812"/>
                <a:gd name="connsiteY0" fmla="*/ 228124 h 228123"/>
                <a:gd name="connsiteX1" fmla="*/ 0 w 23812"/>
                <a:gd name="connsiteY1" fmla="*/ 216218 h 228123"/>
                <a:gd name="connsiteX2" fmla="*/ 0 w 23812"/>
                <a:gd name="connsiteY2" fmla="*/ 11906 h 228123"/>
                <a:gd name="connsiteX3" fmla="*/ 11906 w 23812"/>
                <a:gd name="connsiteY3" fmla="*/ 0 h 228123"/>
                <a:gd name="connsiteX4" fmla="*/ 23813 w 23812"/>
                <a:gd name="connsiteY4" fmla="*/ 11906 h 228123"/>
                <a:gd name="connsiteX5" fmla="*/ 23813 w 23812"/>
                <a:gd name="connsiteY5" fmla="*/ 216218 h 228123"/>
                <a:gd name="connsiteX6" fmla="*/ 11906 w 23812"/>
                <a:gd name="connsiteY6" fmla="*/ 228124 h 228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228123">
                  <a:moveTo>
                    <a:pt x="11906" y="228124"/>
                  </a:moveTo>
                  <a:cubicBezTo>
                    <a:pt x="5334" y="228124"/>
                    <a:pt x="0" y="222790"/>
                    <a:pt x="0" y="216218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9" y="0"/>
                    <a:pt x="23813" y="5334"/>
                    <a:pt x="23813" y="11906"/>
                  </a:cubicBezTo>
                  <a:lnTo>
                    <a:pt x="23813" y="216218"/>
                  </a:lnTo>
                  <a:cubicBezTo>
                    <a:pt x="23813" y="222790"/>
                    <a:pt x="18479" y="228124"/>
                    <a:pt x="11906" y="22812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F6F3B820-8CAB-CCC2-9D4B-90F34A09B26F}"/>
                </a:ext>
              </a:extLst>
            </p:cNvPr>
            <p:cNvSpPr/>
            <p:nvPr/>
          </p:nvSpPr>
          <p:spPr>
            <a:xfrm>
              <a:off x="-800059" y="3066231"/>
              <a:ext cx="527861" cy="445782"/>
            </a:xfrm>
            <a:custGeom>
              <a:avLst/>
              <a:gdLst>
                <a:gd name="connsiteX0" fmla="*/ 46659 w 527861"/>
                <a:gd name="connsiteY0" fmla="*/ 445687 h 445782"/>
                <a:gd name="connsiteX1" fmla="*/ 41611 w 527861"/>
                <a:gd name="connsiteY1" fmla="*/ 445401 h 445782"/>
                <a:gd name="connsiteX2" fmla="*/ 272 w 527861"/>
                <a:gd name="connsiteY2" fmla="*/ 394157 h 445782"/>
                <a:gd name="connsiteX3" fmla="*/ 26942 w 527861"/>
                <a:gd name="connsiteY3" fmla="*/ 142030 h 445782"/>
                <a:gd name="connsiteX4" fmla="*/ 217823 w 527861"/>
                <a:gd name="connsiteY4" fmla="*/ 12 h 445782"/>
                <a:gd name="connsiteX5" fmla="*/ 515956 w 527861"/>
                <a:gd name="connsiteY5" fmla="*/ 12 h 445782"/>
                <a:gd name="connsiteX6" fmla="*/ 527862 w 527861"/>
                <a:gd name="connsiteY6" fmla="*/ 11918 h 445782"/>
                <a:gd name="connsiteX7" fmla="*/ 515956 w 527861"/>
                <a:gd name="connsiteY7" fmla="*/ 23825 h 445782"/>
                <a:gd name="connsiteX8" fmla="*/ 217537 w 527861"/>
                <a:gd name="connsiteY8" fmla="*/ 23825 h 445782"/>
                <a:gd name="connsiteX9" fmla="*/ 50564 w 527861"/>
                <a:gd name="connsiteY9" fmla="*/ 144983 h 445782"/>
                <a:gd name="connsiteX10" fmla="*/ 41325 w 527861"/>
                <a:gd name="connsiteY10" fmla="*/ 234708 h 445782"/>
                <a:gd name="connsiteX11" fmla="*/ 23894 w 527861"/>
                <a:gd name="connsiteY11" fmla="*/ 396728 h 445782"/>
                <a:gd name="connsiteX12" fmla="*/ 28752 w 527861"/>
                <a:gd name="connsiteY12" fmla="*/ 413397 h 445782"/>
                <a:gd name="connsiteX13" fmla="*/ 43992 w 527861"/>
                <a:gd name="connsiteY13" fmla="*/ 421779 h 445782"/>
                <a:gd name="connsiteX14" fmla="*/ 69043 w 527861"/>
                <a:gd name="connsiteY14" fmla="*/ 401586 h 445782"/>
                <a:gd name="connsiteX15" fmla="*/ 93998 w 527861"/>
                <a:gd name="connsiteY15" fmla="*/ 170033 h 445782"/>
                <a:gd name="connsiteX16" fmla="*/ 107143 w 527861"/>
                <a:gd name="connsiteY16" fmla="*/ 159461 h 445782"/>
                <a:gd name="connsiteX17" fmla="*/ 117715 w 527861"/>
                <a:gd name="connsiteY17" fmla="*/ 172605 h 445782"/>
                <a:gd name="connsiteX18" fmla="*/ 92760 w 527861"/>
                <a:gd name="connsiteY18" fmla="*/ 404158 h 445782"/>
                <a:gd name="connsiteX19" fmla="*/ 46468 w 527861"/>
                <a:gd name="connsiteY19" fmla="*/ 445782 h 445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27861" h="445782">
                  <a:moveTo>
                    <a:pt x="46659" y="445687"/>
                  </a:moveTo>
                  <a:cubicBezTo>
                    <a:pt x="45040" y="445687"/>
                    <a:pt x="43325" y="445687"/>
                    <a:pt x="41611" y="445401"/>
                  </a:cubicBezTo>
                  <a:cubicBezTo>
                    <a:pt x="16084" y="442639"/>
                    <a:pt x="-2490" y="419684"/>
                    <a:pt x="272" y="394157"/>
                  </a:cubicBezTo>
                  <a:lnTo>
                    <a:pt x="26942" y="142030"/>
                  </a:lnTo>
                  <a:cubicBezTo>
                    <a:pt x="47516" y="-2274"/>
                    <a:pt x="215918" y="-83"/>
                    <a:pt x="217823" y="12"/>
                  </a:cubicBezTo>
                  <a:lnTo>
                    <a:pt x="515956" y="12"/>
                  </a:lnTo>
                  <a:cubicBezTo>
                    <a:pt x="522528" y="12"/>
                    <a:pt x="527862" y="5346"/>
                    <a:pt x="527862" y="11918"/>
                  </a:cubicBezTo>
                  <a:cubicBezTo>
                    <a:pt x="527862" y="18491"/>
                    <a:pt x="522528" y="23825"/>
                    <a:pt x="515956" y="23825"/>
                  </a:cubicBezTo>
                  <a:lnTo>
                    <a:pt x="217537" y="23825"/>
                  </a:lnTo>
                  <a:cubicBezTo>
                    <a:pt x="211156" y="23825"/>
                    <a:pt x="67995" y="22110"/>
                    <a:pt x="50564" y="144983"/>
                  </a:cubicBezTo>
                  <a:lnTo>
                    <a:pt x="41325" y="234708"/>
                  </a:lnTo>
                  <a:lnTo>
                    <a:pt x="23894" y="396728"/>
                  </a:lnTo>
                  <a:cubicBezTo>
                    <a:pt x="23227" y="402729"/>
                    <a:pt x="24942" y="408730"/>
                    <a:pt x="28752" y="413397"/>
                  </a:cubicBezTo>
                  <a:cubicBezTo>
                    <a:pt x="32562" y="418064"/>
                    <a:pt x="37991" y="421112"/>
                    <a:pt x="43992" y="421779"/>
                  </a:cubicBezTo>
                  <a:cubicBezTo>
                    <a:pt x="56470" y="423208"/>
                    <a:pt x="67709" y="414064"/>
                    <a:pt x="69043" y="401586"/>
                  </a:cubicBezTo>
                  <a:lnTo>
                    <a:pt x="93998" y="170033"/>
                  </a:lnTo>
                  <a:cubicBezTo>
                    <a:pt x="94665" y="163461"/>
                    <a:pt x="100570" y="158794"/>
                    <a:pt x="107143" y="159461"/>
                  </a:cubicBezTo>
                  <a:cubicBezTo>
                    <a:pt x="113715" y="160127"/>
                    <a:pt x="118382" y="166033"/>
                    <a:pt x="117715" y="172605"/>
                  </a:cubicBezTo>
                  <a:lnTo>
                    <a:pt x="92760" y="404158"/>
                  </a:lnTo>
                  <a:cubicBezTo>
                    <a:pt x="90188" y="427970"/>
                    <a:pt x="69900" y="445782"/>
                    <a:pt x="46468" y="44578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7BFDFD7-A577-E57A-515B-C2AD5450A308}"/>
                </a:ext>
              </a:extLst>
            </p:cNvPr>
            <p:cNvSpPr/>
            <p:nvPr/>
          </p:nvSpPr>
          <p:spPr>
            <a:xfrm>
              <a:off x="-279547" y="3211976"/>
              <a:ext cx="125651" cy="241744"/>
            </a:xfrm>
            <a:custGeom>
              <a:avLst/>
              <a:gdLst>
                <a:gd name="connsiteX0" fmla="*/ 68882 w 125651"/>
                <a:gd name="connsiteY0" fmla="*/ 241649 h 241744"/>
                <a:gd name="connsiteX1" fmla="*/ 56500 w 125651"/>
                <a:gd name="connsiteY1" fmla="*/ 241649 h 241744"/>
                <a:gd name="connsiteX2" fmla="*/ 56500 w 125651"/>
                <a:gd name="connsiteY2" fmla="*/ 224600 h 241744"/>
                <a:gd name="connsiteX3" fmla="*/ 302 w 125651"/>
                <a:gd name="connsiteY3" fmla="*/ 159448 h 241744"/>
                <a:gd name="connsiteX4" fmla="*/ 27448 w 125651"/>
                <a:gd name="connsiteY4" fmla="*/ 159448 h 241744"/>
                <a:gd name="connsiteX5" fmla="*/ 56595 w 125651"/>
                <a:gd name="connsiteY5" fmla="*/ 201549 h 241744"/>
                <a:gd name="connsiteX6" fmla="*/ 56595 w 125651"/>
                <a:gd name="connsiteY6" fmla="*/ 128873 h 241744"/>
                <a:gd name="connsiteX7" fmla="*/ 5255 w 125651"/>
                <a:gd name="connsiteY7" fmla="*/ 71247 h 241744"/>
                <a:gd name="connsiteX8" fmla="*/ 56595 w 125651"/>
                <a:gd name="connsiteY8" fmla="*/ 17050 h 241744"/>
                <a:gd name="connsiteX9" fmla="*/ 56595 w 125651"/>
                <a:gd name="connsiteY9" fmla="*/ 0 h 241744"/>
                <a:gd name="connsiteX10" fmla="*/ 68977 w 125651"/>
                <a:gd name="connsiteY10" fmla="*/ 0 h 241744"/>
                <a:gd name="connsiteX11" fmla="*/ 68977 w 125651"/>
                <a:gd name="connsiteY11" fmla="*/ 17050 h 241744"/>
                <a:gd name="connsiteX12" fmla="*/ 125461 w 125651"/>
                <a:gd name="connsiteY12" fmla="*/ 75914 h 241744"/>
                <a:gd name="connsiteX13" fmla="*/ 96314 w 125651"/>
                <a:gd name="connsiteY13" fmla="*/ 75914 h 241744"/>
                <a:gd name="connsiteX14" fmla="*/ 68882 w 125651"/>
                <a:gd name="connsiteY14" fmla="*/ 40196 h 241744"/>
                <a:gd name="connsiteX15" fmla="*/ 68882 w 125651"/>
                <a:gd name="connsiteY15" fmla="*/ 106775 h 241744"/>
                <a:gd name="connsiteX16" fmla="*/ 125651 w 125651"/>
                <a:gd name="connsiteY16" fmla="*/ 169354 h 241744"/>
                <a:gd name="connsiteX17" fmla="*/ 68882 w 125651"/>
                <a:gd name="connsiteY17" fmla="*/ 224695 h 241744"/>
                <a:gd name="connsiteX18" fmla="*/ 68882 w 125651"/>
                <a:gd name="connsiteY18" fmla="*/ 241744 h 241744"/>
                <a:gd name="connsiteX19" fmla="*/ 56500 w 125651"/>
                <a:gd name="connsiteY19" fmla="*/ 40100 h 241744"/>
                <a:gd name="connsiteX20" fmla="*/ 32306 w 125651"/>
                <a:gd name="connsiteY20" fmla="*/ 68390 h 241744"/>
                <a:gd name="connsiteX21" fmla="*/ 56500 w 125651"/>
                <a:gd name="connsiteY21" fmla="*/ 100394 h 241744"/>
                <a:gd name="connsiteX22" fmla="*/ 56500 w 125651"/>
                <a:gd name="connsiteY22" fmla="*/ 40100 h 241744"/>
                <a:gd name="connsiteX23" fmla="*/ 68882 w 125651"/>
                <a:gd name="connsiteY23" fmla="*/ 201549 h 241744"/>
                <a:gd name="connsiteX24" fmla="*/ 98600 w 125651"/>
                <a:gd name="connsiteY24" fmla="*/ 170117 h 241744"/>
                <a:gd name="connsiteX25" fmla="*/ 68882 w 125651"/>
                <a:gd name="connsiteY25" fmla="*/ 135255 h 241744"/>
                <a:gd name="connsiteX26" fmla="*/ 68882 w 125651"/>
                <a:gd name="connsiteY26" fmla="*/ 201549 h 241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5651" h="241744">
                  <a:moveTo>
                    <a:pt x="68882" y="241649"/>
                  </a:moveTo>
                  <a:lnTo>
                    <a:pt x="56500" y="241649"/>
                  </a:lnTo>
                  <a:lnTo>
                    <a:pt x="56500" y="224600"/>
                  </a:lnTo>
                  <a:cubicBezTo>
                    <a:pt x="-4937" y="224600"/>
                    <a:pt x="-269" y="164021"/>
                    <a:pt x="302" y="159448"/>
                  </a:cubicBezTo>
                  <a:lnTo>
                    <a:pt x="27448" y="159448"/>
                  </a:lnTo>
                  <a:cubicBezTo>
                    <a:pt x="27448" y="180499"/>
                    <a:pt x="35259" y="199835"/>
                    <a:pt x="56595" y="201549"/>
                  </a:cubicBezTo>
                  <a:lnTo>
                    <a:pt x="56595" y="128873"/>
                  </a:lnTo>
                  <a:cubicBezTo>
                    <a:pt x="31830" y="116777"/>
                    <a:pt x="5255" y="103251"/>
                    <a:pt x="5255" y="71247"/>
                  </a:cubicBezTo>
                  <a:cubicBezTo>
                    <a:pt x="5255" y="39243"/>
                    <a:pt x="27734" y="17050"/>
                    <a:pt x="56595" y="17050"/>
                  </a:cubicBezTo>
                  <a:lnTo>
                    <a:pt x="56595" y="0"/>
                  </a:lnTo>
                  <a:lnTo>
                    <a:pt x="68977" y="0"/>
                  </a:lnTo>
                  <a:lnTo>
                    <a:pt x="68977" y="17050"/>
                  </a:lnTo>
                  <a:cubicBezTo>
                    <a:pt x="107077" y="17050"/>
                    <a:pt x="125461" y="38386"/>
                    <a:pt x="125461" y="75914"/>
                  </a:cubicBezTo>
                  <a:lnTo>
                    <a:pt x="96314" y="75914"/>
                  </a:lnTo>
                  <a:cubicBezTo>
                    <a:pt x="96600" y="54864"/>
                    <a:pt x="90218" y="41339"/>
                    <a:pt x="68882" y="40196"/>
                  </a:cubicBezTo>
                  <a:lnTo>
                    <a:pt x="68882" y="106775"/>
                  </a:lnTo>
                  <a:cubicBezTo>
                    <a:pt x="94790" y="119158"/>
                    <a:pt x="125651" y="131254"/>
                    <a:pt x="125651" y="169354"/>
                  </a:cubicBezTo>
                  <a:cubicBezTo>
                    <a:pt x="125651" y="207454"/>
                    <a:pt x="93933" y="224695"/>
                    <a:pt x="68882" y="224695"/>
                  </a:cubicBezTo>
                  <a:lnTo>
                    <a:pt x="68882" y="241744"/>
                  </a:lnTo>
                  <a:close/>
                  <a:moveTo>
                    <a:pt x="56500" y="40100"/>
                  </a:moveTo>
                  <a:cubicBezTo>
                    <a:pt x="42403" y="42100"/>
                    <a:pt x="32306" y="52483"/>
                    <a:pt x="32306" y="68390"/>
                  </a:cubicBezTo>
                  <a:cubicBezTo>
                    <a:pt x="32306" y="84296"/>
                    <a:pt x="42688" y="93154"/>
                    <a:pt x="56500" y="100394"/>
                  </a:cubicBezTo>
                  <a:lnTo>
                    <a:pt x="56500" y="40100"/>
                  </a:lnTo>
                  <a:close/>
                  <a:moveTo>
                    <a:pt x="68882" y="201549"/>
                  </a:moveTo>
                  <a:cubicBezTo>
                    <a:pt x="85932" y="199549"/>
                    <a:pt x="98600" y="188595"/>
                    <a:pt x="98600" y="170117"/>
                  </a:cubicBezTo>
                  <a:cubicBezTo>
                    <a:pt x="98600" y="153352"/>
                    <a:pt x="85075" y="143923"/>
                    <a:pt x="68882" y="135255"/>
                  </a:cubicBezTo>
                  <a:lnTo>
                    <a:pt x="68882" y="2015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5239E5CF-A57C-1DBD-745E-39AE348669BD}"/>
                </a:ext>
              </a:extLst>
            </p:cNvPr>
            <p:cNvSpPr/>
            <p:nvPr/>
          </p:nvSpPr>
          <p:spPr>
            <a:xfrm>
              <a:off x="-34358" y="3056433"/>
              <a:ext cx="120395" cy="209931"/>
            </a:xfrm>
            <a:custGeom>
              <a:avLst/>
              <a:gdLst>
                <a:gd name="connsiteX0" fmla="*/ 16478 w 120395"/>
                <a:gd name="connsiteY0" fmla="*/ 114205 h 209931"/>
                <a:gd name="connsiteX1" fmla="*/ 16478 w 120395"/>
                <a:gd name="connsiteY1" fmla="*/ 95155 h 209931"/>
                <a:gd name="connsiteX2" fmla="*/ 0 w 120395"/>
                <a:gd name="connsiteY2" fmla="*/ 95155 h 209931"/>
                <a:gd name="connsiteX3" fmla="*/ 3143 w 120395"/>
                <a:gd name="connsiteY3" fmla="*/ 75819 h 209931"/>
                <a:gd name="connsiteX4" fmla="*/ 16954 w 120395"/>
                <a:gd name="connsiteY4" fmla="*/ 75819 h 209931"/>
                <a:gd name="connsiteX5" fmla="*/ 16954 w 120395"/>
                <a:gd name="connsiteY5" fmla="*/ 61722 h 209931"/>
                <a:gd name="connsiteX6" fmla="*/ 69437 w 120395"/>
                <a:gd name="connsiteY6" fmla="*/ 0 h 209931"/>
                <a:gd name="connsiteX7" fmla="*/ 119920 w 120395"/>
                <a:gd name="connsiteY7" fmla="*/ 52197 h 209931"/>
                <a:gd name="connsiteX8" fmla="*/ 94298 w 120395"/>
                <a:gd name="connsiteY8" fmla="*/ 52197 h 209931"/>
                <a:gd name="connsiteX9" fmla="*/ 69533 w 120395"/>
                <a:gd name="connsiteY9" fmla="*/ 23336 h 209931"/>
                <a:gd name="connsiteX10" fmla="*/ 43910 w 120395"/>
                <a:gd name="connsiteY10" fmla="*/ 58769 h 209931"/>
                <a:gd name="connsiteX11" fmla="*/ 43910 w 120395"/>
                <a:gd name="connsiteY11" fmla="*/ 75819 h 209931"/>
                <a:gd name="connsiteX12" fmla="*/ 90011 w 120395"/>
                <a:gd name="connsiteY12" fmla="*/ 75819 h 209931"/>
                <a:gd name="connsiteX13" fmla="*/ 86868 w 120395"/>
                <a:gd name="connsiteY13" fmla="*/ 95155 h 209931"/>
                <a:gd name="connsiteX14" fmla="*/ 43625 w 120395"/>
                <a:gd name="connsiteY14" fmla="*/ 95155 h 209931"/>
                <a:gd name="connsiteX15" fmla="*/ 43625 w 120395"/>
                <a:gd name="connsiteY15" fmla="*/ 114205 h 209931"/>
                <a:gd name="connsiteX16" fmla="*/ 83439 w 120395"/>
                <a:gd name="connsiteY16" fmla="*/ 114205 h 209931"/>
                <a:gd name="connsiteX17" fmla="*/ 80296 w 120395"/>
                <a:gd name="connsiteY17" fmla="*/ 133541 h 209931"/>
                <a:gd name="connsiteX18" fmla="*/ 44006 w 120395"/>
                <a:gd name="connsiteY18" fmla="*/ 133541 h 209931"/>
                <a:gd name="connsiteX19" fmla="*/ 44006 w 120395"/>
                <a:gd name="connsiteY19" fmla="*/ 150590 h 209931"/>
                <a:gd name="connsiteX20" fmla="*/ 71152 w 120395"/>
                <a:gd name="connsiteY20" fmla="*/ 187166 h 209931"/>
                <a:gd name="connsiteX21" fmla="*/ 95345 w 120395"/>
                <a:gd name="connsiteY21" fmla="*/ 158020 h 209931"/>
                <a:gd name="connsiteX22" fmla="*/ 120396 w 120395"/>
                <a:gd name="connsiteY22" fmla="*/ 158020 h 209931"/>
                <a:gd name="connsiteX23" fmla="*/ 69628 w 120395"/>
                <a:gd name="connsiteY23" fmla="*/ 209931 h 209931"/>
                <a:gd name="connsiteX24" fmla="*/ 16859 w 120395"/>
                <a:gd name="connsiteY24" fmla="*/ 150781 h 209931"/>
                <a:gd name="connsiteX25" fmla="*/ 16859 w 120395"/>
                <a:gd name="connsiteY25" fmla="*/ 133445 h 209931"/>
                <a:gd name="connsiteX26" fmla="*/ 95 w 120395"/>
                <a:gd name="connsiteY26" fmla="*/ 133445 h 209931"/>
                <a:gd name="connsiteX27" fmla="*/ 3239 w 120395"/>
                <a:gd name="connsiteY27" fmla="*/ 114110 h 209931"/>
                <a:gd name="connsiteX28" fmla="*/ 16478 w 120395"/>
                <a:gd name="connsiteY28" fmla="*/ 114110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0395" h="209931">
                  <a:moveTo>
                    <a:pt x="16478" y="114205"/>
                  </a:moveTo>
                  <a:lnTo>
                    <a:pt x="16478" y="95155"/>
                  </a:lnTo>
                  <a:lnTo>
                    <a:pt x="0" y="95155"/>
                  </a:lnTo>
                  <a:lnTo>
                    <a:pt x="3143" y="75819"/>
                  </a:lnTo>
                  <a:lnTo>
                    <a:pt x="16954" y="75819"/>
                  </a:lnTo>
                  <a:lnTo>
                    <a:pt x="16954" y="61722"/>
                  </a:lnTo>
                  <a:cubicBezTo>
                    <a:pt x="16954" y="21050"/>
                    <a:pt x="33719" y="0"/>
                    <a:pt x="69437" y="0"/>
                  </a:cubicBezTo>
                  <a:cubicBezTo>
                    <a:pt x="100870" y="0"/>
                    <a:pt x="119920" y="16478"/>
                    <a:pt x="119920" y="52197"/>
                  </a:cubicBezTo>
                  <a:lnTo>
                    <a:pt x="94298" y="52197"/>
                  </a:lnTo>
                  <a:cubicBezTo>
                    <a:pt x="94298" y="34576"/>
                    <a:pt x="86773" y="23336"/>
                    <a:pt x="69533" y="23336"/>
                  </a:cubicBezTo>
                  <a:cubicBezTo>
                    <a:pt x="51340" y="23336"/>
                    <a:pt x="43910" y="36576"/>
                    <a:pt x="43910" y="58769"/>
                  </a:cubicBezTo>
                  <a:lnTo>
                    <a:pt x="43910" y="75819"/>
                  </a:lnTo>
                  <a:lnTo>
                    <a:pt x="90011" y="75819"/>
                  </a:lnTo>
                  <a:lnTo>
                    <a:pt x="86868" y="95155"/>
                  </a:lnTo>
                  <a:lnTo>
                    <a:pt x="43625" y="95155"/>
                  </a:lnTo>
                  <a:lnTo>
                    <a:pt x="43625" y="114205"/>
                  </a:lnTo>
                  <a:lnTo>
                    <a:pt x="83439" y="114205"/>
                  </a:lnTo>
                  <a:lnTo>
                    <a:pt x="80296" y="133541"/>
                  </a:lnTo>
                  <a:lnTo>
                    <a:pt x="44006" y="133541"/>
                  </a:lnTo>
                  <a:lnTo>
                    <a:pt x="44006" y="150590"/>
                  </a:lnTo>
                  <a:cubicBezTo>
                    <a:pt x="44006" y="174784"/>
                    <a:pt x="51816" y="187166"/>
                    <a:pt x="71152" y="187166"/>
                  </a:cubicBezTo>
                  <a:cubicBezTo>
                    <a:pt x="88487" y="187166"/>
                    <a:pt x="95345" y="178784"/>
                    <a:pt x="95345" y="158020"/>
                  </a:cubicBezTo>
                  <a:lnTo>
                    <a:pt x="120396" y="158020"/>
                  </a:lnTo>
                  <a:cubicBezTo>
                    <a:pt x="120396" y="192310"/>
                    <a:pt x="104013" y="209931"/>
                    <a:pt x="69628" y="209931"/>
                  </a:cubicBezTo>
                  <a:cubicBezTo>
                    <a:pt x="33623" y="209931"/>
                    <a:pt x="16859" y="189167"/>
                    <a:pt x="16859" y="150781"/>
                  </a:cubicBezTo>
                  <a:lnTo>
                    <a:pt x="16859" y="133445"/>
                  </a:lnTo>
                  <a:lnTo>
                    <a:pt x="95" y="133445"/>
                  </a:lnTo>
                  <a:lnTo>
                    <a:pt x="3239" y="114110"/>
                  </a:lnTo>
                  <a:lnTo>
                    <a:pt x="16478" y="114110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6875A985-B480-57BF-DF04-EA730BF1650F}"/>
                </a:ext>
              </a:extLst>
            </p:cNvPr>
            <p:cNvSpPr/>
            <p:nvPr/>
          </p:nvSpPr>
          <p:spPr>
            <a:xfrm>
              <a:off x="-200970" y="3134613"/>
              <a:ext cx="300969" cy="292723"/>
            </a:xfrm>
            <a:custGeom>
              <a:avLst/>
              <a:gdLst>
                <a:gd name="connsiteX0" fmla="*/ 289104 w 300969"/>
                <a:gd name="connsiteY0" fmla="*/ 292533 h 292723"/>
                <a:gd name="connsiteX1" fmla="*/ 279007 w 300969"/>
                <a:gd name="connsiteY1" fmla="*/ 287008 h 292723"/>
                <a:gd name="connsiteX2" fmla="*/ 233954 w 300969"/>
                <a:gd name="connsiteY2" fmla="*/ 216238 h 292723"/>
                <a:gd name="connsiteX3" fmla="*/ 195473 w 300969"/>
                <a:gd name="connsiteY3" fmla="*/ 264434 h 292723"/>
                <a:gd name="connsiteX4" fmla="*/ 185853 w 300969"/>
                <a:gd name="connsiteY4" fmla="*/ 268911 h 292723"/>
                <a:gd name="connsiteX5" fmla="*/ 176518 w 300969"/>
                <a:gd name="connsiteY5" fmla="*/ 263958 h 292723"/>
                <a:gd name="connsiteX6" fmla="*/ 2211 w 300969"/>
                <a:gd name="connsiteY6" fmla="*/ 18784 h 292723"/>
                <a:gd name="connsiteX7" fmla="*/ 4973 w 300969"/>
                <a:gd name="connsiteY7" fmla="*/ 2211 h 292723"/>
                <a:gd name="connsiteX8" fmla="*/ 21546 w 300969"/>
                <a:gd name="connsiteY8" fmla="*/ 4973 h 292723"/>
                <a:gd name="connsiteX9" fmla="*/ 186710 w 300969"/>
                <a:gd name="connsiteY9" fmla="*/ 237288 h 292723"/>
                <a:gd name="connsiteX10" fmla="*/ 225762 w 300969"/>
                <a:gd name="connsiteY10" fmla="*/ 188424 h 292723"/>
                <a:gd name="connsiteX11" fmla="*/ 235668 w 300969"/>
                <a:gd name="connsiteY11" fmla="*/ 183948 h 292723"/>
                <a:gd name="connsiteX12" fmla="*/ 245098 w 300969"/>
                <a:gd name="connsiteY12" fmla="*/ 189472 h 292723"/>
                <a:gd name="connsiteX13" fmla="*/ 299105 w 300969"/>
                <a:gd name="connsiteY13" fmla="*/ 274340 h 292723"/>
                <a:gd name="connsiteX14" fmla="*/ 295485 w 300969"/>
                <a:gd name="connsiteY14" fmla="*/ 290818 h 292723"/>
                <a:gd name="connsiteX15" fmla="*/ 289104 w 300969"/>
                <a:gd name="connsiteY15" fmla="*/ 292723 h 292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0969" h="292723">
                  <a:moveTo>
                    <a:pt x="289104" y="292533"/>
                  </a:moveTo>
                  <a:cubicBezTo>
                    <a:pt x="285199" y="292533"/>
                    <a:pt x="281293" y="290628"/>
                    <a:pt x="279007" y="287008"/>
                  </a:cubicBezTo>
                  <a:lnTo>
                    <a:pt x="233954" y="216238"/>
                  </a:lnTo>
                  <a:lnTo>
                    <a:pt x="195473" y="264434"/>
                  </a:lnTo>
                  <a:cubicBezTo>
                    <a:pt x="193092" y="267387"/>
                    <a:pt x="189377" y="269292"/>
                    <a:pt x="185853" y="268911"/>
                  </a:cubicBezTo>
                  <a:cubicBezTo>
                    <a:pt x="182138" y="268815"/>
                    <a:pt x="178614" y="266911"/>
                    <a:pt x="176518" y="263958"/>
                  </a:cubicBezTo>
                  <a:lnTo>
                    <a:pt x="2211" y="18784"/>
                  </a:lnTo>
                  <a:cubicBezTo>
                    <a:pt x="-1599" y="13450"/>
                    <a:pt x="-361" y="6021"/>
                    <a:pt x="4973" y="2211"/>
                  </a:cubicBezTo>
                  <a:cubicBezTo>
                    <a:pt x="10307" y="-1599"/>
                    <a:pt x="17736" y="-361"/>
                    <a:pt x="21546" y="4973"/>
                  </a:cubicBezTo>
                  <a:lnTo>
                    <a:pt x="186710" y="237288"/>
                  </a:lnTo>
                  <a:lnTo>
                    <a:pt x="225762" y="188424"/>
                  </a:lnTo>
                  <a:cubicBezTo>
                    <a:pt x="228144" y="185376"/>
                    <a:pt x="231954" y="183852"/>
                    <a:pt x="235668" y="183948"/>
                  </a:cubicBezTo>
                  <a:cubicBezTo>
                    <a:pt x="239478" y="184138"/>
                    <a:pt x="243003" y="186234"/>
                    <a:pt x="245098" y="189472"/>
                  </a:cubicBezTo>
                  <a:lnTo>
                    <a:pt x="299105" y="274340"/>
                  </a:lnTo>
                  <a:cubicBezTo>
                    <a:pt x="302629" y="279865"/>
                    <a:pt x="301010" y="287199"/>
                    <a:pt x="295485" y="290818"/>
                  </a:cubicBezTo>
                  <a:cubicBezTo>
                    <a:pt x="293485" y="292057"/>
                    <a:pt x="291295" y="292723"/>
                    <a:pt x="289104" y="29272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D4A8893F-36C7-EDE0-6711-57BC6F86D765}"/>
                </a:ext>
              </a:extLst>
            </p:cNvPr>
            <p:cNvSpPr/>
            <p:nvPr/>
          </p:nvSpPr>
          <p:spPr>
            <a:xfrm>
              <a:off x="57638" y="3387638"/>
              <a:ext cx="61038" cy="74069"/>
            </a:xfrm>
            <a:custGeom>
              <a:avLst/>
              <a:gdLst>
                <a:gd name="connsiteX0" fmla="*/ 967 w 61038"/>
                <a:gd name="connsiteY0" fmla="*/ 26554 h 74069"/>
                <a:gd name="connsiteX1" fmla="*/ 42211 w 61038"/>
                <a:gd name="connsiteY1" fmla="*/ 361 h 74069"/>
                <a:gd name="connsiteX2" fmla="*/ 45544 w 61038"/>
                <a:gd name="connsiteY2" fmla="*/ 1694 h 74069"/>
                <a:gd name="connsiteX3" fmla="*/ 60975 w 61038"/>
                <a:gd name="connsiteY3" fmla="*/ 71417 h 74069"/>
                <a:gd name="connsiteX4" fmla="*/ 57546 w 61038"/>
                <a:gd name="connsiteY4" fmla="*/ 73608 h 74069"/>
                <a:gd name="connsiteX5" fmla="*/ 872 w 61038"/>
                <a:gd name="connsiteY5" fmla="*/ 30078 h 74069"/>
                <a:gd name="connsiteX6" fmla="*/ 1063 w 61038"/>
                <a:gd name="connsiteY6" fmla="*/ 26554 h 74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038" h="74069">
                  <a:moveTo>
                    <a:pt x="967" y="26554"/>
                  </a:moveTo>
                  <a:lnTo>
                    <a:pt x="42211" y="361"/>
                  </a:lnTo>
                  <a:cubicBezTo>
                    <a:pt x="43449" y="-497"/>
                    <a:pt x="45163" y="265"/>
                    <a:pt x="45544" y="1694"/>
                  </a:cubicBezTo>
                  <a:lnTo>
                    <a:pt x="60975" y="71417"/>
                  </a:lnTo>
                  <a:cubicBezTo>
                    <a:pt x="61451" y="73417"/>
                    <a:pt x="59165" y="74846"/>
                    <a:pt x="57546" y="73608"/>
                  </a:cubicBezTo>
                  <a:lnTo>
                    <a:pt x="872" y="30078"/>
                  </a:lnTo>
                  <a:cubicBezTo>
                    <a:pt x="-366" y="29126"/>
                    <a:pt x="-271" y="27316"/>
                    <a:pt x="1063" y="26554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09F6A65D-DE8D-B5D4-1FF6-20C74F506E02}"/>
                </a:ext>
              </a:extLst>
            </p:cNvPr>
            <p:cNvSpPr/>
            <p:nvPr/>
          </p:nvSpPr>
          <p:spPr>
            <a:xfrm>
              <a:off x="-505654" y="3066053"/>
              <a:ext cx="333565" cy="190690"/>
            </a:xfrm>
            <a:custGeom>
              <a:avLst/>
              <a:gdLst>
                <a:gd name="connsiteX0" fmla="*/ 11906 w 333565"/>
                <a:gd name="connsiteY0" fmla="*/ 190691 h 190690"/>
                <a:gd name="connsiteX1" fmla="*/ 0 w 333565"/>
                <a:gd name="connsiteY1" fmla="*/ 178784 h 190690"/>
                <a:gd name="connsiteX2" fmla="*/ 0 w 333565"/>
                <a:gd name="connsiteY2" fmla="*/ 118300 h 190690"/>
                <a:gd name="connsiteX3" fmla="*/ 48958 w 333565"/>
                <a:gd name="connsiteY3" fmla="*/ 69342 h 190690"/>
                <a:gd name="connsiteX4" fmla="*/ 286988 w 333565"/>
                <a:gd name="connsiteY4" fmla="*/ 69342 h 190690"/>
                <a:gd name="connsiteX5" fmla="*/ 309753 w 333565"/>
                <a:gd name="connsiteY5" fmla="*/ 46577 h 190690"/>
                <a:gd name="connsiteX6" fmla="*/ 286988 w 333565"/>
                <a:gd name="connsiteY6" fmla="*/ 23813 h 190690"/>
                <a:gd name="connsiteX7" fmla="*/ 54102 w 333565"/>
                <a:gd name="connsiteY7" fmla="*/ 23813 h 190690"/>
                <a:gd name="connsiteX8" fmla="*/ 42196 w 333565"/>
                <a:gd name="connsiteY8" fmla="*/ 11906 h 190690"/>
                <a:gd name="connsiteX9" fmla="*/ 54102 w 333565"/>
                <a:gd name="connsiteY9" fmla="*/ 0 h 190690"/>
                <a:gd name="connsiteX10" fmla="*/ 286988 w 333565"/>
                <a:gd name="connsiteY10" fmla="*/ 0 h 190690"/>
                <a:gd name="connsiteX11" fmla="*/ 333565 w 333565"/>
                <a:gd name="connsiteY11" fmla="*/ 46577 h 190690"/>
                <a:gd name="connsiteX12" fmla="*/ 286988 w 333565"/>
                <a:gd name="connsiteY12" fmla="*/ 93154 h 190690"/>
                <a:gd name="connsiteX13" fmla="*/ 48958 w 333565"/>
                <a:gd name="connsiteY13" fmla="*/ 93154 h 190690"/>
                <a:gd name="connsiteX14" fmla="*/ 23813 w 333565"/>
                <a:gd name="connsiteY14" fmla="*/ 118300 h 190690"/>
                <a:gd name="connsiteX15" fmla="*/ 23813 w 333565"/>
                <a:gd name="connsiteY15" fmla="*/ 178784 h 190690"/>
                <a:gd name="connsiteX16" fmla="*/ 11906 w 333565"/>
                <a:gd name="connsiteY16" fmla="*/ 190691 h 190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3565" h="190690">
                  <a:moveTo>
                    <a:pt x="11906" y="190691"/>
                  </a:moveTo>
                  <a:cubicBezTo>
                    <a:pt x="5334" y="190691"/>
                    <a:pt x="0" y="185356"/>
                    <a:pt x="0" y="178784"/>
                  </a:cubicBezTo>
                  <a:lnTo>
                    <a:pt x="0" y="118300"/>
                  </a:lnTo>
                  <a:cubicBezTo>
                    <a:pt x="0" y="91345"/>
                    <a:pt x="22003" y="69342"/>
                    <a:pt x="48958" y="69342"/>
                  </a:cubicBezTo>
                  <a:lnTo>
                    <a:pt x="286988" y="69342"/>
                  </a:lnTo>
                  <a:cubicBezTo>
                    <a:pt x="299561" y="69342"/>
                    <a:pt x="309753" y="59150"/>
                    <a:pt x="309753" y="46577"/>
                  </a:cubicBezTo>
                  <a:cubicBezTo>
                    <a:pt x="309753" y="34004"/>
                    <a:pt x="299561" y="23813"/>
                    <a:pt x="286988" y="23813"/>
                  </a:cubicBezTo>
                  <a:lnTo>
                    <a:pt x="54102" y="23813"/>
                  </a:lnTo>
                  <a:cubicBezTo>
                    <a:pt x="47530" y="23813"/>
                    <a:pt x="42196" y="18478"/>
                    <a:pt x="42196" y="11906"/>
                  </a:cubicBezTo>
                  <a:cubicBezTo>
                    <a:pt x="42196" y="5334"/>
                    <a:pt x="47530" y="0"/>
                    <a:pt x="54102" y="0"/>
                  </a:cubicBezTo>
                  <a:lnTo>
                    <a:pt x="286988" y="0"/>
                  </a:lnTo>
                  <a:cubicBezTo>
                    <a:pt x="312706" y="0"/>
                    <a:pt x="333565" y="20860"/>
                    <a:pt x="333565" y="46577"/>
                  </a:cubicBezTo>
                  <a:cubicBezTo>
                    <a:pt x="333565" y="72295"/>
                    <a:pt x="312706" y="93154"/>
                    <a:pt x="286988" y="93154"/>
                  </a:cubicBezTo>
                  <a:lnTo>
                    <a:pt x="48958" y="93154"/>
                  </a:lnTo>
                  <a:cubicBezTo>
                    <a:pt x="35052" y="93154"/>
                    <a:pt x="23813" y="104394"/>
                    <a:pt x="23813" y="118300"/>
                  </a:cubicBezTo>
                  <a:lnTo>
                    <a:pt x="23813" y="178784"/>
                  </a:lnTo>
                  <a:cubicBezTo>
                    <a:pt x="23813" y="185356"/>
                    <a:pt x="18478" y="190691"/>
                    <a:pt x="11906" y="19069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29C9F769-39C8-0B8A-3C2D-999861B5EDCB}"/>
              </a:ext>
            </a:extLst>
          </p:cNvPr>
          <p:cNvGrpSpPr/>
          <p:nvPr/>
        </p:nvGrpSpPr>
        <p:grpSpPr>
          <a:xfrm>
            <a:off x="6516626" y="3420478"/>
            <a:ext cx="418703" cy="448834"/>
            <a:chOff x="12508149" y="3199832"/>
            <a:chExt cx="837908" cy="898207"/>
          </a:xfrm>
        </p:grpSpPr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EEB00BAC-251E-FC87-D66C-93D5B615F8BF}"/>
                </a:ext>
              </a:extLst>
            </p:cNvPr>
            <p:cNvSpPr/>
            <p:nvPr/>
          </p:nvSpPr>
          <p:spPr>
            <a:xfrm>
              <a:off x="12914673" y="3199832"/>
              <a:ext cx="23812" cy="898207"/>
            </a:xfrm>
            <a:custGeom>
              <a:avLst/>
              <a:gdLst>
                <a:gd name="connsiteX0" fmla="*/ 11906 w 23812"/>
                <a:gd name="connsiteY0" fmla="*/ 898208 h 898207"/>
                <a:gd name="connsiteX1" fmla="*/ 0 w 23812"/>
                <a:gd name="connsiteY1" fmla="*/ 886301 h 898207"/>
                <a:gd name="connsiteX2" fmla="*/ 0 w 23812"/>
                <a:gd name="connsiteY2" fmla="*/ 11906 h 898207"/>
                <a:gd name="connsiteX3" fmla="*/ 11906 w 23812"/>
                <a:gd name="connsiteY3" fmla="*/ 0 h 898207"/>
                <a:gd name="connsiteX4" fmla="*/ 23813 w 23812"/>
                <a:gd name="connsiteY4" fmla="*/ 11906 h 898207"/>
                <a:gd name="connsiteX5" fmla="*/ 23813 w 23812"/>
                <a:gd name="connsiteY5" fmla="*/ 886301 h 898207"/>
                <a:gd name="connsiteX6" fmla="*/ 11906 w 23812"/>
                <a:gd name="connsiteY6" fmla="*/ 898208 h 89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898207">
                  <a:moveTo>
                    <a:pt x="11906" y="898208"/>
                  </a:moveTo>
                  <a:cubicBezTo>
                    <a:pt x="5334" y="898208"/>
                    <a:pt x="0" y="892874"/>
                    <a:pt x="0" y="886301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9" y="0"/>
                    <a:pt x="23813" y="5334"/>
                    <a:pt x="23813" y="11906"/>
                  </a:cubicBezTo>
                  <a:lnTo>
                    <a:pt x="23813" y="886301"/>
                  </a:lnTo>
                  <a:cubicBezTo>
                    <a:pt x="23813" y="892874"/>
                    <a:pt x="18479" y="898208"/>
                    <a:pt x="11906" y="89820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604E6D92-02CF-E0EA-1B76-1C7D16B6B8AF}"/>
                </a:ext>
              </a:extLst>
            </p:cNvPr>
            <p:cNvSpPr/>
            <p:nvPr/>
          </p:nvSpPr>
          <p:spPr>
            <a:xfrm>
              <a:off x="12769250" y="3872201"/>
              <a:ext cx="314753" cy="174307"/>
            </a:xfrm>
            <a:custGeom>
              <a:avLst/>
              <a:gdLst>
                <a:gd name="connsiteX0" fmla="*/ 302776 w 314753"/>
                <a:gd name="connsiteY0" fmla="*/ 174308 h 174307"/>
                <a:gd name="connsiteX1" fmla="*/ 294394 w 314753"/>
                <a:gd name="connsiteY1" fmla="*/ 170783 h 174307"/>
                <a:gd name="connsiteX2" fmla="*/ 157329 w 314753"/>
                <a:gd name="connsiteY2" fmla="*/ 33719 h 174307"/>
                <a:gd name="connsiteX3" fmla="*/ 20360 w 314753"/>
                <a:gd name="connsiteY3" fmla="*/ 170688 h 174307"/>
                <a:gd name="connsiteX4" fmla="*/ 3500 w 314753"/>
                <a:gd name="connsiteY4" fmla="*/ 170688 h 174307"/>
                <a:gd name="connsiteX5" fmla="*/ 3500 w 314753"/>
                <a:gd name="connsiteY5" fmla="*/ 153829 h 174307"/>
                <a:gd name="connsiteX6" fmla="*/ 157329 w 314753"/>
                <a:gd name="connsiteY6" fmla="*/ 0 h 174307"/>
                <a:gd name="connsiteX7" fmla="*/ 311253 w 314753"/>
                <a:gd name="connsiteY7" fmla="*/ 153924 h 174307"/>
                <a:gd name="connsiteX8" fmla="*/ 311253 w 314753"/>
                <a:gd name="connsiteY8" fmla="*/ 170783 h 174307"/>
                <a:gd name="connsiteX9" fmla="*/ 302871 w 314753"/>
                <a:gd name="connsiteY9" fmla="*/ 174308 h 17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4753" h="174307">
                  <a:moveTo>
                    <a:pt x="302776" y="174308"/>
                  </a:moveTo>
                  <a:cubicBezTo>
                    <a:pt x="299728" y="174308"/>
                    <a:pt x="296680" y="173165"/>
                    <a:pt x="294394" y="170783"/>
                  </a:cubicBezTo>
                  <a:lnTo>
                    <a:pt x="157329" y="33719"/>
                  </a:lnTo>
                  <a:lnTo>
                    <a:pt x="20360" y="170688"/>
                  </a:lnTo>
                  <a:cubicBezTo>
                    <a:pt x="15692" y="175355"/>
                    <a:pt x="8168" y="175355"/>
                    <a:pt x="3500" y="170688"/>
                  </a:cubicBezTo>
                  <a:cubicBezTo>
                    <a:pt x="-1167" y="166021"/>
                    <a:pt x="-1167" y="158496"/>
                    <a:pt x="3500" y="153829"/>
                  </a:cubicBezTo>
                  <a:lnTo>
                    <a:pt x="157329" y="0"/>
                  </a:lnTo>
                  <a:lnTo>
                    <a:pt x="311253" y="153924"/>
                  </a:lnTo>
                  <a:cubicBezTo>
                    <a:pt x="315920" y="158591"/>
                    <a:pt x="315920" y="166116"/>
                    <a:pt x="311253" y="170783"/>
                  </a:cubicBezTo>
                  <a:cubicBezTo>
                    <a:pt x="308967" y="173069"/>
                    <a:pt x="305919" y="174308"/>
                    <a:pt x="302871" y="17430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758042A-B46A-8CA2-4FD9-B792AAFE26E0}"/>
                </a:ext>
              </a:extLst>
            </p:cNvPr>
            <p:cNvSpPr/>
            <p:nvPr/>
          </p:nvSpPr>
          <p:spPr>
            <a:xfrm>
              <a:off x="12536343" y="3418052"/>
              <a:ext cx="780662" cy="461959"/>
            </a:xfrm>
            <a:custGeom>
              <a:avLst/>
              <a:gdLst>
                <a:gd name="connsiteX0" fmla="*/ 11903 w 780662"/>
                <a:gd name="connsiteY0" fmla="*/ 461864 h 461959"/>
                <a:gd name="connsiteX1" fmla="*/ 1616 w 780662"/>
                <a:gd name="connsiteY1" fmla="*/ 455959 h 461959"/>
                <a:gd name="connsiteX2" fmla="*/ 5998 w 780662"/>
                <a:gd name="connsiteY2" fmla="*/ 439671 h 461959"/>
                <a:gd name="connsiteX3" fmla="*/ 762759 w 780662"/>
                <a:gd name="connsiteY3" fmla="*/ 1616 h 461959"/>
                <a:gd name="connsiteX4" fmla="*/ 779047 w 780662"/>
                <a:gd name="connsiteY4" fmla="*/ 5998 h 461959"/>
                <a:gd name="connsiteX5" fmla="*/ 774665 w 780662"/>
                <a:gd name="connsiteY5" fmla="*/ 22285 h 461959"/>
                <a:gd name="connsiteX6" fmla="*/ 17904 w 780662"/>
                <a:gd name="connsiteY6" fmla="*/ 460340 h 461959"/>
                <a:gd name="connsiteX7" fmla="*/ 11998 w 780662"/>
                <a:gd name="connsiteY7" fmla="*/ 461959 h 461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0662" h="461959">
                  <a:moveTo>
                    <a:pt x="11903" y="461864"/>
                  </a:moveTo>
                  <a:cubicBezTo>
                    <a:pt x="7807" y="461864"/>
                    <a:pt x="3807" y="459768"/>
                    <a:pt x="1616" y="455959"/>
                  </a:cubicBezTo>
                  <a:cubicBezTo>
                    <a:pt x="-1718" y="450243"/>
                    <a:pt x="283" y="443005"/>
                    <a:pt x="5998" y="439671"/>
                  </a:cubicBezTo>
                  <a:lnTo>
                    <a:pt x="762759" y="1616"/>
                  </a:lnTo>
                  <a:cubicBezTo>
                    <a:pt x="768474" y="-1718"/>
                    <a:pt x="775713" y="282"/>
                    <a:pt x="779047" y="5998"/>
                  </a:cubicBezTo>
                  <a:cubicBezTo>
                    <a:pt x="782380" y="11713"/>
                    <a:pt x="780380" y="18951"/>
                    <a:pt x="774665" y="22285"/>
                  </a:cubicBezTo>
                  <a:lnTo>
                    <a:pt x="17904" y="460340"/>
                  </a:lnTo>
                  <a:cubicBezTo>
                    <a:pt x="15999" y="461388"/>
                    <a:pt x="13999" y="461959"/>
                    <a:pt x="11998" y="46195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B34432F2-10A8-DC8D-DFEA-06A1096569A1}"/>
                </a:ext>
              </a:extLst>
            </p:cNvPr>
            <p:cNvSpPr/>
            <p:nvPr/>
          </p:nvSpPr>
          <p:spPr>
            <a:xfrm>
              <a:off x="13120794" y="3317372"/>
              <a:ext cx="225263" cy="275651"/>
            </a:xfrm>
            <a:custGeom>
              <a:avLst/>
              <a:gdLst>
                <a:gd name="connsiteX0" fmla="*/ 213265 w 225263"/>
                <a:gd name="connsiteY0" fmla="*/ 275651 h 275651"/>
                <a:gd name="connsiteX1" fmla="*/ 210217 w 225263"/>
                <a:gd name="connsiteY1" fmla="*/ 275270 h 275651"/>
                <a:gd name="connsiteX2" fmla="*/ 0 w 225263"/>
                <a:gd name="connsiteY2" fmla="*/ 219168 h 275651"/>
                <a:gd name="connsiteX3" fmla="*/ 56102 w 225263"/>
                <a:gd name="connsiteY3" fmla="*/ 8856 h 275651"/>
                <a:gd name="connsiteX4" fmla="*/ 70676 w 225263"/>
                <a:gd name="connsiteY4" fmla="*/ 379 h 275651"/>
                <a:gd name="connsiteX5" fmla="*/ 79153 w 225263"/>
                <a:gd name="connsiteY5" fmla="*/ 14952 h 275651"/>
                <a:gd name="connsiteX6" fmla="*/ 29147 w 225263"/>
                <a:gd name="connsiteY6" fmla="*/ 202309 h 275651"/>
                <a:gd name="connsiteX7" fmla="*/ 216408 w 225263"/>
                <a:gd name="connsiteY7" fmla="*/ 252220 h 275651"/>
                <a:gd name="connsiteX8" fmla="*/ 224885 w 225263"/>
                <a:gd name="connsiteY8" fmla="*/ 266793 h 275651"/>
                <a:gd name="connsiteX9" fmla="*/ 213360 w 225263"/>
                <a:gd name="connsiteY9" fmla="*/ 275651 h 27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263" h="275651">
                  <a:moveTo>
                    <a:pt x="213265" y="275651"/>
                  </a:moveTo>
                  <a:cubicBezTo>
                    <a:pt x="212217" y="275651"/>
                    <a:pt x="211265" y="275556"/>
                    <a:pt x="210217" y="275270"/>
                  </a:cubicBezTo>
                  <a:lnTo>
                    <a:pt x="0" y="219168"/>
                  </a:lnTo>
                  <a:lnTo>
                    <a:pt x="56102" y="8856"/>
                  </a:lnTo>
                  <a:cubicBezTo>
                    <a:pt x="57817" y="2474"/>
                    <a:pt x="64294" y="-1241"/>
                    <a:pt x="70676" y="379"/>
                  </a:cubicBezTo>
                  <a:cubicBezTo>
                    <a:pt x="77057" y="2093"/>
                    <a:pt x="80772" y="8570"/>
                    <a:pt x="79153" y="14952"/>
                  </a:cubicBezTo>
                  <a:lnTo>
                    <a:pt x="29147" y="202309"/>
                  </a:lnTo>
                  <a:lnTo>
                    <a:pt x="216408" y="252220"/>
                  </a:lnTo>
                  <a:cubicBezTo>
                    <a:pt x="222790" y="253934"/>
                    <a:pt x="226505" y="260411"/>
                    <a:pt x="224885" y="266793"/>
                  </a:cubicBezTo>
                  <a:cubicBezTo>
                    <a:pt x="223457" y="272127"/>
                    <a:pt x="218599" y="275651"/>
                    <a:pt x="213360" y="27565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54F717DC-E705-94BD-5EA9-A79B0D3C3C9E}"/>
                </a:ext>
              </a:extLst>
            </p:cNvPr>
            <p:cNvSpPr/>
            <p:nvPr/>
          </p:nvSpPr>
          <p:spPr>
            <a:xfrm>
              <a:off x="12508149" y="3704278"/>
              <a:ext cx="225168" cy="275651"/>
            </a:xfrm>
            <a:custGeom>
              <a:avLst/>
              <a:gdLst>
                <a:gd name="connsiteX0" fmla="*/ 157541 w 225168"/>
                <a:gd name="connsiteY0" fmla="*/ 275651 h 275651"/>
                <a:gd name="connsiteX1" fmla="*/ 154493 w 225168"/>
                <a:gd name="connsiteY1" fmla="*/ 275270 h 275651"/>
                <a:gd name="connsiteX2" fmla="*/ 146016 w 225168"/>
                <a:gd name="connsiteY2" fmla="*/ 260697 h 275651"/>
                <a:gd name="connsiteX3" fmla="*/ 196022 w 225168"/>
                <a:gd name="connsiteY3" fmla="*/ 73340 h 275651"/>
                <a:gd name="connsiteX4" fmla="*/ 8856 w 225168"/>
                <a:gd name="connsiteY4" fmla="*/ 23429 h 275651"/>
                <a:gd name="connsiteX5" fmla="*/ 379 w 225168"/>
                <a:gd name="connsiteY5" fmla="*/ 8856 h 275651"/>
                <a:gd name="connsiteX6" fmla="*/ 14952 w 225168"/>
                <a:gd name="connsiteY6" fmla="*/ 379 h 275651"/>
                <a:gd name="connsiteX7" fmla="*/ 225169 w 225168"/>
                <a:gd name="connsiteY7" fmla="*/ 56481 h 275651"/>
                <a:gd name="connsiteX8" fmla="*/ 169066 w 225168"/>
                <a:gd name="connsiteY8" fmla="*/ 266793 h 275651"/>
                <a:gd name="connsiteX9" fmla="*/ 157541 w 225168"/>
                <a:gd name="connsiteY9" fmla="*/ 275651 h 27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168" h="275651">
                  <a:moveTo>
                    <a:pt x="157541" y="275651"/>
                  </a:moveTo>
                  <a:cubicBezTo>
                    <a:pt x="156493" y="275651"/>
                    <a:pt x="155541" y="275556"/>
                    <a:pt x="154493" y="275270"/>
                  </a:cubicBezTo>
                  <a:cubicBezTo>
                    <a:pt x="148111" y="273556"/>
                    <a:pt x="144397" y="267079"/>
                    <a:pt x="146016" y="260697"/>
                  </a:cubicBezTo>
                  <a:lnTo>
                    <a:pt x="196022" y="73340"/>
                  </a:lnTo>
                  <a:lnTo>
                    <a:pt x="8856" y="23429"/>
                  </a:lnTo>
                  <a:cubicBezTo>
                    <a:pt x="2474" y="21715"/>
                    <a:pt x="-1241" y="15238"/>
                    <a:pt x="379" y="8856"/>
                  </a:cubicBezTo>
                  <a:cubicBezTo>
                    <a:pt x="2093" y="2474"/>
                    <a:pt x="8570" y="-1241"/>
                    <a:pt x="14952" y="379"/>
                  </a:cubicBezTo>
                  <a:lnTo>
                    <a:pt x="225169" y="56481"/>
                  </a:lnTo>
                  <a:lnTo>
                    <a:pt x="169066" y="266793"/>
                  </a:lnTo>
                  <a:cubicBezTo>
                    <a:pt x="167638" y="272127"/>
                    <a:pt x="162875" y="275651"/>
                    <a:pt x="157541" y="27565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DCB3B11A-6BD6-7464-E8EF-A6A6649585D4}"/>
                </a:ext>
              </a:extLst>
            </p:cNvPr>
            <p:cNvSpPr/>
            <p:nvPr/>
          </p:nvSpPr>
          <p:spPr>
            <a:xfrm>
              <a:off x="12537367" y="3415552"/>
              <a:ext cx="778330" cy="465698"/>
            </a:xfrm>
            <a:custGeom>
              <a:avLst/>
              <a:gdLst>
                <a:gd name="connsiteX0" fmla="*/ 766403 w 778330"/>
                <a:gd name="connsiteY0" fmla="*/ 465698 h 465698"/>
                <a:gd name="connsiteX1" fmla="*/ 760402 w 778330"/>
                <a:gd name="connsiteY1" fmla="*/ 464079 h 465698"/>
                <a:gd name="connsiteX2" fmla="*/ 5927 w 778330"/>
                <a:gd name="connsiteY2" fmla="*/ 22214 h 465698"/>
                <a:gd name="connsiteX3" fmla="*/ 1640 w 778330"/>
                <a:gd name="connsiteY3" fmla="*/ 5927 h 465698"/>
                <a:gd name="connsiteX4" fmla="*/ 17928 w 778330"/>
                <a:gd name="connsiteY4" fmla="*/ 1640 h 465698"/>
                <a:gd name="connsiteX5" fmla="*/ 772403 w 778330"/>
                <a:gd name="connsiteY5" fmla="*/ 443505 h 465698"/>
                <a:gd name="connsiteX6" fmla="*/ 776690 w 778330"/>
                <a:gd name="connsiteY6" fmla="*/ 459793 h 465698"/>
                <a:gd name="connsiteX7" fmla="*/ 766403 w 778330"/>
                <a:gd name="connsiteY7" fmla="*/ 465698 h 465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8330" h="465698">
                  <a:moveTo>
                    <a:pt x="766403" y="465698"/>
                  </a:moveTo>
                  <a:cubicBezTo>
                    <a:pt x="764402" y="465698"/>
                    <a:pt x="762307" y="465222"/>
                    <a:pt x="760402" y="464079"/>
                  </a:cubicBezTo>
                  <a:lnTo>
                    <a:pt x="5927" y="22214"/>
                  </a:lnTo>
                  <a:cubicBezTo>
                    <a:pt x="212" y="18881"/>
                    <a:pt x="-1693" y="11546"/>
                    <a:pt x="1640" y="5927"/>
                  </a:cubicBezTo>
                  <a:cubicBezTo>
                    <a:pt x="4974" y="212"/>
                    <a:pt x="12308" y="-1693"/>
                    <a:pt x="17928" y="1640"/>
                  </a:cubicBezTo>
                  <a:lnTo>
                    <a:pt x="772403" y="443505"/>
                  </a:lnTo>
                  <a:cubicBezTo>
                    <a:pt x="778118" y="446839"/>
                    <a:pt x="780023" y="454173"/>
                    <a:pt x="776690" y="459793"/>
                  </a:cubicBezTo>
                  <a:cubicBezTo>
                    <a:pt x="774499" y="463603"/>
                    <a:pt x="770498" y="465698"/>
                    <a:pt x="766403" y="46569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966DFB0D-798E-093A-5581-F84B6EF4C5F1}"/>
                </a:ext>
              </a:extLst>
            </p:cNvPr>
            <p:cNvSpPr/>
            <p:nvPr/>
          </p:nvSpPr>
          <p:spPr>
            <a:xfrm>
              <a:off x="13120127" y="3706436"/>
              <a:ext cx="225581" cy="274921"/>
            </a:xfrm>
            <a:custGeom>
              <a:avLst/>
              <a:gdLst>
                <a:gd name="connsiteX0" fmla="*/ 66580 w 225581"/>
                <a:gd name="connsiteY0" fmla="*/ 274826 h 274921"/>
                <a:gd name="connsiteX1" fmla="*/ 55055 w 225581"/>
                <a:gd name="connsiteY1" fmla="*/ 265968 h 274921"/>
                <a:gd name="connsiteX2" fmla="*/ 0 w 225581"/>
                <a:gd name="connsiteY2" fmla="*/ 55465 h 274921"/>
                <a:gd name="connsiteX3" fmla="*/ 210598 w 225581"/>
                <a:gd name="connsiteY3" fmla="*/ 411 h 274921"/>
                <a:gd name="connsiteX4" fmla="*/ 225171 w 225581"/>
                <a:gd name="connsiteY4" fmla="*/ 8888 h 274921"/>
                <a:gd name="connsiteX5" fmla="*/ 216694 w 225581"/>
                <a:gd name="connsiteY5" fmla="*/ 23461 h 274921"/>
                <a:gd name="connsiteX6" fmla="*/ 29147 w 225581"/>
                <a:gd name="connsiteY6" fmla="*/ 72515 h 274921"/>
                <a:gd name="connsiteX7" fmla="*/ 78105 w 225581"/>
                <a:gd name="connsiteY7" fmla="*/ 259967 h 274921"/>
                <a:gd name="connsiteX8" fmla="*/ 69628 w 225581"/>
                <a:gd name="connsiteY8" fmla="*/ 274540 h 274921"/>
                <a:gd name="connsiteX9" fmla="*/ 66580 w 225581"/>
                <a:gd name="connsiteY9" fmla="*/ 274921 h 274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581" h="274921">
                  <a:moveTo>
                    <a:pt x="66580" y="274826"/>
                  </a:moveTo>
                  <a:cubicBezTo>
                    <a:pt x="61341" y="274826"/>
                    <a:pt x="56483" y="271302"/>
                    <a:pt x="55055" y="265968"/>
                  </a:cubicBezTo>
                  <a:lnTo>
                    <a:pt x="0" y="55465"/>
                  </a:lnTo>
                  <a:lnTo>
                    <a:pt x="210598" y="411"/>
                  </a:lnTo>
                  <a:cubicBezTo>
                    <a:pt x="216980" y="-1304"/>
                    <a:pt x="223457" y="2506"/>
                    <a:pt x="225171" y="8888"/>
                  </a:cubicBezTo>
                  <a:cubicBezTo>
                    <a:pt x="226886" y="15270"/>
                    <a:pt x="223076" y="21747"/>
                    <a:pt x="216694" y="23461"/>
                  </a:cubicBezTo>
                  <a:lnTo>
                    <a:pt x="29147" y="72515"/>
                  </a:lnTo>
                  <a:lnTo>
                    <a:pt x="78105" y="259967"/>
                  </a:lnTo>
                  <a:cubicBezTo>
                    <a:pt x="79724" y="266349"/>
                    <a:pt x="76010" y="272826"/>
                    <a:pt x="69628" y="274540"/>
                  </a:cubicBezTo>
                  <a:cubicBezTo>
                    <a:pt x="68580" y="274826"/>
                    <a:pt x="67628" y="274921"/>
                    <a:pt x="66580" y="27492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EC86D1DC-B758-E70B-1894-07F4A1407C98}"/>
                </a:ext>
              </a:extLst>
            </p:cNvPr>
            <p:cNvSpPr/>
            <p:nvPr/>
          </p:nvSpPr>
          <p:spPr>
            <a:xfrm>
              <a:off x="12508339" y="3316007"/>
              <a:ext cx="225549" cy="274921"/>
            </a:xfrm>
            <a:custGeom>
              <a:avLst/>
              <a:gdLst>
                <a:gd name="connsiteX0" fmla="*/ 11904 w 225549"/>
                <a:gd name="connsiteY0" fmla="*/ 274921 h 274921"/>
                <a:gd name="connsiteX1" fmla="*/ 379 w 225549"/>
                <a:gd name="connsiteY1" fmla="*/ 266063 h 274921"/>
                <a:gd name="connsiteX2" fmla="*/ 8856 w 225549"/>
                <a:gd name="connsiteY2" fmla="*/ 251490 h 274921"/>
                <a:gd name="connsiteX3" fmla="*/ 196403 w 225549"/>
                <a:gd name="connsiteY3" fmla="*/ 202436 h 274921"/>
                <a:gd name="connsiteX4" fmla="*/ 147445 w 225549"/>
                <a:gd name="connsiteY4" fmla="*/ 14984 h 274921"/>
                <a:gd name="connsiteX5" fmla="*/ 155922 w 225549"/>
                <a:gd name="connsiteY5" fmla="*/ 411 h 274921"/>
                <a:gd name="connsiteX6" fmla="*/ 170495 w 225549"/>
                <a:gd name="connsiteY6" fmla="*/ 8888 h 274921"/>
                <a:gd name="connsiteX7" fmla="*/ 225550 w 225549"/>
                <a:gd name="connsiteY7" fmla="*/ 219391 h 274921"/>
                <a:gd name="connsiteX8" fmla="*/ 14952 w 225549"/>
                <a:gd name="connsiteY8" fmla="*/ 274445 h 274921"/>
                <a:gd name="connsiteX9" fmla="*/ 11904 w 225549"/>
                <a:gd name="connsiteY9" fmla="*/ 274826 h 274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549" h="274921">
                  <a:moveTo>
                    <a:pt x="11904" y="274921"/>
                  </a:moveTo>
                  <a:cubicBezTo>
                    <a:pt x="6665" y="274921"/>
                    <a:pt x="1807" y="271397"/>
                    <a:pt x="379" y="266063"/>
                  </a:cubicBezTo>
                  <a:cubicBezTo>
                    <a:pt x="-1241" y="259681"/>
                    <a:pt x="2474" y="253204"/>
                    <a:pt x="8856" y="251490"/>
                  </a:cubicBezTo>
                  <a:lnTo>
                    <a:pt x="196403" y="202436"/>
                  </a:lnTo>
                  <a:lnTo>
                    <a:pt x="147445" y="14984"/>
                  </a:lnTo>
                  <a:cubicBezTo>
                    <a:pt x="145825" y="8602"/>
                    <a:pt x="149540" y="2125"/>
                    <a:pt x="155922" y="411"/>
                  </a:cubicBezTo>
                  <a:cubicBezTo>
                    <a:pt x="162304" y="-1304"/>
                    <a:pt x="168781" y="2506"/>
                    <a:pt x="170495" y="8888"/>
                  </a:cubicBezTo>
                  <a:lnTo>
                    <a:pt x="225550" y="219391"/>
                  </a:lnTo>
                  <a:lnTo>
                    <a:pt x="14952" y="274445"/>
                  </a:lnTo>
                  <a:cubicBezTo>
                    <a:pt x="13904" y="274731"/>
                    <a:pt x="12952" y="274826"/>
                    <a:pt x="11904" y="274826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9FC57F04-27A1-ECD0-9633-6CAF285F4CA7}"/>
                </a:ext>
              </a:extLst>
            </p:cNvPr>
            <p:cNvSpPr/>
            <p:nvPr/>
          </p:nvSpPr>
          <p:spPr>
            <a:xfrm>
              <a:off x="12769155" y="3250338"/>
              <a:ext cx="169330" cy="174283"/>
            </a:xfrm>
            <a:custGeom>
              <a:avLst/>
              <a:gdLst>
                <a:gd name="connsiteX0" fmla="*/ 169331 w 169330"/>
                <a:gd name="connsiteY0" fmla="*/ 128659 h 174283"/>
                <a:gd name="connsiteX1" fmla="*/ 157424 w 169330"/>
                <a:gd name="connsiteY1" fmla="*/ 140565 h 174283"/>
                <a:gd name="connsiteX2" fmla="*/ 20360 w 169330"/>
                <a:gd name="connsiteY2" fmla="*/ 3500 h 174283"/>
                <a:gd name="connsiteX3" fmla="*/ 3500 w 169330"/>
                <a:gd name="connsiteY3" fmla="*/ 3500 h 174283"/>
                <a:gd name="connsiteX4" fmla="*/ 3500 w 169330"/>
                <a:gd name="connsiteY4" fmla="*/ 20360 h 174283"/>
                <a:gd name="connsiteX5" fmla="*/ 157424 w 169330"/>
                <a:gd name="connsiteY5" fmla="*/ 174284 h 174283"/>
                <a:gd name="connsiteX6" fmla="*/ 169331 w 169330"/>
                <a:gd name="connsiteY6" fmla="*/ 162377 h 174283"/>
                <a:gd name="connsiteX7" fmla="*/ 169331 w 169330"/>
                <a:gd name="connsiteY7" fmla="*/ 128659 h 174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330" h="174283">
                  <a:moveTo>
                    <a:pt x="169331" y="128659"/>
                  </a:moveTo>
                  <a:lnTo>
                    <a:pt x="157424" y="140565"/>
                  </a:lnTo>
                  <a:lnTo>
                    <a:pt x="20360" y="3500"/>
                  </a:lnTo>
                  <a:cubicBezTo>
                    <a:pt x="15692" y="-1167"/>
                    <a:pt x="8168" y="-1167"/>
                    <a:pt x="3500" y="3500"/>
                  </a:cubicBezTo>
                  <a:cubicBezTo>
                    <a:pt x="-1167" y="8168"/>
                    <a:pt x="-1167" y="15692"/>
                    <a:pt x="3500" y="20360"/>
                  </a:cubicBezTo>
                  <a:lnTo>
                    <a:pt x="157424" y="174284"/>
                  </a:lnTo>
                  <a:lnTo>
                    <a:pt x="169331" y="162377"/>
                  </a:lnTo>
                  <a:lnTo>
                    <a:pt x="169331" y="12865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0CABF192-B43C-A5A1-B3C1-55EA9CECA1FE}"/>
                </a:ext>
              </a:extLst>
            </p:cNvPr>
            <p:cNvSpPr/>
            <p:nvPr/>
          </p:nvSpPr>
          <p:spPr>
            <a:xfrm>
              <a:off x="12963537" y="3250338"/>
              <a:ext cx="120276" cy="137231"/>
            </a:xfrm>
            <a:custGeom>
              <a:avLst/>
              <a:gdLst>
                <a:gd name="connsiteX0" fmla="*/ 116872 w 120276"/>
                <a:gd name="connsiteY0" fmla="*/ 3500 h 137231"/>
                <a:gd name="connsiteX1" fmla="*/ 100013 w 120276"/>
                <a:gd name="connsiteY1" fmla="*/ 3500 h 137231"/>
                <a:gd name="connsiteX2" fmla="*/ 0 w 120276"/>
                <a:gd name="connsiteY2" fmla="*/ 103513 h 137231"/>
                <a:gd name="connsiteX3" fmla="*/ 0 w 120276"/>
                <a:gd name="connsiteY3" fmla="*/ 137231 h 137231"/>
                <a:gd name="connsiteX4" fmla="*/ 116776 w 120276"/>
                <a:gd name="connsiteY4" fmla="*/ 20455 h 137231"/>
                <a:gd name="connsiteX5" fmla="*/ 116776 w 120276"/>
                <a:gd name="connsiteY5" fmla="*/ 3596 h 13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276" h="137231">
                  <a:moveTo>
                    <a:pt x="116872" y="3500"/>
                  </a:moveTo>
                  <a:cubicBezTo>
                    <a:pt x="112204" y="-1167"/>
                    <a:pt x="104680" y="-1167"/>
                    <a:pt x="100013" y="3500"/>
                  </a:cubicBezTo>
                  <a:lnTo>
                    <a:pt x="0" y="103513"/>
                  </a:lnTo>
                  <a:lnTo>
                    <a:pt x="0" y="137231"/>
                  </a:lnTo>
                  <a:lnTo>
                    <a:pt x="116776" y="20455"/>
                  </a:lnTo>
                  <a:cubicBezTo>
                    <a:pt x="121444" y="15788"/>
                    <a:pt x="121444" y="8263"/>
                    <a:pt x="116776" y="3596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7" name="TextBox1167131128">
            <a:extLst>
              <a:ext uri="{FF2B5EF4-FFF2-40B4-BE49-F238E27FC236}">
                <a16:creationId xmlns:a16="http://schemas.microsoft.com/office/drawing/2014/main" id="{EA28AC9F-ECF4-FDDC-4BE2-E9E8FFCDFE0A}"/>
              </a:ext>
            </a:extLst>
          </p:cNvPr>
          <p:cNvSpPr txBox="1"/>
          <p:nvPr/>
        </p:nvSpPr>
        <p:spPr>
          <a:xfrm>
            <a:off x="7124204" y="3537173"/>
            <a:ext cx="438287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>
              <a:spcBef>
                <a:spcPts val="600"/>
              </a:spcBef>
            </a:pPr>
            <a:r>
              <a:rPr lang="en-US" dirty="0"/>
              <a:t>Specific cooling requirements</a:t>
            </a:r>
          </a:p>
        </p:txBody>
      </p:sp>
    </p:spTree>
    <p:extLst>
      <p:ext uri="{BB962C8B-B14F-4D97-AF65-F5344CB8AC3E}">
        <p14:creationId xmlns:p14="http://schemas.microsoft.com/office/powerpoint/2010/main" val="4246759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9C1FAD2-31DA-7581-4187-E1A94BAA72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C1FAD2-31DA-7581-4187-E1A94BAA72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1305411699">
            <a:extLst>
              <a:ext uri="{FF2B5EF4-FFF2-40B4-BE49-F238E27FC236}">
                <a16:creationId xmlns:a16="http://schemas.microsoft.com/office/drawing/2014/main" id="{8125DA90-60E3-E91B-0118-1CA1A7F8D0AC}"/>
              </a:ext>
            </a:extLst>
          </p:cNvPr>
          <p:cNvSpPr txBox="1"/>
          <p:nvPr/>
        </p:nvSpPr>
        <p:spPr>
          <a:xfrm>
            <a:off x="7574434" y="1702800"/>
            <a:ext cx="4064972" cy="4604400"/>
          </a:xfrm>
          <a:prstGeom prst="roundRect">
            <a:avLst>
              <a:gd name="adj" fmla="val 1756"/>
            </a:avLst>
          </a:prstGeom>
          <a:solidFill>
            <a:srgbClr val="CCE7EC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5" name="TextBox1305411699">
            <a:extLst>
              <a:ext uri="{FF2B5EF4-FFF2-40B4-BE49-F238E27FC236}">
                <a16:creationId xmlns:a16="http://schemas.microsoft.com/office/drawing/2014/main" id="{954D008E-9CCC-8740-D0D6-25A93CC72D9C}"/>
              </a:ext>
            </a:extLst>
          </p:cNvPr>
          <p:cNvSpPr txBox="1"/>
          <p:nvPr/>
        </p:nvSpPr>
        <p:spPr>
          <a:xfrm>
            <a:off x="3115757" y="1702800"/>
            <a:ext cx="4064972" cy="4604400"/>
          </a:xfrm>
          <a:prstGeom prst="roundRect">
            <a:avLst>
              <a:gd name="adj" fmla="val 1756"/>
            </a:avLst>
          </a:prstGeom>
          <a:solidFill>
            <a:srgbClr val="F1CDD5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1A22094-6FF2-2AA3-3335-846E5C73D5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V TMS – MAIN DESIGN DIFFERENTIATION FAC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7D01F4-BA89-D26B-FA0F-D2EE926E43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1384" y="6529464"/>
            <a:ext cx="580287" cy="123111"/>
          </a:xfrm>
        </p:spPr>
        <p:txBody>
          <a:bodyPr/>
          <a:lstStyle/>
          <a:p>
            <a:r>
              <a:rPr lang="en-US"/>
              <a:t>Source: FEV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32A8A4-032B-CDC6-F820-75075ED39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ommercial vehicle TMS layouts are differentiated by 4 main factors that are impacting the design and the efficiency of the system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E31F9DC-DCF6-E380-9431-1E4FDC51E6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7" name="TextBox307337503">
            <a:extLst>
              <a:ext uri="{FF2B5EF4-FFF2-40B4-BE49-F238E27FC236}">
                <a16:creationId xmlns:a16="http://schemas.microsoft.com/office/drawing/2014/main" id="{C0083963-8677-89CE-3A60-8C9CDB450D95}"/>
              </a:ext>
            </a:extLst>
          </p:cNvPr>
          <p:cNvSpPr txBox="1"/>
          <p:nvPr/>
        </p:nvSpPr>
        <p:spPr>
          <a:xfrm>
            <a:off x="550862" y="2253600"/>
            <a:ext cx="11090275" cy="946800"/>
          </a:xfrm>
          <a:prstGeom prst="roundRect">
            <a:avLst>
              <a:gd name="adj" fmla="val 5366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9" name="TextBox307337503">
            <a:extLst>
              <a:ext uri="{FF2B5EF4-FFF2-40B4-BE49-F238E27FC236}">
                <a16:creationId xmlns:a16="http://schemas.microsoft.com/office/drawing/2014/main" id="{987851C1-A7EF-E44D-4E45-8B12214DA7F4}"/>
              </a:ext>
            </a:extLst>
          </p:cNvPr>
          <p:cNvSpPr txBox="1"/>
          <p:nvPr/>
        </p:nvSpPr>
        <p:spPr>
          <a:xfrm>
            <a:off x="550862" y="3289709"/>
            <a:ext cx="11090275" cy="946800"/>
          </a:xfrm>
          <a:prstGeom prst="roundRect">
            <a:avLst>
              <a:gd name="adj" fmla="val 5366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0" name="TextBox307337503">
            <a:extLst>
              <a:ext uri="{FF2B5EF4-FFF2-40B4-BE49-F238E27FC236}">
                <a16:creationId xmlns:a16="http://schemas.microsoft.com/office/drawing/2014/main" id="{CF235B33-86C1-D14E-62C8-E43738D964D6}"/>
              </a:ext>
            </a:extLst>
          </p:cNvPr>
          <p:cNvSpPr txBox="1"/>
          <p:nvPr/>
        </p:nvSpPr>
        <p:spPr>
          <a:xfrm>
            <a:off x="550862" y="4325817"/>
            <a:ext cx="11090275" cy="946800"/>
          </a:xfrm>
          <a:prstGeom prst="roundRect">
            <a:avLst>
              <a:gd name="adj" fmla="val 5366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1" name="TextBox307337503">
            <a:extLst>
              <a:ext uri="{FF2B5EF4-FFF2-40B4-BE49-F238E27FC236}">
                <a16:creationId xmlns:a16="http://schemas.microsoft.com/office/drawing/2014/main" id="{16CF5263-996B-F572-2F9B-451D95B996EB}"/>
              </a:ext>
            </a:extLst>
          </p:cNvPr>
          <p:cNvSpPr txBox="1"/>
          <p:nvPr/>
        </p:nvSpPr>
        <p:spPr>
          <a:xfrm>
            <a:off x="550862" y="5361925"/>
            <a:ext cx="11090275" cy="946800"/>
          </a:xfrm>
          <a:prstGeom prst="roundRect">
            <a:avLst>
              <a:gd name="adj" fmla="val 5366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91E740A-DFC8-62AD-5F25-DF3471EB9300}"/>
              </a:ext>
            </a:extLst>
          </p:cNvPr>
          <p:cNvSpPr txBox="1"/>
          <p:nvPr/>
        </p:nvSpPr>
        <p:spPr>
          <a:xfrm>
            <a:off x="1245485" y="2403834"/>
            <a:ext cx="1402122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400" b="1">
                <a:latin typeface="+mn-lt"/>
              </a:rPr>
              <a:t>Refrigerant circuit(s) integr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6501E8A-B6A1-29A5-09A2-3DD3F65C8DF1}"/>
              </a:ext>
            </a:extLst>
          </p:cNvPr>
          <p:cNvSpPr txBox="1"/>
          <p:nvPr/>
        </p:nvSpPr>
        <p:spPr>
          <a:xfrm>
            <a:off x="1245485" y="3547666"/>
            <a:ext cx="140212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400" b="1">
                <a:latin typeface="+mn-lt"/>
              </a:rPr>
              <a:t>EDU and PE integration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511BF0F-65AC-85F5-CDD0-53F904262868}"/>
              </a:ext>
            </a:extLst>
          </p:cNvPr>
          <p:cNvSpPr txBox="1"/>
          <p:nvPr/>
        </p:nvSpPr>
        <p:spPr>
          <a:xfrm>
            <a:off x="1245485" y="4583773"/>
            <a:ext cx="140212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400" b="1">
                <a:latin typeface="+mn-lt"/>
              </a:rPr>
              <a:t>Heat pump adop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09CFC36-9E84-2754-4C68-AD36FB652E6B}"/>
              </a:ext>
            </a:extLst>
          </p:cNvPr>
          <p:cNvSpPr txBox="1"/>
          <p:nvPr/>
        </p:nvSpPr>
        <p:spPr>
          <a:xfrm>
            <a:off x="1245485" y="5619882"/>
            <a:ext cx="140212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n-US" sz="1400" b="1">
                <a:latin typeface="+mn-lt"/>
              </a:rPr>
              <a:t>Brake resistors cooling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8202A08-F2B9-CDEF-E083-CE3E2CB71CA0}"/>
              </a:ext>
            </a:extLst>
          </p:cNvPr>
          <p:cNvGrpSpPr/>
          <p:nvPr/>
        </p:nvGrpSpPr>
        <p:grpSpPr>
          <a:xfrm>
            <a:off x="673139" y="2501241"/>
            <a:ext cx="421206" cy="451518"/>
            <a:chOff x="-416525" y="2290953"/>
            <a:chExt cx="837907" cy="898207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39FF19A-553C-5820-726A-CBDED5AF1BEC}"/>
                </a:ext>
              </a:extLst>
            </p:cNvPr>
            <p:cNvSpPr/>
            <p:nvPr/>
          </p:nvSpPr>
          <p:spPr>
            <a:xfrm>
              <a:off x="-10001" y="2290953"/>
              <a:ext cx="23812" cy="898207"/>
            </a:xfrm>
            <a:custGeom>
              <a:avLst/>
              <a:gdLst>
                <a:gd name="connsiteX0" fmla="*/ 11906 w 23812"/>
                <a:gd name="connsiteY0" fmla="*/ 898208 h 898207"/>
                <a:gd name="connsiteX1" fmla="*/ 0 w 23812"/>
                <a:gd name="connsiteY1" fmla="*/ 886301 h 898207"/>
                <a:gd name="connsiteX2" fmla="*/ 0 w 23812"/>
                <a:gd name="connsiteY2" fmla="*/ 11906 h 898207"/>
                <a:gd name="connsiteX3" fmla="*/ 11906 w 23812"/>
                <a:gd name="connsiteY3" fmla="*/ 0 h 898207"/>
                <a:gd name="connsiteX4" fmla="*/ 23813 w 23812"/>
                <a:gd name="connsiteY4" fmla="*/ 11906 h 898207"/>
                <a:gd name="connsiteX5" fmla="*/ 23813 w 23812"/>
                <a:gd name="connsiteY5" fmla="*/ 886301 h 898207"/>
                <a:gd name="connsiteX6" fmla="*/ 11906 w 23812"/>
                <a:gd name="connsiteY6" fmla="*/ 898208 h 89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898207">
                  <a:moveTo>
                    <a:pt x="11906" y="898208"/>
                  </a:moveTo>
                  <a:cubicBezTo>
                    <a:pt x="5334" y="898208"/>
                    <a:pt x="0" y="892874"/>
                    <a:pt x="0" y="886301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9" y="0"/>
                    <a:pt x="23813" y="5334"/>
                    <a:pt x="23813" y="11906"/>
                  </a:cubicBezTo>
                  <a:lnTo>
                    <a:pt x="23813" y="886301"/>
                  </a:lnTo>
                  <a:cubicBezTo>
                    <a:pt x="23813" y="892874"/>
                    <a:pt x="18479" y="898208"/>
                    <a:pt x="11906" y="89820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7626225-45E9-8B10-02ED-278B2856CCFC}"/>
                </a:ext>
              </a:extLst>
            </p:cNvPr>
            <p:cNvSpPr/>
            <p:nvPr/>
          </p:nvSpPr>
          <p:spPr>
            <a:xfrm>
              <a:off x="-155424" y="2963322"/>
              <a:ext cx="314753" cy="174307"/>
            </a:xfrm>
            <a:custGeom>
              <a:avLst/>
              <a:gdLst>
                <a:gd name="connsiteX0" fmla="*/ 302776 w 314753"/>
                <a:gd name="connsiteY0" fmla="*/ 174308 h 174307"/>
                <a:gd name="connsiteX1" fmla="*/ 294394 w 314753"/>
                <a:gd name="connsiteY1" fmla="*/ 170783 h 174307"/>
                <a:gd name="connsiteX2" fmla="*/ 157329 w 314753"/>
                <a:gd name="connsiteY2" fmla="*/ 33719 h 174307"/>
                <a:gd name="connsiteX3" fmla="*/ 20360 w 314753"/>
                <a:gd name="connsiteY3" fmla="*/ 170688 h 174307"/>
                <a:gd name="connsiteX4" fmla="*/ 3500 w 314753"/>
                <a:gd name="connsiteY4" fmla="*/ 170688 h 174307"/>
                <a:gd name="connsiteX5" fmla="*/ 3500 w 314753"/>
                <a:gd name="connsiteY5" fmla="*/ 153829 h 174307"/>
                <a:gd name="connsiteX6" fmla="*/ 157329 w 314753"/>
                <a:gd name="connsiteY6" fmla="*/ 0 h 174307"/>
                <a:gd name="connsiteX7" fmla="*/ 311253 w 314753"/>
                <a:gd name="connsiteY7" fmla="*/ 153924 h 174307"/>
                <a:gd name="connsiteX8" fmla="*/ 311253 w 314753"/>
                <a:gd name="connsiteY8" fmla="*/ 170783 h 174307"/>
                <a:gd name="connsiteX9" fmla="*/ 302871 w 314753"/>
                <a:gd name="connsiteY9" fmla="*/ 174308 h 174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4753" h="174307">
                  <a:moveTo>
                    <a:pt x="302776" y="174308"/>
                  </a:moveTo>
                  <a:cubicBezTo>
                    <a:pt x="299728" y="174308"/>
                    <a:pt x="296680" y="173165"/>
                    <a:pt x="294394" y="170783"/>
                  </a:cubicBezTo>
                  <a:lnTo>
                    <a:pt x="157329" y="33719"/>
                  </a:lnTo>
                  <a:lnTo>
                    <a:pt x="20360" y="170688"/>
                  </a:lnTo>
                  <a:cubicBezTo>
                    <a:pt x="15692" y="175355"/>
                    <a:pt x="8168" y="175355"/>
                    <a:pt x="3500" y="170688"/>
                  </a:cubicBezTo>
                  <a:cubicBezTo>
                    <a:pt x="-1167" y="166021"/>
                    <a:pt x="-1167" y="158496"/>
                    <a:pt x="3500" y="153829"/>
                  </a:cubicBezTo>
                  <a:lnTo>
                    <a:pt x="157329" y="0"/>
                  </a:lnTo>
                  <a:lnTo>
                    <a:pt x="311253" y="153924"/>
                  </a:lnTo>
                  <a:cubicBezTo>
                    <a:pt x="315920" y="158591"/>
                    <a:pt x="315920" y="166116"/>
                    <a:pt x="311253" y="170783"/>
                  </a:cubicBezTo>
                  <a:cubicBezTo>
                    <a:pt x="308967" y="173069"/>
                    <a:pt x="305919" y="174308"/>
                    <a:pt x="302871" y="17430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9766165-0839-04F8-B754-6E0F82FE56F1}"/>
                </a:ext>
              </a:extLst>
            </p:cNvPr>
            <p:cNvSpPr/>
            <p:nvPr/>
          </p:nvSpPr>
          <p:spPr>
            <a:xfrm>
              <a:off x="-388331" y="2509173"/>
              <a:ext cx="780662" cy="461959"/>
            </a:xfrm>
            <a:custGeom>
              <a:avLst/>
              <a:gdLst>
                <a:gd name="connsiteX0" fmla="*/ 11903 w 780662"/>
                <a:gd name="connsiteY0" fmla="*/ 461864 h 461959"/>
                <a:gd name="connsiteX1" fmla="*/ 1616 w 780662"/>
                <a:gd name="connsiteY1" fmla="*/ 455959 h 461959"/>
                <a:gd name="connsiteX2" fmla="*/ 5998 w 780662"/>
                <a:gd name="connsiteY2" fmla="*/ 439671 h 461959"/>
                <a:gd name="connsiteX3" fmla="*/ 762759 w 780662"/>
                <a:gd name="connsiteY3" fmla="*/ 1616 h 461959"/>
                <a:gd name="connsiteX4" fmla="*/ 779047 w 780662"/>
                <a:gd name="connsiteY4" fmla="*/ 5998 h 461959"/>
                <a:gd name="connsiteX5" fmla="*/ 774665 w 780662"/>
                <a:gd name="connsiteY5" fmla="*/ 22285 h 461959"/>
                <a:gd name="connsiteX6" fmla="*/ 17904 w 780662"/>
                <a:gd name="connsiteY6" fmla="*/ 460340 h 461959"/>
                <a:gd name="connsiteX7" fmla="*/ 11998 w 780662"/>
                <a:gd name="connsiteY7" fmla="*/ 461959 h 461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0662" h="461959">
                  <a:moveTo>
                    <a:pt x="11903" y="461864"/>
                  </a:moveTo>
                  <a:cubicBezTo>
                    <a:pt x="7807" y="461864"/>
                    <a:pt x="3807" y="459768"/>
                    <a:pt x="1616" y="455959"/>
                  </a:cubicBezTo>
                  <a:cubicBezTo>
                    <a:pt x="-1718" y="450243"/>
                    <a:pt x="283" y="443005"/>
                    <a:pt x="5998" y="439671"/>
                  </a:cubicBezTo>
                  <a:lnTo>
                    <a:pt x="762759" y="1616"/>
                  </a:lnTo>
                  <a:cubicBezTo>
                    <a:pt x="768474" y="-1718"/>
                    <a:pt x="775713" y="282"/>
                    <a:pt x="779047" y="5998"/>
                  </a:cubicBezTo>
                  <a:cubicBezTo>
                    <a:pt x="782380" y="11713"/>
                    <a:pt x="780380" y="18951"/>
                    <a:pt x="774665" y="22285"/>
                  </a:cubicBezTo>
                  <a:lnTo>
                    <a:pt x="17904" y="460340"/>
                  </a:lnTo>
                  <a:cubicBezTo>
                    <a:pt x="15999" y="461388"/>
                    <a:pt x="13999" y="461959"/>
                    <a:pt x="11998" y="46195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9DC81AC-2E82-C625-82CE-89281518F2FF}"/>
                </a:ext>
              </a:extLst>
            </p:cNvPr>
            <p:cNvSpPr/>
            <p:nvPr/>
          </p:nvSpPr>
          <p:spPr>
            <a:xfrm>
              <a:off x="196119" y="2408493"/>
              <a:ext cx="225263" cy="275651"/>
            </a:xfrm>
            <a:custGeom>
              <a:avLst/>
              <a:gdLst>
                <a:gd name="connsiteX0" fmla="*/ 213265 w 225263"/>
                <a:gd name="connsiteY0" fmla="*/ 275651 h 275651"/>
                <a:gd name="connsiteX1" fmla="*/ 210217 w 225263"/>
                <a:gd name="connsiteY1" fmla="*/ 275270 h 275651"/>
                <a:gd name="connsiteX2" fmla="*/ 0 w 225263"/>
                <a:gd name="connsiteY2" fmla="*/ 219168 h 275651"/>
                <a:gd name="connsiteX3" fmla="*/ 56102 w 225263"/>
                <a:gd name="connsiteY3" fmla="*/ 8856 h 275651"/>
                <a:gd name="connsiteX4" fmla="*/ 70676 w 225263"/>
                <a:gd name="connsiteY4" fmla="*/ 379 h 275651"/>
                <a:gd name="connsiteX5" fmla="*/ 79153 w 225263"/>
                <a:gd name="connsiteY5" fmla="*/ 14952 h 275651"/>
                <a:gd name="connsiteX6" fmla="*/ 29147 w 225263"/>
                <a:gd name="connsiteY6" fmla="*/ 202309 h 275651"/>
                <a:gd name="connsiteX7" fmla="*/ 216408 w 225263"/>
                <a:gd name="connsiteY7" fmla="*/ 252220 h 275651"/>
                <a:gd name="connsiteX8" fmla="*/ 224885 w 225263"/>
                <a:gd name="connsiteY8" fmla="*/ 266793 h 275651"/>
                <a:gd name="connsiteX9" fmla="*/ 213360 w 225263"/>
                <a:gd name="connsiteY9" fmla="*/ 275651 h 27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263" h="275651">
                  <a:moveTo>
                    <a:pt x="213265" y="275651"/>
                  </a:moveTo>
                  <a:cubicBezTo>
                    <a:pt x="212217" y="275651"/>
                    <a:pt x="211265" y="275556"/>
                    <a:pt x="210217" y="275270"/>
                  </a:cubicBezTo>
                  <a:lnTo>
                    <a:pt x="0" y="219168"/>
                  </a:lnTo>
                  <a:lnTo>
                    <a:pt x="56102" y="8856"/>
                  </a:lnTo>
                  <a:cubicBezTo>
                    <a:pt x="57817" y="2474"/>
                    <a:pt x="64294" y="-1241"/>
                    <a:pt x="70676" y="379"/>
                  </a:cubicBezTo>
                  <a:cubicBezTo>
                    <a:pt x="77057" y="2093"/>
                    <a:pt x="80772" y="8570"/>
                    <a:pt x="79153" y="14952"/>
                  </a:cubicBezTo>
                  <a:lnTo>
                    <a:pt x="29147" y="202309"/>
                  </a:lnTo>
                  <a:lnTo>
                    <a:pt x="216408" y="252220"/>
                  </a:lnTo>
                  <a:cubicBezTo>
                    <a:pt x="222790" y="253934"/>
                    <a:pt x="226505" y="260411"/>
                    <a:pt x="224885" y="266793"/>
                  </a:cubicBezTo>
                  <a:cubicBezTo>
                    <a:pt x="223457" y="272127"/>
                    <a:pt x="218599" y="275651"/>
                    <a:pt x="213360" y="27565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9B89637-A27B-5DA9-ABDC-C15C52C98F3E}"/>
                </a:ext>
              </a:extLst>
            </p:cNvPr>
            <p:cNvSpPr/>
            <p:nvPr/>
          </p:nvSpPr>
          <p:spPr>
            <a:xfrm>
              <a:off x="-416525" y="2795399"/>
              <a:ext cx="225168" cy="275651"/>
            </a:xfrm>
            <a:custGeom>
              <a:avLst/>
              <a:gdLst>
                <a:gd name="connsiteX0" fmla="*/ 157541 w 225168"/>
                <a:gd name="connsiteY0" fmla="*/ 275651 h 275651"/>
                <a:gd name="connsiteX1" fmla="*/ 154493 w 225168"/>
                <a:gd name="connsiteY1" fmla="*/ 275270 h 275651"/>
                <a:gd name="connsiteX2" fmla="*/ 146016 w 225168"/>
                <a:gd name="connsiteY2" fmla="*/ 260697 h 275651"/>
                <a:gd name="connsiteX3" fmla="*/ 196022 w 225168"/>
                <a:gd name="connsiteY3" fmla="*/ 73340 h 275651"/>
                <a:gd name="connsiteX4" fmla="*/ 8856 w 225168"/>
                <a:gd name="connsiteY4" fmla="*/ 23429 h 275651"/>
                <a:gd name="connsiteX5" fmla="*/ 379 w 225168"/>
                <a:gd name="connsiteY5" fmla="*/ 8856 h 275651"/>
                <a:gd name="connsiteX6" fmla="*/ 14952 w 225168"/>
                <a:gd name="connsiteY6" fmla="*/ 379 h 275651"/>
                <a:gd name="connsiteX7" fmla="*/ 225169 w 225168"/>
                <a:gd name="connsiteY7" fmla="*/ 56481 h 275651"/>
                <a:gd name="connsiteX8" fmla="*/ 169066 w 225168"/>
                <a:gd name="connsiteY8" fmla="*/ 266793 h 275651"/>
                <a:gd name="connsiteX9" fmla="*/ 157541 w 225168"/>
                <a:gd name="connsiteY9" fmla="*/ 275651 h 27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168" h="275651">
                  <a:moveTo>
                    <a:pt x="157541" y="275651"/>
                  </a:moveTo>
                  <a:cubicBezTo>
                    <a:pt x="156493" y="275651"/>
                    <a:pt x="155541" y="275556"/>
                    <a:pt x="154493" y="275270"/>
                  </a:cubicBezTo>
                  <a:cubicBezTo>
                    <a:pt x="148111" y="273556"/>
                    <a:pt x="144397" y="267079"/>
                    <a:pt x="146016" y="260697"/>
                  </a:cubicBezTo>
                  <a:lnTo>
                    <a:pt x="196022" y="73340"/>
                  </a:lnTo>
                  <a:lnTo>
                    <a:pt x="8856" y="23429"/>
                  </a:lnTo>
                  <a:cubicBezTo>
                    <a:pt x="2474" y="21715"/>
                    <a:pt x="-1241" y="15238"/>
                    <a:pt x="379" y="8856"/>
                  </a:cubicBezTo>
                  <a:cubicBezTo>
                    <a:pt x="2093" y="2474"/>
                    <a:pt x="8570" y="-1241"/>
                    <a:pt x="14952" y="379"/>
                  </a:cubicBezTo>
                  <a:lnTo>
                    <a:pt x="225169" y="56481"/>
                  </a:lnTo>
                  <a:lnTo>
                    <a:pt x="169066" y="266793"/>
                  </a:lnTo>
                  <a:cubicBezTo>
                    <a:pt x="167638" y="272127"/>
                    <a:pt x="162875" y="275651"/>
                    <a:pt x="157541" y="27565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E25197A-0021-EE11-0CB2-068D2D479BA4}"/>
                </a:ext>
              </a:extLst>
            </p:cNvPr>
            <p:cNvSpPr/>
            <p:nvPr/>
          </p:nvSpPr>
          <p:spPr>
            <a:xfrm>
              <a:off x="-387307" y="2506673"/>
              <a:ext cx="778330" cy="465698"/>
            </a:xfrm>
            <a:custGeom>
              <a:avLst/>
              <a:gdLst>
                <a:gd name="connsiteX0" fmla="*/ 766403 w 778330"/>
                <a:gd name="connsiteY0" fmla="*/ 465698 h 465698"/>
                <a:gd name="connsiteX1" fmla="*/ 760402 w 778330"/>
                <a:gd name="connsiteY1" fmla="*/ 464079 h 465698"/>
                <a:gd name="connsiteX2" fmla="*/ 5927 w 778330"/>
                <a:gd name="connsiteY2" fmla="*/ 22214 h 465698"/>
                <a:gd name="connsiteX3" fmla="*/ 1640 w 778330"/>
                <a:gd name="connsiteY3" fmla="*/ 5927 h 465698"/>
                <a:gd name="connsiteX4" fmla="*/ 17928 w 778330"/>
                <a:gd name="connsiteY4" fmla="*/ 1640 h 465698"/>
                <a:gd name="connsiteX5" fmla="*/ 772403 w 778330"/>
                <a:gd name="connsiteY5" fmla="*/ 443505 h 465698"/>
                <a:gd name="connsiteX6" fmla="*/ 776690 w 778330"/>
                <a:gd name="connsiteY6" fmla="*/ 459793 h 465698"/>
                <a:gd name="connsiteX7" fmla="*/ 766403 w 778330"/>
                <a:gd name="connsiteY7" fmla="*/ 465698 h 465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8330" h="465698">
                  <a:moveTo>
                    <a:pt x="766403" y="465698"/>
                  </a:moveTo>
                  <a:cubicBezTo>
                    <a:pt x="764402" y="465698"/>
                    <a:pt x="762307" y="465222"/>
                    <a:pt x="760402" y="464079"/>
                  </a:cubicBezTo>
                  <a:lnTo>
                    <a:pt x="5927" y="22214"/>
                  </a:lnTo>
                  <a:cubicBezTo>
                    <a:pt x="212" y="18881"/>
                    <a:pt x="-1693" y="11546"/>
                    <a:pt x="1640" y="5927"/>
                  </a:cubicBezTo>
                  <a:cubicBezTo>
                    <a:pt x="4974" y="212"/>
                    <a:pt x="12308" y="-1693"/>
                    <a:pt x="17928" y="1640"/>
                  </a:cubicBezTo>
                  <a:lnTo>
                    <a:pt x="772403" y="443505"/>
                  </a:lnTo>
                  <a:cubicBezTo>
                    <a:pt x="778118" y="446839"/>
                    <a:pt x="780023" y="454173"/>
                    <a:pt x="776690" y="459793"/>
                  </a:cubicBezTo>
                  <a:cubicBezTo>
                    <a:pt x="774499" y="463603"/>
                    <a:pt x="770498" y="465698"/>
                    <a:pt x="766403" y="46569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2B9287E-BF6C-31F0-1ACD-014CAB80CA7D}"/>
                </a:ext>
              </a:extLst>
            </p:cNvPr>
            <p:cNvSpPr/>
            <p:nvPr/>
          </p:nvSpPr>
          <p:spPr>
            <a:xfrm>
              <a:off x="195452" y="2797557"/>
              <a:ext cx="225581" cy="274921"/>
            </a:xfrm>
            <a:custGeom>
              <a:avLst/>
              <a:gdLst>
                <a:gd name="connsiteX0" fmla="*/ 66580 w 225581"/>
                <a:gd name="connsiteY0" fmla="*/ 274826 h 274921"/>
                <a:gd name="connsiteX1" fmla="*/ 55055 w 225581"/>
                <a:gd name="connsiteY1" fmla="*/ 265968 h 274921"/>
                <a:gd name="connsiteX2" fmla="*/ 0 w 225581"/>
                <a:gd name="connsiteY2" fmla="*/ 55465 h 274921"/>
                <a:gd name="connsiteX3" fmla="*/ 210598 w 225581"/>
                <a:gd name="connsiteY3" fmla="*/ 411 h 274921"/>
                <a:gd name="connsiteX4" fmla="*/ 225171 w 225581"/>
                <a:gd name="connsiteY4" fmla="*/ 8888 h 274921"/>
                <a:gd name="connsiteX5" fmla="*/ 216694 w 225581"/>
                <a:gd name="connsiteY5" fmla="*/ 23461 h 274921"/>
                <a:gd name="connsiteX6" fmla="*/ 29147 w 225581"/>
                <a:gd name="connsiteY6" fmla="*/ 72515 h 274921"/>
                <a:gd name="connsiteX7" fmla="*/ 78105 w 225581"/>
                <a:gd name="connsiteY7" fmla="*/ 259967 h 274921"/>
                <a:gd name="connsiteX8" fmla="*/ 69628 w 225581"/>
                <a:gd name="connsiteY8" fmla="*/ 274540 h 274921"/>
                <a:gd name="connsiteX9" fmla="*/ 66580 w 225581"/>
                <a:gd name="connsiteY9" fmla="*/ 274921 h 274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581" h="274921">
                  <a:moveTo>
                    <a:pt x="66580" y="274826"/>
                  </a:moveTo>
                  <a:cubicBezTo>
                    <a:pt x="61341" y="274826"/>
                    <a:pt x="56483" y="271302"/>
                    <a:pt x="55055" y="265968"/>
                  </a:cubicBezTo>
                  <a:lnTo>
                    <a:pt x="0" y="55465"/>
                  </a:lnTo>
                  <a:lnTo>
                    <a:pt x="210598" y="411"/>
                  </a:lnTo>
                  <a:cubicBezTo>
                    <a:pt x="216980" y="-1304"/>
                    <a:pt x="223457" y="2506"/>
                    <a:pt x="225171" y="8888"/>
                  </a:cubicBezTo>
                  <a:cubicBezTo>
                    <a:pt x="226886" y="15270"/>
                    <a:pt x="223076" y="21747"/>
                    <a:pt x="216694" y="23461"/>
                  </a:cubicBezTo>
                  <a:lnTo>
                    <a:pt x="29147" y="72515"/>
                  </a:lnTo>
                  <a:lnTo>
                    <a:pt x="78105" y="259967"/>
                  </a:lnTo>
                  <a:cubicBezTo>
                    <a:pt x="79724" y="266349"/>
                    <a:pt x="76010" y="272826"/>
                    <a:pt x="69628" y="274540"/>
                  </a:cubicBezTo>
                  <a:cubicBezTo>
                    <a:pt x="68580" y="274826"/>
                    <a:pt x="67628" y="274921"/>
                    <a:pt x="66580" y="27492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520D6EE-3B56-A90B-2143-FAF080206ECF}"/>
                </a:ext>
              </a:extLst>
            </p:cNvPr>
            <p:cNvSpPr/>
            <p:nvPr/>
          </p:nvSpPr>
          <p:spPr>
            <a:xfrm>
              <a:off x="-416335" y="2407128"/>
              <a:ext cx="225549" cy="274921"/>
            </a:xfrm>
            <a:custGeom>
              <a:avLst/>
              <a:gdLst>
                <a:gd name="connsiteX0" fmla="*/ 11904 w 225549"/>
                <a:gd name="connsiteY0" fmla="*/ 274921 h 274921"/>
                <a:gd name="connsiteX1" fmla="*/ 379 w 225549"/>
                <a:gd name="connsiteY1" fmla="*/ 266063 h 274921"/>
                <a:gd name="connsiteX2" fmla="*/ 8856 w 225549"/>
                <a:gd name="connsiteY2" fmla="*/ 251490 h 274921"/>
                <a:gd name="connsiteX3" fmla="*/ 196403 w 225549"/>
                <a:gd name="connsiteY3" fmla="*/ 202436 h 274921"/>
                <a:gd name="connsiteX4" fmla="*/ 147445 w 225549"/>
                <a:gd name="connsiteY4" fmla="*/ 14984 h 274921"/>
                <a:gd name="connsiteX5" fmla="*/ 155922 w 225549"/>
                <a:gd name="connsiteY5" fmla="*/ 411 h 274921"/>
                <a:gd name="connsiteX6" fmla="*/ 170495 w 225549"/>
                <a:gd name="connsiteY6" fmla="*/ 8888 h 274921"/>
                <a:gd name="connsiteX7" fmla="*/ 225550 w 225549"/>
                <a:gd name="connsiteY7" fmla="*/ 219391 h 274921"/>
                <a:gd name="connsiteX8" fmla="*/ 14952 w 225549"/>
                <a:gd name="connsiteY8" fmla="*/ 274445 h 274921"/>
                <a:gd name="connsiteX9" fmla="*/ 11904 w 225549"/>
                <a:gd name="connsiteY9" fmla="*/ 274826 h 274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549" h="274921">
                  <a:moveTo>
                    <a:pt x="11904" y="274921"/>
                  </a:moveTo>
                  <a:cubicBezTo>
                    <a:pt x="6665" y="274921"/>
                    <a:pt x="1807" y="271397"/>
                    <a:pt x="379" y="266063"/>
                  </a:cubicBezTo>
                  <a:cubicBezTo>
                    <a:pt x="-1241" y="259681"/>
                    <a:pt x="2474" y="253204"/>
                    <a:pt x="8856" y="251490"/>
                  </a:cubicBezTo>
                  <a:lnTo>
                    <a:pt x="196403" y="202436"/>
                  </a:lnTo>
                  <a:lnTo>
                    <a:pt x="147445" y="14984"/>
                  </a:lnTo>
                  <a:cubicBezTo>
                    <a:pt x="145825" y="8602"/>
                    <a:pt x="149540" y="2125"/>
                    <a:pt x="155922" y="411"/>
                  </a:cubicBezTo>
                  <a:cubicBezTo>
                    <a:pt x="162304" y="-1304"/>
                    <a:pt x="168781" y="2506"/>
                    <a:pt x="170495" y="8888"/>
                  </a:cubicBezTo>
                  <a:lnTo>
                    <a:pt x="225550" y="219391"/>
                  </a:lnTo>
                  <a:lnTo>
                    <a:pt x="14952" y="274445"/>
                  </a:lnTo>
                  <a:cubicBezTo>
                    <a:pt x="13904" y="274731"/>
                    <a:pt x="12952" y="274826"/>
                    <a:pt x="11904" y="274826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209DC27-D51D-7C74-E423-700D450E44F0}"/>
                </a:ext>
              </a:extLst>
            </p:cNvPr>
            <p:cNvSpPr/>
            <p:nvPr/>
          </p:nvSpPr>
          <p:spPr>
            <a:xfrm>
              <a:off x="-155519" y="2341459"/>
              <a:ext cx="169330" cy="174283"/>
            </a:xfrm>
            <a:custGeom>
              <a:avLst/>
              <a:gdLst>
                <a:gd name="connsiteX0" fmla="*/ 169331 w 169330"/>
                <a:gd name="connsiteY0" fmla="*/ 128659 h 174283"/>
                <a:gd name="connsiteX1" fmla="*/ 157424 w 169330"/>
                <a:gd name="connsiteY1" fmla="*/ 140565 h 174283"/>
                <a:gd name="connsiteX2" fmla="*/ 20360 w 169330"/>
                <a:gd name="connsiteY2" fmla="*/ 3500 h 174283"/>
                <a:gd name="connsiteX3" fmla="*/ 3500 w 169330"/>
                <a:gd name="connsiteY3" fmla="*/ 3500 h 174283"/>
                <a:gd name="connsiteX4" fmla="*/ 3500 w 169330"/>
                <a:gd name="connsiteY4" fmla="*/ 20360 h 174283"/>
                <a:gd name="connsiteX5" fmla="*/ 157424 w 169330"/>
                <a:gd name="connsiteY5" fmla="*/ 174284 h 174283"/>
                <a:gd name="connsiteX6" fmla="*/ 169331 w 169330"/>
                <a:gd name="connsiteY6" fmla="*/ 162377 h 174283"/>
                <a:gd name="connsiteX7" fmla="*/ 169331 w 169330"/>
                <a:gd name="connsiteY7" fmla="*/ 128659 h 174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330" h="174283">
                  <a:moveTo>
                    <a:pt x="169331" y="128659"/>
                  </a:moveTo>
                  <a:lnTo>
                    <a:pt x="157424" y="140565"/>
                  </a:lnTo>
                  <a:lnTo>
                    <a:pt x="20360" y="3500"/>
                  </a:lnTo>
                  <a:cubicBezTo>
                    <a:pt x="15692" y="-1167"/>
                    <a:pt x="8168" y="-1167"/>
                    <a:pt x="3500" y="3500"/>
                  </a:cubicBezTo>
                  <a:cubicBezTo>
                    <a:pt x="-1167" y="8168"/>
                    <a:pt x="-1167" y="15692"/>
                    <a:pt x="3500" y="20360"/>
                  </a:cubicBezTo>
                  <a:lnTo>
                    <a:pt x="157424" y="174284"/>
                  </a:lnTo>
                  <a:lnTo>
                    <a:pt x="169331" y="162377"/>
                  </a:lnTo>
                  <a:lnTo>
                    <a:pt x="169331" y="12865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1473BEE-CE99-6228-4034-BA3AC7A4C806}"/>
                </a:ext>
              </a:extLst>
            </p:cNvPr>
            <p:cNvSpPr/>
            <p:nvPr/>
          </p:nvSpPr>
          <p:spPr>
            <a:xfrm>
              <a:off x="38862" y="2341459"/>
              <a:ext cx="120276" cy="137231"/>
            </a:xfrm>
            <a:custGeom>
              <a:avLst/>
              <a:gdLst>
                <a:gd name="connsiteX0" fmla="*/ 116872 w 120276"/>
                <a:gd name="connsiteY0" fmla="*/ 3500 h 137231"/>
                <a:gd name="connsiteX1" fmla="*/ 100013 w 120276"/>
                <a:gd name="connsiteY1" fmla="*/ 3500 h 137231"/>
                <a:gd name="connsiteX2" fmla="*/ 0 w 120276"/>
                <a:gd name="connsiteY2" fmla="*/ 103513 h 137231"/>
                <a:gd name="connsiteX3" fmla="*/ 0 w 120276"/>
                <a:gd name="connsiteY3" fmla="*/ 137231 h 137231"/>
                <a:gd name="connsiteX4" fmla="*/ 116776 w 120276"/>
                <a:gd name="connsiteY4" fmla="*/ 20455 h 137231"/>
                <a:gd name="connsiteX5" fmla="*/ 116776 w 120276"/>
                <a:gd name="connsiteY5" fmla="*/ 3596 h 13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276" h="137231">
                  <a:moveTo>
                    <a:pt x="116872" y="3500"/>
                  </a:moveTo>
                  <a:cubicBezTo>
                    <a:pt x="112204" y="-1167"/>
                    <a:pt x="104680" y="-1167"/>
                    <a:pt x="100013" y="3500"/>
                  </a:cubicBezTo>
                  <a:lnTo>
                    <a:pt x="0" y="103513"/>
                  </a:lnTo>
                  <a:lnTo>
                    <a:pt x="0" y="137231"/>
                  </a:lnTo>
                  <a:lnTo>
                    <a:pt x="116776" y="20455"/>
                  </a:lnTo>
                  <a:cubicBezTo>
                    <a:pt x="121444" y="15788"/>
                    <a:pt x="121444" y="8263"/>
                    <a:pt x="116776" y="3596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B37D979-C534-C529-396C-9220663EC254}"/>
              </a:ext>
            </a:extLst>
          </p:cNvPr>
          <p:cNvGrpSpPr/>
          <p:nvPr/>
        </p:nvGrpSpPr>
        <p:grpSpPr>
          <a:xfrm>
            <a:off x="619145" y="3613701"/>
            <a:ext cx="529193" cy="298942"/>
            <a:chOff x="-739412" y="2878339"/>
            <a:chExt cx="1092613" cy="617219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C2E1A4F-A74C-4386-8714-5A94EBF57F38}"/>
                </a:ext>
              </a:extLst>
            </p:cNvPr>
            <p:cNvSpPr/>
            <p:nvPr/>
          </p:nvSpPr>
          <p:spPr>
            <a:xfrm>
              <a:off x="219945" y="2887864"/>
              <a:ext cx="23812" cy="598169"/>
            </a:xfrm>
            <a:custGeom>
              <a:avLst/>
              <a:gdLst>
                <a:gd name="connsiteX0" fmla="*/ 11906 w 23812"/>
                <a:gd name="connsiteY0" fmla="*/ 598170 h 598169"/>
                <a:gd name="connsiteX1" fmla="*/ 0 w 23812"/>
                <a:gd name="connsiteY1" fmla="*/ 586264 h 598169"/>
                <a:gd name="connsiteX2" fmla="*/ 0 w 23812"/>
                <a:gd name="connsiteY2" fmla="*/ 11906 h 598169"/>
                <a:gd name="connsiteX3" fmla="*/ 11906 w 23812"/>
                <a:gd name="connsiteY3" fmla="*/ 0 h 598169"/>
                <a:gd name="connsiteX4" fmla="*/ 23813 w 23812"/>
                <a:gd name="connsiteY4" fmla="*/ 11906 h 598169"/>
                <a:gd name="connsiteX5" fmla="*/ 23813 w 23812"/>
                <a:gd name="connsiteY5" fmla="*/ 586264 h 598169"/>
                <a:gd name="connsiteX6" fmla="*/ 11906 w 23812"/>
                <a:gd name="connsiteY6" fmla="*/ 598170 h 598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598169">
                  <a:moveTo>
                    <a:pt x="11906" y="598170"/>
                  </a:moveTo>
                  <a:cubicBezTo>
                    <a:pt x="5334" y="598170"/>
                    <a:pt x="0" y="592836"/>
                    <a:pt x="0" y="586264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8" y="0"/>
                    <a:pt x="23813" y="5334"/>
                    <a:pt x="23813" y="11906"/>
                  </a:cubicBezTo>
                  <a:lnTo>
                    <a:pt x="23813" y="586264"/>
                  </a:lnTo>
                  <a:cubicBezTo>
                    <a:pt x="23813" y="592836"/>
                    <a:pt x="18478" y="598170"/>
                    <a:pt x="11906" y="5981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58733DC-6BA4-0451-1DD1-B6E5B481DDCE}"/>
                </a:ext>
              </a:extLst>
            </p:cNvPr>
            <p:cNvSpPr/>
            <p:nvPr/>
          </p:nvSpPr>
          <p:spPr>
            <a:xfrm>
              <a:off x="-436612" y="2887864"/>
              <a:ext cx="23812" cy="598169"/>
            </a:xfrm>
            <a:custGeom>
              <a:avLst/>
              <a:gdLst>
                <a:gd name="connsiteX0" fmla="*/ 11906 w 23812"/>
                <a:gd name="connsiteY0" fmla="*/ 598170 h 598169"/>
                <a:gd name="connsiteX1" fmla="*/ 0 w 23812"/>
                <a:gd name="connsiteY1" fmla="*/ 586264 h 598169"/>
                <a:gd name="connsiteX2" fmla="*/ 0 w 23812"/>
                <a:gd name="connsiteY2" fmla="*/ 11906 h 598169"/>
                <a:gd name="connsiteX3" fmla="*/ 11906 w 23812"/>
                <a:gd name="connsiteY3" fmla="*/ 0 h 598169"/>
                <a:gd name="connsiteX4" fmla="*/ 23813 w 23812"/>
                <a:gd name="connsiteY4" fmla="*/ 11906 h 598169"/>
                <a:gd name="connsiteX5" fmla="*/ 23813 w 23812"/>
                <a:gd name="connsiteY5" fmla="*/ 586264 h 598169"/>
                <a:gd name="connsiteX6" fmla="*/ 11906 w 23812"/>
                <a:gd name="connsiteY6" fmla="*/ 598170 h 598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598169">
                  <a:moveTo>
                    <a:pt x="11906" y="598170"/>
                  </a:moveTo>
                  <a:cubicBezTo>
                    <a:pt x="5334" y="598170"/>
                    <a:pt x="0" y="592836"/>
                    <a:pt x="0" y="586264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9" y="0"/>
                    <a:pt x="23813" y="5334"/>
                    <a:pt x="23813" y="11906"/>
                  </a:cubicBezTo>
                  <a:lnTo>
                    <a:pt x="23813" y="586264"/>
                  </a:lnTo>
                  <a:cubicBezTo>
                    <a:pt x="23813" y="592836"/>
                    <a:pt x="18479" y="598170"/>
                    <a:pt x="11906" y="5981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15D2FE2-F77E-9113-56FB-D112ADE4E0BE}"/>
                </a:ext>
              </a:extLst>
            </p:cNvPr>
            <p:cNvSpPr/>
            <p:nvPr/>
          </p:nvSpPr>
          <p:spPr>
            <a:xfrm>
              <a:off x="-15893" y="2887864"/>
              <a:ext cx="23812" cy="598169"/>
            </a:xfrm>
            <a:custGeom>
              <a:avLst/>
              <a:gdLst>
                <a:gd name="connsiteX0" fmla="*/ 11906 w 23812"/>
                <a:gd name="connsiteY0" fmla="*/ 598170 h 598169"/>
                <a:gd name="connsiteX1" fmla="*/ 0 w 23812"/>
                <a:gd name="connsiteY1" fmla="*/ 586264 h 598169"/>
                <a:gd name="connsiteX2" fmla="*/ 0 w 23812"/>
                <a:gd name="connsiteY2" fmla="*/ 11906 h 598169"/>
                <a:gd name="connsiteX3" fmla="*/ 11906 w 23812"/>
                <a:gd name="connsiteY3" fmla="*/ 0 h 598169"/>
                <a:gd name="connsiteX4" fmla="*/ 23813 w 23812"/>
                <a:gd name="connsiteY4" fmla="*/ 11906 h 598169"/>
                <a:gd name="connsiteX5" fmla="*/ 23813 w 23812"/>
                <a:gd name="connsiteY5" fmla="*/ 586264 h 598169"/>
                <a:gd name="connsiteX6" fmla="*/ 11906 w 23812"/>
                <a:gd name="connsiteY6" fmla="*/ 598170 h 598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598169">
                  <a:moveTo>
                    <a:pt x="11906" y="598170"/>
                  </a:moveTo>
                  <a:cubicBezTo>
                    <a:pt x="5334" y="598170"/>
                    <a:pt x="0" y="592836"/>
                    <a:pt x="0" y="586264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9" y="0"/>
                    <a:pt x="23813" y="5334"/>
                    <a:pt x="23813" y="11906"/>
                  </a:cubicBezTo>
                  <a:lnTo>
                    <a:pt x="23813" y="586264"/>
                  </a:lnTo>
                  <a:cubicBezTo>
                    <a:pt x="23813" y="592836"/>
                    <a:pt x="18479" y="598170"/>
                    <a:pt x="11906" y="59817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95617D4-3DB6-1C62-9164-37EE12799D1B}"/>
                </a:ext>
              </a:extLst>
            </p:cNvPr>
            <p:cNvSpPr/>
            <p:nvPr/>
          </p:nvSpPr>
          <p:spPr>
            <a:xfrm>
              <a:off x="-427087" y="2939109"/>
              <a:ext cx="425481" cy="23812"/>
            </a:xfrm>
            <a:custGeom>
              <a:avLst/>
              <a:gdLst>
                <a:gd name="connsiteX0" fmla="*/ 413576 w 425481"/>
                <a:gd name="connsiteY0" fmla="*/ 23813 h 23812"/>
                <a:gd name="connsiteX1" fmla="*/ 11906 w 425481"/>
                <a:gd name="connsiteY1" fmla="*/ 23813 h 23812"/>
                <a:gd name="connsiteX2" fmla="*/ 0 w 425481"/>
                <a:gd name="connsiteY2" fmla="*/ 11906 h 23812"/>
                <a:gd name="connsiteX3" fmla="*/ 11906 w 425481"/>
                <a:gd name="connsiteY3" fmla="*/ 0 h 23812"/>
                <a:gd name="connsiteX4" fmla="*/ 413576 w 425481"/>
                <a:gd name="connsiteY4" fmla="*/ 0 h 23812"/>
                <a:gd name="connsiteX5" fmla="*/ 425482 w 425481"/>
                <a:gd name="connsiteY5" fmla="*/ 11906 h 23812"/>
                <a:gd name="connsiteX6" fmla="*/ 413576 w 425481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5481" h="23812">
                  <a:moveTo>
                    <a:pt x="413576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413576" y="0"/>
                  </a:lnTo>
                  <a:cubicBezTo>
                    <a:pt x="420148" y="0"/>
                    <a:pt x="425482" y="5334"/>
                    <a:pt x="425482" y="11906"/>
                  </a:cubicBezTo>
                  <a:cubicBezTo>
                    <a:pt x="425482" y="18479"/>
                    <a:pt x="420148" y="23813"/>
                    <a:pt x="413576" y="238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666F4ED5-72DF-F2E5-14CD-90BBD44805B4}"/>
                </a:ext>
              </a:extLst>
            </p:cNvPr>
            <p:cNvSpPr/>
            <p:nvPr/>
          </p:nvSpPr>
          <p:spPr>
            <a:xfrm>
              <a:off x="-427087" y="3002355"/>
              <a:ext cx="425481" cy="23812"/>
            </a:xfrm>
            <a:custGeom>
              <a:avLst/>
              <a:gdLst>
                <a:gd name="connsiteX0" fmla="*/ 413576 w 425481"/>
                <a:gd name="connsiteY0" fmla="*/ 23813 h 23812"/>
                <a:gd name="connsiteX1" fmla="*/ 11906 w 425481"/>
                <a:gd name="connsiteY1" fmla="*/ 23813 h 23812"/>
                <a:gd name="connsiteX2" fmla="*/ 0 w 425481"/>
                <a:gd name="connsiteY2" fmla="*/ 11906 h 23812"/>
                <a:gd name="connsiteX3" fmla="*/ 11906 w 425481"/>
                <a:gd name="connsiteY3" fmla="*/ 0 h 23812"/>
                <a:gd name="connsiteX4" fmla="*/ 413576 w 425481"/>
                <a:gd name="connsiteY4" fmla="*/ 0 h 23812"/>
                <a:gd name="connsiteX5" fmla="*/ 425482 w 425481"/>
                <a:gd name="connsiteY5" fmla="*/ 11906 h 23812"/>
                <a:gd name="connsiteX6" fmla="*/ 413576 w 425481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5481" h="23812">
                  <a:moveTo>
                    <a:pt x="413576" y="23813"/>
                  </a:moveTo>
                  <a:lnTo>
                    <a:pt x="11906" y="23813"/>
                  </a:lnTo>
                  <a:cubicBezTo>
                    <a:pt x="5334" y="23813"/>
                    <a:pt x="0" y="18478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413576" y="0"/>
                  </a:lnTo>
                  <a:cubicBezTo>
                    <a:pt x="420148" y="0"/>
                    <a:pt x="425482" y="5334"/>
                    <a:pt x="425482" y="11906"/>
                  </a:cubicBezTo>
                  <a:cubicBezTo>
                    <a:pt x="425482" y="18478"/>
                    <a:pt x="420148" y="23813"/>
                    <a:pt x="413576" y="238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D8A8B40-C593-C0B0-34A1-02C7033D5D03}"/>
                </a:ext>
              </a:extLst>
            </p:cNvPr>
            <p:cNvSpPr/>
            <p:nvPr/>
          </p:nvSpPr>
          <p:spPr>
            <a:xfrm>
              <a:off x="-427087" y="3073030"/>
              <a:ext cx="425481" cy="23812"/>
            </a:xfrm>
            <a:custGeom>
              <a:avLst/>
              <a:gdLst>
                <a:gd name="connsiteX0" fmla="*/ 413576 w 425481"/>
                <a:gd name="connsiteY0" fmla="*/ 23813 h 23812"/>
                <a:gd name="connsiteX1" fmla="*/ 11906 w 425481"/>
                <a:gd name="connsiteY1" fmla="*/ 23813 h 23812"/>
                <a:gd name="connsiteX2" fmla="*/ 0 w 425481"/>
                <a:gd name="connsiteY2" fmla="*/ 11906 h 23812"/>
                <a:gd name="connsiteX3" fmla="*/ 11906 w 425481"/>
                <a:gd name="connsiteY3" fmla="*/ 0 h 23812"/>
                <a:gd name="connsiteX4" fmla="*/ 413576 w 425481"/>
                <a:gd name="connsiteY4" fmla="*/ 0 h 23812"/>
                <a:gd name="connsiteX5" fmla="*/ 425482 w 425481"/>
                <a:gd name="connsiteY5" fmla="*/ 11906 h 23812"/>
                <a:gd name="connsiteX6" fmla="*/ 413576 w 425481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5481" h="23812">
                  <a:moveTo>
                    <a:pt x="413576" y="23813"/>
                  </a:moveTo>
                  <a:lnTo>
                    <a:pt x="11906" y="23813"/>
                  </a:lnTo>
                  <a:cubicBezTo>
                    <a:pt x="5334" y="23813"/>
                    <a:pt x="0" y="18478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413576" y="0"/>
                  </a:lnTo>
                  <a:cubicBezTo>
                    <a:pt x="420148" y="0"/>
                    <a:pt x="425482" y="5334"/>
                    <a:pt x="425482" y="11906"/>
                  </a:cubicBezTo>
                  <a:cubicBezTo>
                    <a:pt x="425482" y="18478"/>
                    <a:pt x="420148" y="23813"/>
                    <a:pt x="413576" y="238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19C088B7-3237-3AC3-3D56-3D5CEB624EE0}"/>
                </a:ext>
              </a:extLst>
            </p:cNvPr>
            <p:cNvSpPr/>
            <p:nvPr/>
          </p:nvSpPr>
          <p:spPr>
            <a:xfrm>
              <a:off x="-427087" y="3169042"/>
              <a:ext cx="425481" cy="23812"/>
            </a:xfrm>
            <a:custGeom>
              <a:avLst/>
              <a:gdLst>
                <a:gd name="connsiteX0" fmla="*/ 413576 w 425481"/>
                <a:gd name="connsiteY0" fmla="*/ 23813 h 23812"/>
                <a:gd name="connsiteX1" fmla="*/ 11906 w 425481"/>
                <a:gd name="connsiteY1" fmla="*/ 23813 h 23812"/>
                <a:gd name="connsiteX2" fmla="*/ 0 w 425481"/>
                <a:gd name="connsiteY2" fmla="*/ 11906 h 23812"/>
                <a:gd name="connsiteX3" fmla="*/ 11906 w 425481"/>
                <a:gd name="connsiteY3" fmla="*/ 0 h 23812"/>
                <a:gd name="connsiteX4" fmla="*/ 413576 w 425481"/>
                <a:gd name="connsiteY4" fmla="*/ 0 h 23812"/>
                <a:gd name="connsiteX5" fmla="*/ 425482 w 425481"/>
                <a:gd name="connsiteY5" fmla="*/ 11906 h 23812"/>
                <a:gd name="connsiteX6" fmla="*/ 413576 w 425481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5481" h="23812">
                  <a:moveTo>
                    <a:pt x="413576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413576" y="0"/>
                  </a:lnTo>
                  <a:cubicBezTo>
                    <a:pt x="420148" y="0"/>
                    <a:pt x="425482" y="5334"/>
                    <a:pt x="425482" y="11906"/>
                  </a:cubicBezTo>
                  <a:cubicBezTo>
                    <a:pt x="425482" y="18479"/>
                    <a:pt x="420148" y="23813"/>
                    <a:pt x="413576" y="238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179B93A-1E06-CF39-A1A2-5E0DF4685F49}"/>
                </a:ext>
              </a:extLst>
            </p:cNvPr>
            <p:cNvSpPr/>
            <p:nvPr/>
          </p:nvSpPr>
          <p:spPr>
            <a:xfrm>
              <a:off x="-427087" y="3274960"/>
              <a:ext cx="425481" cy="23812"/>
            </a:xfrm>
            <a:custGeom>
              <a:avLst/>
              <a:gdLst>
                <a:gd name="connsiteX0" fmla="*/ 413576 w 425481"/>
                <a:gd name="connsiteY0" fmla="*/ 23813 h 23812"/>
                <a:gd name="connsiteX1" fmla="*/ 11906 w 425481"/>
                <a:gd name="connsiteY1" fmla="*/ 23813 h 23812"/>
                <a:gd name="connsiteX2" fmla="*/ 0 w 425481"/>
                <a:gd name="connsiteY2" fmla="*/ 11906 h 23812"/>
                <a:gd name="connsiteX3" fmla="*/ 11906 w 425481"/>
                <a:gd name="connsiteY3" fmla="*/ 0 h 23812"/>
                <a:gd name="connsiteX4" fmla="*/ 413576 w 425481"/>
                <a:gd name="connsiteY4" fmla="*/ 0 h 23812"/>
                <a:gd name="connsiteX5" fmla="*/ 425482 w 425481"/>
                <a:gd name="connsiteY5" fmla="*/ 11906 h 23812"/>
                <a:gd name="connsiteX6" fmla="*/ 413576 w 425481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5481" h="23812">
                  <a:moveTo>
                    <a:pt x="413576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413576" y="0"/>
                  </a:lnTo>
                  <a:cubicBezTo>
                    <a:pt x="420148" y="0"/>
                    <a:pt x="425482" y="5334"/>
                    <a:pt x="425482" y="11906"/>
                  </a:cubicBezTo>
                  <a:cubicBezTo>
                    <a:pt x="425482" y="18479"/>
                    <a:pt x="420148" y="23813"/>
                    <a:pt x="413576" y="238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6787EBB-DD46-085B-0942-607C73121698}"/>
                </a:ext>
              </a:extLst>
            </p:cNvPr>
            <p:cNvSpPr/>
            <p:nvPr/>
          </p:nvSpPr>
          <p:spPr>
            <a:xfrm>
              <a:off x="-427087" y="3350113"/>
              <a:ext cx="425481" cy="23812"/>
            </a:xfrm>
            <a:custGeom>
              <a:avLst/>
              <a:gdLst>
                <a:gd name="connsiteX0" fmla="*/ 413576 w 425481"/>
                <a:gd name="connsiteY0" fmla="*/ 23813 h 23812"/>
                <a:gd name="connsiteX1" fmla="*/ 11906 w 425481"/>
                <a:gd name="connsiteY1" fmla="*/ 23813 h 23812"/>
                <a:gd name="connsiteX2" fmla="*/ 0 w 425481"/>
                <a:gd name="connsiteY2" fmla="*/ 11906 h 23812"/>
                <a:gd name="connsiteX3" fmla="*/ 11906 w 425481"/>
                <a:gd name="connsiteY3" fmla="*/ 0 h 23812"/>
                <a:gd name="connsiteX4" fmla="*/ 413576 w 425481"/>
                <a:gd name="connsiteY4" fmla="*/ 0 h 23812"/>
                <a:gd name="connsiteX5" fmla="*/ 425482 w 425481"/>
                <a:gd name="connsiteY5" fmla="*/ 11906 h 23812"/>
                <a:gd name="connsiteX6" fmla="*/ 413576 w 425481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5481" h="23812">
                  <a:moveTo>
                    <a:pt x="413576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413576" y="0"/>
                  </a:lnTo>
                  <a:cubicBezTo>
                    <a:pt x="420148" y="0"/>
                    <a:pt x="425482" y="5334"/>
                    <a:pt x="425482" y="11906"/>
                  </a:cubicBezTo>
                  <a:cubicBezTo>
                    <a:pt x="425482" y="18479"/>
                    <a:pt x="420148" y="23813"/>
                    <a:pt x="413576" y="238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8638385-C8B6-CCA6-99B5-4DAA97FCA49B}"/>
                </a:ext>
              </a:extLst>
            </p:cNvPr>
            <p:cNvSpPr/>
            <p:nvPr/>
          </p:nvSpPr>
          <p:spPr>
            <a:xfrm>
              <a:off x="-427087" y="3410882"/>
              <a:ext cx="425481" cy="23812"/>
            </a:xfrm>
            <a:custGeom>
              <a:avLst/>
              <a:gdLst>
                <a:gd name="connsiteX0" fmla="*/ 413576 w 425481"/>
                <a:gd name="connsiteY0" fmla="*/ 23813 h 23812"/>
                <a:gd name="connsiteX1" fmla="*/ 11906 w 425481"/>
                <a:gd name="connsiteY1" fmla="*/ 23813 h 23812"/>
                <a:gd name="connsiteX2" fmla="*/ 0 w 425481"/>
                <a:gd name="connsiteY2" fmla="*/ 11906 h 23812"/>
                <a:gd name="connsiteX3" fmla="*/ 11906 w 425481"/>
                <a:gd name="connsiteY3" fmla="*/ 0 h 23812"/>
                <a:gd name="connsiteX4" fmla="*/ 413576 w 425481"/>
                <a:gd name="connsiteY4" fmla="*/ 0 h 23812"/>
                <a:gd name="connsiteX5" fmla="*/ 425482 w 425481"/>
                <a:gd name="connsiteY5" fmla="*/ 11906 h 23812"/>
                <a:gd name="connsiteX6" fmla="*/ 413576 w 425481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5481" h="23812">
                  <a:moveTo>
                    <a:pt x="413576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413576" y="0"/>
                  </a:lnTo>
                  <a:cubicBezTo>
                    <a:pt x="420148" y="0"/>
                    <a:pt x="425482" y="5334"/>
                    <a:pt x="425482" y="11906"/>
                  </a:cubicBezTo>
                  <a:cubicBezTo>
                    <a:pt x="425482" y="18479"/>
                    <a:pt x="420148" y="23813"/>
                    <a:pt x="413576" y="238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AA5CED2-FE8B-0821-140D-2C364D6A1AB8}"/>
                </a:ext>
              </a:extLst>
            </p:cNvPr>
            <p:cNvSpPr/>
            <p:nvPr/>
          </p:nvSpPr>
          <p:spPr>
            <a:xfrm>
              <a:off x="-739412" y="3122751"/>
              <a:ext cx="212312" cy="128397"/>
            </a:xfrm>
            <a:custGeom>
              <a:avLst/>
              <a:gdLst>
                <a:gd name="connsiteX0" fmla="*/ 200406 w 212312"/>
                <a:gd name="connsiteY0" fmla="*/ 128397 h 128397"/>
                <a:gd name="connsiteX1" fmla="*/ 11906 w 212312"/>
                <a:gd name="connsiteY1" fmla="*/ 128397 h 128397"/>
                <a:gd name="connsiteX2" fmla="*/ 0 w 212312"/>
                <a:gd name="connsiteY2" fmla="*/ 116491 h 128397"/>
                <a:gd name="connsiteX3" fmla="*/ 0 w 212312"/>
                <a:gd name="connsiteY3" fmla="*/ 11906 h 128397"/>
                <a:gd name="connsiteX4" fmla="*/ 11906 w 212312"/>
                <a:gd name="connsiteY4" fmla="*/ 0 h 128397"/>
                <a:gd name="connsiteX5" fmla="*/ 200406 w 212312"/>
                <a:gd name="connsiteY5" fmla="*/ 0 h 128397"/>
                <a:gd name="connsiteX6" fmla="*/ 212312 w 212312"/>
                <a:gd name="connsiteY6" fmla="*/ 11906 h 128397"/>
                <a:gd name="connsiteX7" fmla="*/ 212312 w 212312"/>
                <a:gd name="connsiteY7" fmla="*/ 116491 h 128397"/>
                <a:gd name="connsiteX8" fmla="*/ 200406 w 212312"/>
                <a:gd name="connsiteY8" fmla="*/ 128397 h 128397"/>
                <a:gd name="connsiteX9" fmla="*/ 23813 w 212312"/>
                <a:gd name="connsiteY9" fmla="*/ 104585 h 128397"/>
                <a:gd name="connsiteX10" fmla="*/ 188500 w 212312"/>
                <a:gd name="connsiteY10" fmla="*/ 104585 h 128397"/>
                <a:gd name="connsiteX11" fmla="*/ 188500 w 212312"/>
                <a:gd name="connsiteY11" fmla="*/ 23813 h 128397"/>
                <a:gd name="connsiteX12" fmla="*/ 23813 w 212312"/>
                <a:gd name="connsiteY12" fmla="*/ 23813 h 128397"/>
                <a:gd name="connsiteX13" fmla="*/ 23813 w 212312"/>
                <a:gd name="connsiteY13" fmla="*/ 104585 h 128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312" h="128397">
                  <a:moveTo>
                    <a:pt x="200406" y="128397"/>
                  </a:moveTo>
                  <a:lnTo>
                    <a:pt x="11906" y="128397"/>
                  </a:lnTo>
                  <a:cubicBezTo>
                    <a:pt x="5334" y="128397"/>
                    <a:pt x="0" y="123063"/>
                    <a:pt x="0" y="116491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lnTo>
                    <a:pt x="200406" y="0"/>
                  </a:lnTo>
                  <a:cubicBezTo>
                    <a:pt x="206978" y="0"/>
                    <a:pt x="212312" y="5334"/>
                    <a:pt x="212312" y="11906"/>
                  </a:cubicBezTo>
                  <a:lnTo>
                    <a:pt x="212312" y="116491"/>
                  </a:lnTo>
                  <a:cubicBezTo>
                    <a:pt x="212312" y="123063"/>
                    <a:pt x="206978" y="128397"/>
                    <a:pt x="200406" y="128397"/>
                  </a:cubicBezTo>
                  <a:close/>
                  <a:moveTo>
                    <a:pt x="23813" y="104585"/>
                  </a:moveTo>
                  <a:lnTo>
                    <a:pt x="188500" y="104585"/>
                  </a:lnTo>
                  <a:lnTo>
                    <a:pt x="188500" y="23813"/>
                  </a:lnTo>
                  <a:lnTo>
                    <a:pt x="23813" y="23813"/>
                  </a:lnTo>
                  <a:lnTo>
                    <a:pt x="23813" y="10458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AB0DDF7-19DE-77AA-B0B5-660E6E42951E}"/>
                </a:ext>
              </a:extLst>
            </p:cNvPr>
            <p:cNvSpPr/>
            <p:nvPr/>
          </p:nvSpPr>
          <p:spPr>
            <a:xfrm>
              <a:off x="-550912" y="2878339"/>
              <a:ext cx="904113" cy="617219"/>
            </a:xfrm>
            <a:custGeom>
              <a:avLst/>
              <a:gdLst>
                <a:gd name="connsiteX0" fmla="*/ 892874 w 904113"/>
                <a:gd name="connsiteY0" fmla="*/ 98298 h 617219"/>
                <a:gd name="connsiteX1" fmla="*/ 797814 w 904113"/>
                <a:gd name="connsiteY1" fmla="*/ 9525 h 617219"/>
                <a:gd name="connsiteX2" fmla="*/ 773525 w 904113"/>
                <a:gd name="connsiteY2" fmla="*/ 0 h 617219"/>
                <a:gd name="connsiteX3" fmla="*/ 135255 w 904113"/>
                <a:gd name="connsiteY3" fmla="*/ 0 h 617219"/>
                <a:gd name="connsiteX4" fmla="*/ 111538 w 904113"/>
                <a:gd name="connsiteY4" fmla="*/ 9049 h 617219"/>
                <a:gd name="connsiteX5" fmla="*/ 98012 w 904113"/>
                <a:gd name="connsiteY5" fmla="*/ 21145 h 617219"/>
                <a:gd name="connsiteX6" fmla="*/ 114872 w 904113"/>
                <a:gd name="connsiteY6" fmla="*/ 38005 h 617219"/>
                <a:gd name="connsiteX7" fmla="*/ 127349 w 904113"/>
                <a:gd name="connsiteY7" fmla="*/ 26765 h 617219"/>
                <a:gd name="connsiteX8" fmla="*/ 135160 w 904113"/>
                <a:gd name="connsiteY8" fmla="*/ 23813 h 617219"/>
                <a:gd name="connsiteX9" fmla="*/ 773430 w 904113"/>
                <a:gd name="connsiteY9" fmla="*/ 23813 h 617219"/>
                <a:gd name="connsiteX10" fmla="*/ 781431 w 904113"/>
                <a:gd name="connsiteY10" fmla="*/ 26956 h 617219"/>
                <a:gd name="connsiteX11" fmla="*/ 876491 w 904113"/>
                <a:gd name="connsiteY11" fmla="*/ 115729 h 617219"/>
                <a:gd name="connsiteX12" fmla="*/ 880205 w 904113"/>
                <a:gd name="connsiteY12" fmla="*/ 124301 h 617219"/>
                <a:gd name="connsiteX13" fmla="*/ 880205 w 904113"/>
                <a:gd name="connsiteY13" fmla="*/ 493014 h 617219"/>
                <a:gd name="connsiteX14" fmla="*/ 876491 w 904113"/>
                <a:gd name="connsiteY14" fmla="*/ 501586 h 617219"/>
                <a:gd name="connsiteX15" fmla="*/ 781431 w 904113"/>
                <a:gd name="connsiteY15" fmla="*/ 590169 h 617219"/>
                <a:gd name="connsiteX16" fmla="*/ 773430 w 904113"/>
                <a:gd name="connsiteY16" fmla="*/ 593312 h 617219"/>
                <a:gd name="connsiteX17" fmla="*/ 135160 w 904113"/>
                <a:gd name="connsiteY17" fmla="*/ 593312 h 617219"/>
                <a:gd name="connsiteX18" fmla="*/ 127349 w 904113"/>
                <a:gd name="connsiteY18" fmla="*/ 590359 h 617219"/>
                <a:gd name="connsiteX19" fmla="*/ 27718 w 904113"/>
                <a:gd name="connsiteY19" fmla="*/ 501491 h 617219"/>
                <a:gd name="connsiteX20" fmla="*/ 23813 w 904113"/>
                <a:gd name="connsiteY20" fmla="*/ 492728 h 617219"/>
                <a:gd name="connsiteX21" fmla="*/ 23813 w 904113"/>
                <a:gd name="connsiteY21" fmla="*/ 245364 h 617219"/>
                <a:gd name="connsiteX22" fmla="*/ 0 w 904113"/>
                <a:gd name="connsiteY22" fmla="*/ 245364 h 617219"/>
                <a:gd name="connsiteX23" fmla="*/ 0 w 904113"/>
                <a:gd name="connsiteY23" fmla="*/ 492728 h 617219"/>
                <a:gd name="connsiteX24" fmla="*/ 11906 w 904113"/>
                <a:gd name="connsiteY24" fmla="*/ 519303 h 617219"/>
                <a:gd name="connsiteX25" fmla="*/ 111538 w 904113"/>
                <a:gd name="connsiteY25" fmla="*/ 608171 h 617219"/>
                <a:gd name="connsiteX26" fmla="*/ 135255 w 904113"/>
                <a:gd name="connsiteY26" fmla="*/ 617220 h 617219"/>
                <a:gd name="connsiteX27" fmla="*/ 773525 w 904113"/>
                <a:gd name="connsiteY27" fmla="*/ 617220 h 617219"/>
                <a:gd name="connsiteX28" fmla="*/ 797719 w 904113"/>
                <a:gd name="connsiteY28" fmla="*/ 607695 h 617219"/>
                <a:gd name="connsiteX29" fmla="*/ 892778 w 904113"/>
                <a:gd name="connsiteY29" fmla="*/ 519113 h 617219"/>
                <a:gd name="connsiteX30" fmla="*/ 904113 w 904113"/>
                <a:gd name="connsiteY30" fmla="*/ 493109 h 617219"/>
                <a:gd name="connsiteX31" fmla="*/ 904113 w 904113"/>
                <a:gd name="connsiteY31" fmla="*/ 124396 h 617219"/>
                <a:gd name="connsiteX32" fmla="*/ 892778 w 904113"/>
                <a:gd name="connsiteY32" fmla="*/ 98393 h 617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04113" h="617219">
                  <a:moveTo>
                    <a:pt x="892874" y="98298"/>
                  </a:moveTo>
                  <a:lnTo>
                    <a:pt x="797814" y="9525"/>
                  </a:lnTo>
                  <a:cubicBezTo>
                    <a:pt x="791242" y="3334"/>
                    <a:pt x="782574" y="0"/>
                    <a:pt x="773525" y="0"/>
                  </a:cubicBezTo>
                  <a:lnTo>
                    <a:pt x="135255" y="0"/>
                  </a:lnTo>
                  <a:cubicBezTo>
                    <a:pt x="126492" y="0"/>
                    <a:pt x="118110" y="3239"/>
                    <a:pt x="111538" y="9049"/>
                  </a:cubicBezTo>
                  <a:lnTo>
                    <a:pt x="98012" y="21145"/>
                  </a:lnTo>
                  <a:lnTo>
                    <a:pt x="114872" y="38005"/>
                  </a:lnTo>
                  <a:lnTo>
                    <a:pt x="127349" y="26765"/>
                  </a:lnTo>
                  <a:cubicBezTo>
                    <a:pt x="129540" y="24860"/>
                    <a:pt x="132302" y="23813"/>
                    <a:pt x="135160" y="23813"/>
                  </a:cubicBezTo>
                  <a:lnTo>
                    <a:pt x="773430" y="23813"/>
                  </a:lnTo>
                  <a:cubicBezTo>
                    <a:pt x="776383" y="23813"/>
                    <a:pt x="779240" y="24955"/>
                    <a:pt x="781431" y="26956"/>
                  </a:cubicBezTo>
                  <a:lnTo>
                    <a:pt x="876491" y="115729"/>
                  </a:lnTo>
                  <a:cubicBezTo>
                    <a:pt x="878872" y="117919"/>
                    <a:pt x="880205" y="121063"/>
                    <a:pt x="880205" y="124301"/>
                  </a:cubicBezTo>
                  <a:lnTo>
                    <a:pt x="880205" y="493014"/>
                  </a:lnTo>
                  <a:cubicBezTo>
                    <a:pt x="880205" y="496253"/>
                    <a:pt x="878872" y="499396"/>
                    <a:pt x="876491" y="501586"/>
                  </a:cubicBezTo>
                  <a:lnTo>
                    <a:pt x="781431" y="590169"/>
                  </a:lnTo>
                  <a:cubicBezTo>
                    <a:pt x="779240" y="592169"/>
                    <a:pt x="776383" y="593312"/>
                    <a:pt x="773430" y="593312"/>
                  </a:cubicBezTo>
                  <a:lnTo>
                    <a:pt x="135160" y="593312"/>
                  </a:lnTo>
                  <a:cubicBezTo>
                    <a:pt x="132302" y="593312"/>
                    <a:pt x="129540" y="592265"/>
                    <a:pt x="127349" y="590359"/>
                  </a:cubicBezTo>
                  <a:lnTo>
                    <a:pt x="27718" y="501491"/>
                  </a:lnTo>
                  <a:cubicBezTo>
                    <a:pt x="25241" y="499300"/>
                    <a:pt x="23813" y="496062"/>
                    <a:pt x="23813" y="492728"/>
                  </a:cubicBezTo>
                  <a:lnTo>
                    <a:pt x="23813" y="245364"/>
                  </a:lnTo>
                  <a:lnTo>
                    <a:pt x="0" y="245364"/>
                  </a:lnTo>
                  <a:lnTo>
                    <a:pt x="0" y="492728"/>
                  </a:lnTo>
                  <a:cubicBezTo>
                    <a:pt x="0" y="502825"/>
                    <a:pt x="4381" y="512540"/>
                    <a:pt x="11906" y="519303"/>
                  </a:cubicBezTo>
                  <a:lnTo>
                    <a:pt x="111538" y="608171"/>
                  </a:lnTo>
                  <a:cubicBezTo>
                    <a:pt x="118015" y="613982"/>
                    <a:pt x="126492" y="617220"/>
                    <a:pt x="135255" y="617220"/>
                  </a:cubicBezTo>
                  <a:lnTo>
                    <a:pt x="773525" y="617220"/>
                  </a:lnTo>
                  <a:cubicBezTo>
                    <a:pt x="782574" y="617220"/>
                    <a:pt x="791147" y="613791"/>
                    <a:pt x="797719" y="607695"/>
                  </a:cubicBezTo>
                  <a:lnTo>
                    <a:pt x="892778" y="519113"/>
                  </a:lnTo>
                  <a:cubicBezTo>
                    <a:pt x="900017" y="512445"/>
                    <a:pt x="904113" y="502920"/>
                    <a:pt x="904113" y="493109"/>
                  </a:cubicBezTo>
                  <a:lnTo>
                    <a:pt x="904113" y="124396"/>
                  </a:lnTo>
                  <a:cubicBezTo>
                    <a:pt x="904113" y="114586"/>
                    <a:pt x="900017" y="105061"/>
                    <a:pt x="892778" y="9839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9359AA79-C481-5EA1-9570-03F2617BC03A}"/>
                </a:ext>
              </a:extLst>
            </p:cNvPr>
            <p:cNvSpPr/>
            <p:nvPr/>
          </p:nvSpPr>
          <p:spPr>
            <a:xfrm>
              <a:off x="-550912" y="2911867"/>
              <a:ext cx="100965" cy="193166"/>
            </a:xfrm>
            <a:custGeom>
              <a:avLst/>
              <a:gdLst>
                <a:gd name="connsiteX0" fmla="*/ 23813 w 100965"/>
                <a:gd name="connsiteY0" fmla="*/ 193167 h 193166"/>
                <a:gd name="connsiteX1" fmla="*/ 23813 w 100965"/>
                <a:gd name="connsiteY1" fmla="*/ 91059 h 193166"/>
                <a:gd name="connsiteX2" fmla="*/ 27718 w 100965"/>
                <a:gd name="connsiteY2" fmla="*/ 82296 h 193166"/>
                <a:gd name="connsiteX3" fmla="*/ 100965 w 100965"/>
                <a:gd name="connsiteY3" fmla="*/ 16859 h 193166"/>
                <a:gd name="connsiteX4" fmla="*/ 84106 w 100965"/>
                <a:gd name="connsiteY4" fmla="*/ 0 h 193166"/>
                <a:gd name="connsiteX5" fmla="*/ 11906 w 100965"/>
                <a:gd name="connsiteY5" fmla="*/ 64579 h 193166"/>
                <a:gd name="connsiteX6" fmla="*/ 0 w 100965"/>
                <a:gd name="connsiteY6" fmla="*/ 91059 h 193166"/>
                <a:gd name="connsiteX7" fmla="*/ 0 w 100965"/>
                <a:gd name="connsiteY7" fmla="*/ 193167 h 193166"/>
                <a:gd name="connsiteX8" fmla="*/ 23813 w 100965"/>
                <a:gd name="connsiteY8" fmla="*/ 193167 h 193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965" h="193166">
                  <a:moveTo>
                    <a:pt x="23813" y="193167"/>
                  </a:moveTo>
                  <a:lnTo>
                    <a:pt x="23813" y="91059"/>
                  </a:lnTo>
                  <a:cubicBezTo>
                    <a:pt x="23813" y="87725"/>
                    <a:pt x="25241" y="84487"/>
                    <a:pt x="27718" y="82296"/>
                  </a:cubicBezTo>
                  <a:lnTo>
                    <a:pt x="100965" y="16859"/>
                  </a:lnTo>
                  <a:lnTo>
                    <a:pt x="84106" y="0"/>
                  </a:lnTo>
                  <a:lnTo>
                    <a:pt x="11906" y="64579"/>
                  </a:lnTo>
                  <a:cubicBezTo>
                    <a:pt x="4381" y="71342"/>
                    <a:pt x="0" y="80963"/>
                    <a:pt x="0" y="91059"/>
                  </a:cubicBezTo>
                  <a:lnTo>
                    <a:pt x="0" y="193167"/>
                  </a:lnTo>
                  <a:lnTo>
                    <a:pt x="23813" y="193167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27949BE0-564D-3C7A-94AB-433A029DFFC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8535" y="4580929"/>
            <a:ext cx="450414" cy="433731"/>
          </a:xfrm>
          <a:prstGeom prst="rect">
            <a:avLst/>
          </a:prstGeom>
        </p:spPr>
      </p:pic>
      <p:grpSp>
        <p:nvGrpSpPr>
          <p:cNvPr id="57" name="Group 56">
            <a:extLst>
              <a:ext uri="{FF2B5EF4-FFF2-40B4-BE49-F238E27FC236}">
                <a16:creationId xmlns:a16="http://schemas.microsoft.com/office/drawing/2014/main" id="{6B4ABDF4-4B7C-8097-C2DF-2CE95E7A947B}"/>
              </a:ext>
            </a:extLst>
          </p:cNvPr>
          <p:cNvGrpSpPr/>
          <p:nvPr/>
        </p:nvGrpSpPr>
        <p:grpSpPr>
          <a:xfrm>
            <a:off x="616403" y="5663796"/>
            <a:ext cx="534677" cy="343059"/>
            <a:chOff x="-1252236" y="4367775"/>
            <a:chExt cx="1619597" cy="1039165"/>
          </a:xfrm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9BE673BA-696E-45D8-600F-111FD20B2B44}"/>
                </a:ext>
              </a:extLst>
            </p:cNvPr>
            <p:cNvSpPr/>
            <p:nvPr/>
          </p:nvSpPr>
          <p:spPr>
            <a:xfrm>
              <a:off x="-1024878" y="4608160"/>
              <a:ext cx="1392239" cy="798780"/>
            </a:xfrm>
            <a:custGeom>
              <a:avLst/>
              <a:gdLst>
                <a:gd name="connsiteX0" fmla="*/ 203264 w 1392239"/>
                <a:gd name="connsiteY0" fmla="*/ 798399 h 798780"/>
                <a:gd name="connsiteX1" fmla="*/ 200216 w 1392239"/>
                <a:gd name="connsiteY1" fmla="*/ 798019 h 798780"/>
                <a:gd name="connsiteX2" fmla="*/ 192976 w 1392239"/>
                <a:gd name="connsiteY2" fmla="*/ 792494 h 798780"/>
                <a:gd name="connsiteX3" fmla="*/ 136208 w 1392239"/>
                <a:gd name="connsiteY3" fmla="*/ 695244 h 798780"/>
                <a:gd name="connsiteX4" fmla="*/ 140017 w 1392239"/>
                <a:gd name="connsiteY4" fmla="*/ 679242 h 798780"/>
                <a:gd name="connsiteX5" fmla="*/ 153543 w 1392239"/>
                <a:gd name="connsiteY5" fmla="*/ 670479 h 798780"/>
                <a:gd name="connsiteX6" fmla="*/ 0 w 1392239"/>
                <a:gd name="connsiteY6" fmla="*/ 391110 h 798780"/>
                <a:gd name="connsiteX7" fmla="*/ 3905 w 1392239"/>
                <a:gd name="connsiteY7" fmla="*/ 382157 h 798780"/>
                <a:gd name="connsiteX8" fmla="*/ 13240 w 1392239"/>
                <a:gd name="connsiteY8" fmla="*/ 379204 h 798780"/>
                <a:gd name="connsiteX9" fmla="*/ 377095 w 1392239"/>
                <a:gd name="connsiteY9" fmla="*/ 81548 h 798780"/>
                <a:gd name="connsiteX10" fmla="*/ 390239 w 1392239"/>
                <a:gd name="connsiteY10" fmla="*/ 74595 h 798780"/>
                <a:gd name="connsiteX11" fmla="*/ 1144619 w 1392239"/>
                <a:gd name="connsiteY11" fmla="*/ 22207 h 798780"/>
                <a:gd name="connsiteX12" fmla="*/ 1334738 w 1392239"/>
                <a:gd name="connsiteY12" fmla="*/ 57259 h 798780"/>
                <a:gd name="connsiteX13" fmla="*/ 1347978 w 1392239"/>
                <a:gd name="connsiteY13" fmla="*/ 48782 h 798780"/>
                <a:gd name="connsiteX14" fmla="*/ 1357027 w 1392239"/>
                <a:gd name="connsiteY14" fmla="*/ 47163 h 798780"/>
                <a:gd name="connsiteX15" fmla="*/ 1364552 w 1392239"/>
                <a:gd name="connsiteY15" fmla="*/ 52497 h 798780"/>
                <a:gd name="connsiteX16" fmla="*/ 1390460 w 1392239"/>
                <a:gd name="connsiteY16" fmla="*/ 94692 h 798780"/>
                <a:gd name="connsiteX17" fmla="*/ 1391888 w 1392239"/>
                <a:gd name="connsiteY17" fmla="*/ 103836 h 798780"/>
                <a:gd name="connsiteX18" fmla="*/ 1386364 w 1392239"/>
                <a:gd name="connsiteY18" fmla="*/ 111266 h 798780"/>
                <a:gd name="connsiteX19" fmla="*/ 891826 w 1392239"/>
                <a:gd name="connsiteY19" fmla="*/ 403112 h 798780"/>
                <a:gd name="connsiteX20" fmla="*/ 529495 w 1392239"/>
                <a:gd name="connsiteY20" fmla="*/ 542177 h 798780"/>
                <a:gd name="connsiteX21" fmla="*/ 552450 w 1392239"/>
                <a:gd name="connsiteY21" fmla="*/ 583230 h 798780"/>
                <a:gd name="connsiteX22" fmla="*/ 548069 w 1392239"/>
                <a:gd name="connsiteY22" fmla="*/ 599327 h 798780"/>
                <a:gd name="connsiteX23" fmla="*/ 209264 w 1392239"/>
                <a:gd name="connsiteY23" fmla="*/ 797161 h 798780"/>
                <a:gd name="connsiteX24" fmla="*/ 203264 w 1392239"/>
                <a:gd name="connsiteY24" fmla="*/ 798780 h 798780"/>
                <a:gd name="connsiteX25" fmla="*/ 162496 w 1392239"/>
                <a:gd name="connsiteY25" fmla="*/ 693053 h 798780"/>
                <a:gd name="connsiteX26" fmla="*/ 207550 w 1392239"/>
                <a:gd name="connsiteY26" fmla="*/ 770205 h 798780"/>
                <a:gd name="connsiteX27" fmla="*/ 526066 w 1392239"/>
                <a:gd name="connsiteY27" fmla="*/ 584278 h 798780"/>
                <a:gd name="connsiteX28" fmla="*/ 500920 w 1392239"/>
                <a:gd name="connsiteY28" fmla="*/ 539319 h 798780"/>
                <a:gd name="connsiteX29" fmla="*/ 500444 w 1392239"/>
                <a:gd name="connsiteY29" fmla="*/ 528556 h 798780"/>
                <a:gd name="connsiteX30" fmla="*/ 508825 w 1392239"/>
                <a:gd name="connsiteY30" fmla="*/ 521794 h 798780"/>
                <a:gd name="connsiteX31" fmla="*/ 879824 w 1392239"/>
                <a:gd name="connsiteY31" fmla="*/ 382062 h 798780"/>
                <a:gd name="connsiteX32" fmla="*/ 1363789 w 1392239"/>
                <a:gd name="connsiteY32" fmla="*/ 96407 h 798780"/>
                <a:gd name="connsiteX33" fmla="*/ 1350550 w 1392239"/>
                <a:gd name="connsiteY33" fmla="*/ 74976 h 798780"/>
                <a:gd name="connsiteX34" fmla="*/ 1338072 w 1392239"/>
                <a:gd name="connsiteY34" fmla="*/ 82977 h 798780"/>
                <a:gd name="connsiteX35" fmla="*/ 1321784 w 1392239"/>
                <a:gd name="connsiteY35" fmla="*/ 79738 h 798780"/>
                <a:gd name="connsiteX36" fmla="*/ 1156430 w 1392239"/>
                <a:gd name="connsiteY36" fmla="*/ 42495 h 798780"/>
                <a:gd name="connsiteX37" fmla="*/ 1154906 w 1392239"/>
                <a:gd name="connsiteY37" fmla="*/ 43353 h 798780"/>
                <a:gd name="connsiteX38" fmla="*/ 395288 w 1392239"/>
                <a:gd name="connsiteY38" fmla="*/ 99264 h 798780"/>
                <a:gd name="connsiteX39" fmla="*/ 24289 w 1392239"/>
                <a:gd name="connsiteY39" fmla="*/ 403017 h 798780"/>
                <a:gd name="connsiteX40" fmla="*/ 181070 w 1392239"/>
                <a:gd name="connsiteY40" fmla="*/ 661621 h 798780"/>
                <a:gd name="connsiteX41" fmla="*/ 185928 w 1392239"/>
                <a:gd name="connsiteY41" fmla="*/ 671526 h 798780"/>
                <a:gd name="connsiteX42" fmla="*/ 180499 w 1392239"/>
                <a:gd name="connsiteY42" fmla="*/ 681242 h 798780"/>
                <a:gd name="connsiteX43" fmla="*/ 162496 w 1392239"/>
                <a:gd name="connsiteY43" fmla="*/ 692863 h 798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392239" h="798780">
                  <a:moveTo>
                    <a:pt x="203264" y="798399"/>
                  </a:moveTo>
                  <a:cubicBezTo>
                    <a:pt x="202216" y="798399"/>
                    <a:pt x="201263" y="798304"/>
                    <a:pt x="200216" y="798019"/>
                  </a:cubicBezTo>
                  <a:cubicBezTo>
                    <a:pt x="197167" y="797257"/>
                    <a:pt x="194596" y="795256"/>
                    <a:pt x="192976" y="792494"/>
                  </a:cubicBezTo>
                  <a:lnTo>
                    <a:pt x="136208" y="695244"/>
                  </a:lnTo>
                  <a:cubicBezTo>
                    <a:pt x="132969" y="689719"/>
                    <a:pt x="134684" y="682671"/>
                    <a:pt x="140017" y="679242"/>
                  </a:cubicBezTo>
                  <a:lnTo>
                    <a:pt x="153543" y="670479"/>
                  </a:lnTo>
                  <a:cubicBezTo>
                    <a:pt x="113824" y="637617"/>
                    <a:pt x="1333" y="532271"/>
                    <a:pt x="0" y="391110"/>
                  </a:cubicBezTo>
                  <a:cubicBezTo>
                    <a:pt x="0" y="387681"/>
                    <a:pt x="1429" y="384443"/>
                    <a:pt x="3905" y="382157"/>
                  </a:cubicBezTo>
                  <a:cubicBezTo>
                    <a:pt x="6477" y="379871"/>
                    <a:pt x="9811" y="378823"/>
                    <a:pt x="13240" y="379204"/>
                  </a:cubicBezTo>
                  <a:cubicBezTo>
                    <a:pt x="22479" y="380157"/>
                    <a:pt x="239935" y="399492"/>
                    <a:pt x="377095" y="81548"/>
                  </a:cubicBezTo>
                  <a:cubicBezTo>
                    <a:pt x="379286" y="76404"/>
                    <a:pt x="384715" y="73547"/>
                    <a:pt x="390239" y="74595"/>
                  </a:cubicBezTo>
                  <a:cubicBezTo>
                    <a:pt x="394716" y="75452"/>
                    <a:pt x="840391" y="156510"/>
                    <a:pt x="1144619" y="22207"/>
                  </a:cubicBezTo>
                  <a:cubicBezTo>
                    <a:pt x="1155383" y="15825"/>
                    <a:pt x="1258729" y="-41229"/>
                    <a:pt x="1334738" y="57259"/>
                  </a:cubicBezTo>
                  <a:lnTo>
                    <a:pt x="1347978" y="48782"/>
                  </a:lnTo>
                  <a:cubicBezTo>
                    <a:pt x="1350645" y="47067"/>
                    <a:pt x="1353979" y="46496"/>
                    <a:pt x="1357027" y="47163"/>
                  </a:cubicBezTo>
                  <a:cubicBezTo>
                    <a:pt x="1360170" y="47829"/>
                    <a:pt x="1362837" y="49830"/>
                    <a:pt x="1364552" y="52497"/>
                  </a:cubicBezTo>
                  <a:lnTo>
                    <a:pt x="1390460" y="94692"/>
                  </a:lnTo>
                  <a:cubicBezTo>
                    <a:pt x="1392174" y="97455"/>
                    <a:pt x="1392650" y="100693"/>
                    <a:pt x="1391888" y="103836"/>
                  </a:cubicBezTo>
                  <a:cubicBezTo>
                    <a:pt x="1391126" y="106980"/>
                    <a:pt x="1389126" y="109647"/>
                    <a:pt x="1386364" y="111266"/>
                  </a:cubicBezTo>
                  <a:lnTo>
                    <a:pt x="891826" y="403112"/>
                  </a:lnTo>
                  <a:cubicBezTo>
                    <a:pt x="890016" y="404160"/>
                    <a:pt x="724853" y="498362"/>
                    <a:pt x="529495" y="542177"/>
                  </a:cubicBezTo>
                  <a:lnTo>
                    <a:pt x="552450" y="583230"/>
                  </a:lnTo>
                  <a:cubicBezTo>
                    <a:pt x="555593" y="588849"/>
                    <a:pt x="553688" y="596088"/>
                    <a:pt x="548069" y="599327"/>
                  </a:cubicBezTo>
                  <a:lnTo>
                    <a:pt x="209264" y="797161"/>
                  </a:lnTo>
                  <a:cubicBezTo>
                    <a:pt x="207454" y="798209"/>
                    <a:pt x="205359" y="798780"/>
                    <a:pt x="203264" y="798780"/>
                  </a:cubicBezTo>
                  <a:close/>
                  <a:moveTo>
                    <a:pt x="162496" y="693053"/>
                  </a:moveTo>
                  <a:lnTo>
                    <a:pt x="207550" y="770205"/>
                  </a:lnTo>
                  <a:lnTo>
                    <a:pt x="526066" y="584278"/>
                  </a:lnTo>
                  <a:lnTo>
                    <a:pt x="500920" y="539319"/>
                  </a:lnTo>
                  <a:cubicBezTo>
                    <a:pt x="499110" y="535986"/>
                    <a:pt x="498919" y="531985"/>
                    <a:pt x="500444" y="528556"/>
                  </a:cubicBezTo>
                  <a:cubicBezTo>
                    <a:pt x="502063" y="525127"/>
                    <a:pt x="505111" y="522651"/>
                    <a:pt x="508825" y="521794"/>
                  </a:cubicBezTo>
                  <a:cubicBezTo>
                    <a:pt x="707136" y="480550"/>
                    <a:pt x="878110" y="383014"/>
                    <a:pt x="879824" y="382062"/>
                  </a:cubicBezTo>
                  <a:lnTo>
                    <a:pt x="1363789" y="96407"/>
                  </a:lnTo>
                  <a:lnTo>
                    <a:pt x="1350550" y="74976"/>
                  </a:lnTo>
                  <a:lnTo>
                    <a:pt x="1338072" y="82977"/>
                  </a:lnTo>
                  <a:cubicBezTo>
                    <a:pt x="1332643" y="86406"/>
                    <a:pt x="1325499" y="84977"/>
                    <a:pt x="1321784" y="79738"/>
                  </a:cubicBezTo>
                  <a:cubicBezTo>
                    <a:pt x="1254728" y="-17893"/>
                    <a:pt x="1160335" y="40019"/>
                    <a:pt x="1156430" y="42495"/>
                  </a:cubicBezTo>
                  <a:cubicBezTo>
                    <a:pt x="1155954" y="42781"/>
                    <a:pt x="1155383" y="43067"/>
                    <a:pt x="1154906" y="43353"/>
                  </a:cubicBezTo>
                  <a:cubicBezTo>
                    <a:pt x="868680" y="170035"/>
                    <a:pt x="461867" y="110313"/>
                    <a:pt x="395288" y="99264"/>
                  </a:cubicBezTo>
                  <a:cubicBezTo>
                    <a:pt x="270510" y="380061"/>
                    <a:pt x="77057" y="402350"/>
                    <a:pt x="24289" y="403017"/>
                  </a:cubicBezTo>
                  <a:cubicBezTo>
                    <a:pt x="33528" y="552369"/>
                    <a:pt x="179546" y="660573"/>
                    <a:pt x="181070" y="661621"/>
                  </a:cubicBezTo>
                  <a:cubicBezTo>
                    <a:pt x="184214" y="663907"/>
                    <a:pt x="186118" y="667621"/>
                    <a:pt x="185928" y="671526"/>
                  </a:cubicBezTo>
                  <a:cubicBezTo>
                    <a:pt x="185833" y="675432"/>
                    <a:pt x="183833" y="679051"/>
                    <a:pt x="180499" y="681242"/>
                  </a:cubicBezTo>
                  <a:lnTo>
                    <a:pt x="162496" y="69286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0E907D28-706D-7A4E-23A9-4EDD5EB933D4}"/>
                </a:ext>
              </a:extLst>
            </p:cNvPr>
            <p:cNvSpPr/>
            <p:nvPr/>
          </p:nvSpPr>
          <p:spPr>
            <a:xfrm rot="19799999">
              <a:off x="-115826" y="4943129"/>
              <a:ext cx="436149" cy="89153"/>
            </a:xfrm>
            <a:custGeom>
              <a:avLst/>
              <a:gdLst>
                <a:gd name="connsiteX0" fmla="*/ 391573 w 436149"/>
                <a:gd name="connsiteY0" fmla="*/ 0 h 89153"/>
                <a:gd name="connsiteX1" fmla="*/ 436150 w 436149"/>
                <a:gd name="connsiteY1" fmla="*/ 44577 h 89153"/>
                <a:gd name="connsiteX2" fmla="*/ 436150 w 436149"/>
                <a:gd name="connsiteY2" fmla="*/ 44577 h 89153"/>
                <a:gd name="connsiteX3" fmla="*/ 391573 w 436149"/>
                <a:gd name="connsiteY3" fmla="*/ 89154 h 89153"/>
                <a:gd name="connsiteX4" fmla="*/ 44577 w 436149"/>
                <a:gd name="connsiteY4" fmla="*/ 89154 h 89153"/>
                <a:gd name="connsiteX5" fmla="*/ 0 w 436149"/>
                <a:gd name="connsiteY5" fmla="*/ 44577 h 89153"/>
                <a:gd name="connsiteX6" fmla="*/ 0 w 436149"/>
                <a:gd name="connsiteY6" fmla="*/ 44577 h 89153"/>
                <a:gd name="connsiteX7" fmla="*/ 44577 w 436149"/>
                <a:gd name="connsiteY7" fmla="*/ 0 h 89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6149" h="89153">
                  <a:moveTo>
                    <a:pt x="391573" y="0"/>
                  </a:moveTo>
                  <a:cubicBezTo>
                    <a:pt x="416192" y="0"/>
                    <a:pt x="436150" y="19958"/>
                    <a:pt x="436150" y="44577"/>
                  </a:cubicBezTo>
                  <a:lnTo>
                    <a:pt x="436150" y="44577"/>
                  </a:lnTo>
                  <a:cubicBezTo>
                    <a:pt x="436150" y="69196"/>
                    <a:pt x="416192" y="89154"/>
                    <a:pt x="391573" y="89154"/>
                  </a:cubicBezTo>
                  <a:lnTo>
                    <a:pt x="44577" y="89154"/>
                  </a:lnTo>
                  <a:cubicBezTo>
                    <a:pt x="19958" y="89154"/>
                    <a:pt x="0" y="69196"/>
                    <a:pt x="0" y="44577"/>
                  </a:cubicBezTo>
                  <a:lnTo>
                    <a:pt x="0" y="44577"/>
                  </a:lnTo>
                  <a:cubicBezTo>
                    <a:pt x="0" y="19958"/>
                    <a:pt x="19958" y="0"/>
                    <a:pt x="44577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35089FE8-839A-EAC3-C851-93A2FB05C1D2}"/>
                </a:ext>
              </a:extLst>
            </p:cNvPr>
            <p:cNvSpPr/>
            <p:nvPr/>
          </p:nvSpPr>
          <p:spPr>
            <a:xfrm>
              <a:off x="114834" y="5019605"/>
              <a:ext cx="239537" cy="197311"/>
            </a:xfrm>
            <a:custGeom>
              <a:avLst/>
              <a:gdLst>
                <a:gd name="connsiteX0" fmla="*/ 227696 w 239537"/>
                <a:gd name="connsiteY0" fmla="*/ 197216 h 197311"/>
                <a:gd name="connsiteX1" fmla="*/ 225982 w 239537"/>
                <a:gd name="connsiteY1" fmla="*/ 197121 h 197311"/>
                <a:gd name="connsiteX2" fmla="*/ 1287 w 239537"/>
                <a:gd name="connsiteY2" fmla="*/ 17289 h 197311"/>
                <a:gd name="connsiteX3" fmla="*/ 6526 w 239537"/>
                <a:gd name="connsiteY3" fmla="*/ 1287 h 197311"/>
                <a:gd name="connsiteX4" fmla="*/ 22528 w 239537"/>
                <a:gd name="connsiteY4" fmla="*/ 6526 h 197311"/>
                <a:gd name="connsiteX5" fmla="*/ 229316 w 239537"/>
                <a:gd name="connsiteY5" fmla="*/ 173594 h 197311"/>
                <a:gd name="connsiteX6" fmla="*/ 239412 w 239537"/>
                <a:gd name="connsiteY6" fmla="*/ 187025 h 197311"/>
                <a:gd name="connsiteX7" fmla="*/ 227601 w 239537"/>
                <a:gd name="connsiteY7" fmla="*/ 197312 h 197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537" h="197311">
                  <a:moveTo>
                    <a:pt x="227696" y="197216"/>
                  </a:moveTo>
                  <a:cubicBezTo>
                    <a:pt x="227125" y="197216"/>
                    <a:pt x="226553" y="197216"/>
                    <a:pt x="225982" y="197121"/>
                  </a:cubicBezTo>
                  <a:cubicBezTo>
                    <a:pt x="83774" y="177023"/>
                    <a:pt x="4621" y="23766"/>
                    <a:pt x="1287" y="17289"/>
                  </a:cubicBezTo>
                  <a:cubicBezTo>
                    <a:pt x="-1666" y="11384"/>
                    <a:pt x="620" y="4240"/>
                    <a:pt x="6526" y="1287"/>
                  </a:cubicBezTo>
                  <a:cubicBezTo>
                    <a:pt x="12431" y="-1666"/>
                    <a:pt x="19575" y="620"/>
                    <a:pt x="22528" y="6526"/>
                  </a:cubicBezTo>
                  <a:cubicBezTo>
                    <a:pt x="23290" y="8050"/>
                    <a:pt x="99490" y="155306"/>
                    <a:pt x="229316" y="173594"/>
                  </a:cubicBezTo>
                  <a:cubicBezTo>
                    <a:pt x="235793" y="174547"/>
                    <a:pt x="240365" y="180548"/>
                    <a:pt x="239412" y="187025"/>
                  </a:cubicBezTo>
                  <a:cubicBezTo>
                    <a:pt x="238555" y="192930"/>
                    <a:pt x="233507" y="197312"/>
                    <a:pt x="227601" y="197312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B0A3D9E7-938D-DFCD-AE3D-4965FAF481A7}"/>
                </a:ext>
              </a:extLst>
            </p:cNvPr>
            <p:cNvSpPr/>
            <p:nvPr/>
          </p:nvSpPr>
          <p:spPr>
            <a:xfrm>
              <a:off x="-1252236" y="4545309"/>
              <a:ext cx="128393" cy="227647"/>
            </a:xfrm>
            <a:custGeom>
              <a:avLst/>
              <a:gdLst>
                <a:gd name="connsiteX0" fmla="*/ 115534 w 128393"/>
                <a:gd name="connsiteY0" fmla="*/ 213646 h 227647"/>
                <a:gd name="connsiteX1" fmla="*/ 28476 w 128393"/>
                <a:gd name="connsiteY1" fmla="*/ 89630 h 227647"/>
                <a:gd name="connsiteX2" fmla="*/ 128393 w 128393"/>
                <a:gd name="connsiteY2" fmla="*/ 19431 h 227647"/>
                <a:gd name="connsiteX3" fmla="*/ 114582 w 128393"/>
                <a:gd name="connsiteY3" fmla="*/ 0 h 227647"/>
                <a:gd name="connsiteX4" fmla="*/ 5044 w 128393"/>
                <a:gd name="connsiteY4" fmla="*/ 76962 h 227647"/>
                <a:gd name="connsiteX5" fmla="*/ 187 w 128393"/>
                <a:gd name="connsiteY5" fmla="*/ 84677 h 227647"/>
                <a:gd name="connsiteX6" fmla="*/ 2187 w 128393"/>
                <a:gd name="connsiteY6" fmla="*/ 93536 h 227647"/>
                <a:gd name="connsiteX7" fmla="*/ 96294 w 128393"/>
                <a:gd name="connsiteY7" fmla="*/ 227648 h 227647"/>
                <a:gd name="connsiteX8" fmla="*/ 115534 w 128393"/>
                <a:gd name="connsiteY8" fmla="*/ 213551 h 227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393" h="227647">
                  <a:moveTo>
                    <a:pt x="115534" y="213646"/>
                  </a:moveTo>
                  <a:lnTo>
                    <a:pt x="28476" y="89630"/>
                  </a:lnTo>
                  <a:lnTo>
                    <a:pt x="128393" y="19431"/>
                  </a:lnTo>
                  <a:lnTo>
                    <a:pt x="114582" y="0"/>
                  </a:lnTo>
                  <a:lnTo>
                    <a:pt x="5044" y="76962"/>
                  </a:lnTo>
                  <a:cubicBezTo>
                    <a:pt x="2473" y="78772"/>
                    <a:pt x="663" y="81534"/>
                    <a:pt x="187" y="84677"/>
                  </a:cubicBezTo>
                  <a:cubicBezTo>
                    <a:pt x="-385" y="87821"/>
                    <a:pt x="377" y="90964"/>
                    <a:pt x="2187" y="93536"/>
                  </a:cubicBezTo>
                  <a:lnTo>
                    <a:pt x="96294" y="227648"/>
                  </a:lnTo>
                  <a:lnTo>
                    <a:pt x="115534" y="21355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DC4E9CA0-B937-F8D9-C759-980CE6B9D2BE}"/>
                </a:ext>
              </a:extLst>
            </p:cNvPr>
            <p:cNvSpPr/>
            <p:nvPr/>
          </p:nvSpPr>
          <p:spPr>
            <a:xfrm>
              <a:off x="-1140035" y="4367775"/>
              <a:ext cx="474444" cy="604539"/>
            </a:xfrm>
            <a:custGeom>
              <a:avLst/>
              <a:gdLst>
                <a:gd name="connsiteX0" fmla="*/ 472154 w 474444"/>
                <a:gd name="connsiteY0" fmla="*/ 294406 h 604539"/>
                <a:gd name="connsiteX1" fmla="*/ 268986 w 474444"/>
                <a:gd name="connsiteY1" fmla="*/ 5036 h 604539"/>
                <a:gd name="connsiteX2" fmla="*/ 252413 w 474444"/>
                <a:gd name="connsiteY2" fmla="*/ 2179 h 604539"/>
                <a:gd name="connsiteX3" fmla="*/ 24956 w 474444"/>
                <a:gd name="connsiteY3" fmla="*/ 161913 h 604539"/>
                <a:gd name="connsiteX4" fmla="*/ 38767 w 474444"/>
                <a:gd name="connsiteY4" fmla="*/ 181344 h 604539"/>
                <a:gd name="connsiteX5" fmla="*/ 256413 w 474444"/>
                <a:gd name="connsiteY5" fmla="*/ 28563 h 604539"/>
                <a:gd name="connsiteX6" fmla="*/ 448818 w 474444"/>
                <a:gd name="connsiteY6" fmla="*/ 302597 h 604539"/>
                <a:gd name="connsiteX7" fmla="*/ 135827 w 474444"/>
                <a:gd name="connsiteY7" fmla="*/ 579965 h 604539"/>
                <a:gd name="connsiteX8" fmla="*/ 19241 w 474444"/>
                <a:gd name="connsiteY8" fmla="*/ 413849 h 604539"/>
                <a:gd name="connsiteX9" fmla="*/ 0 w 474444"/>
                <a:gd name="connsiteY9" fmla="*/ 427946 h 604539"/>
                <a:gd name="connsiteX10" fmla="*/ 120491 w 474444"/>
                <a:gd name="connsiteY10" fmla="*/ 599491 h 604539"/>
                <a:gd name="connsiteX11" fmla="*/ 130207 w 474444"/>
                <a:gd name="connsiteY11" fmla="*/ 604540 h 604539"/>
                <a:gd name="connsiteX12" fmla="*/ 131540 w 474444"/>
                <a:gd name="connsiteY12" fmla="*/ 604540 h 604539"/>
                <a:gd name="connsiteX13" fmla="*/ 473393 w 474444"/>
                <a:gd name="connsiteY13" fmla="*/ 306312 h 604539"/>
                <a:gd name="connsiteX14" fmla="*/ 472250 w 474444"/>
                <a:gd name="connsiteY14" fmla="*/ 294596 h 604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74444" h="604539">
                  <a:moveTo>
                    <a:pt x="472154" y="294406"/>
                  </a:moveTo>
                  <a:lnTo>
                    <a:pt x="268986" y="5036"/>
                  </a:lnTo>
                  <a:cubicBezTo>
                    <a:pt x="265176" y="-298"/>
                    <a:pt x="257842" y="-1631"/>
                    <a:pt x="252413" y="2179"/>
                  </a:cubicBezTo>
                  <a:lnTo>
                    <a:pt x="24956" y="161913"/>
                  </a:lnTo>
                  <a:lnTo>
                    <a:pt x="38767" y="181344"/>
                  </a:lnTo>
                  <a:lnTo>
                    <a:pt x="256413" y="28563"/>
                  </a:lnTo>
                  <a:lnTo>
                    <a:pt x="448818" y="302597"/>
                  </a:lnTo>
                  <a:cubicBezTo>
                    <a:pt x="346329" y="524911"/>
                    <a:pt x="200787" y="570821"/>
                    <a:pt x="135827" y="579965"/>
                  </a:cubicBezTo>
                  <a:lnTo>
                    <a:pt x="19241" y="413849"/>
                  </a:lnTo>
                  <a:lnTo>
                    <a:pt x="0" y="427946"/>
                  </a:lnTo>
                  <a:lnTo>
                    <a:pt x="120491" y="599491"/>
                  </a:lnTo>
                  <a:cubicBezTo>
                    <a:pt x="122777" y="602635"/>
                    <a:pt x="126397" y="604540"/>
                    <a:pt x="130207" y="604540"/>
                  </a:cubicBezTo>
                  <a:cubicBezTo>
                    <a:pt x="130683" y="604540"/>
                    <a:pt x="131064" y="604540"/>
                    <a:pt x="131540" y="604540"/>
                  </a:cubicBezTo>
                  <a:cubicBezTo>
                    <a:pt x="197168" y="597205"/>
                    <a:pt x="361950" y="553581"/>
                    <a:pt x="473393" y="306312"/>
                  </a:cubicBezTo>
                  <a:cubicBezTo>
                    <a:pt x="475107" y="302502"/>
                    <a:pt x="474726" y="298025"/>
                    <a:pt x="472250" y="294596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CDC1949E-594D-E7D3-D2D0-BE81DF283279}"/>
              </a:ext>
            </a:extLst>
          </p:cNvPr>
          <p:cNvSpPr txBox="1"/>
          <p:nvPr/>
        </p:nvSpPr>
        <p:spPr>
          <a:xfrm>
            <a:off x="8355176" y="1868557"/>
            <a:ext cx="2503488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latin typeface="+mn-lt"/>
              </a:rPr>
              <a:t>Main current approache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E1551E7-0348-5ED8-E814-E6CB9BB3393E}"/>
              </a:ext>
            </a:extLst>
          </p:cNvPr>
          <p:cNvSpPr txBox="1"/>
          <p:nvPr/>
        </p:nvSpPr>
        <p:spPr>
          <a:xfrm>
            <a:off x="3896499" y="1868557"/>
            <a:ext cx="2503488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latin typeface="+mn-lt"/>
              </a:rPr>
              <a:t>Main challenges</a:t>
            </a:r>
          </a:p>
        </p:txBody>
      </p:sp>
      <p:sp>
        <p:nvSpPr>
          <p:cNvPr id="63" name="TextBox1744291988">
            <a:extLst>
              <a:ext uri="{FF2B5EF4-FFF2-40B4-BE49-F238E27FC236}">
                <a16:creationId xmlns:a16="http://schemas.microsoft.com/office/drawing/2014/main" id="{45A3A1B0-DED7-5178-1C81-1B8CD7BA8A70}"/>
              </a:ext>
            </a:extLst>
          </p:cNvPr>
          <p:cNvSpPr txBox="1"/>
          <p:nvPr/>
        </p:nvSpPr>
        <p:spPr>
          <a:xfrm>
            <a:off x="3878818" y="2503862"/>
            <a:ext cx="2773816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marL="0" lvl="1" indent="0">
              <a:spcBef>
                <a:spcPts val="600"/>
              </a:spcBef>
              <a:buClr>
                <a:srgbClr val="B9052D"/>
              </a:buClr>
              <a:buNone/>
            </a:pPr>
            <a:r>
              <a:rPr lang="en-US" sz="1200" dirty="0"/>
              <a:t>High battery cooling requirements</a:t>
            </a:r>
          </a:p>
          <a:p>
            <a:pPr marL="0" lvl="1" indent="0">
              <a:spcBef>
                <a:spcPts val="600"/>
              </a:spcBef>
              <a:buClr>
                <a:srgbClr val="B9052D"/>
              </a:buClr>
              <a:buNone/>
            </a:pPr>
            <a:r>
              <a:rPr lang="en-US" sz="1200" dirty="0"/>
              <a:t>limited power of AC compressor</a:t>
            </a:r>
            <a:endParaRPr lang="en-US" sz="1600" dirty="0"/>
          </a:p>
        </p:txBody>
      </p:sp>
      <p:sp>
        <p:nvSpPr>
          <p:cNvPr id="65" name="TextBox1744291988">
            <a:extLst>
              <a:ext uri="{FF2B5EF4-FFF2-40B4-BE49-F238E27FC236}">
                <a16:creationId xmlns:a16="http://schemas.microsoft.com/office/drawing/2014/main" id="{95A66F26-0BA7-125E-69DC-6AB2F0FBFA39}"/>
              </a:ext>
            </a:extLst>
          </p:cNvPr>
          <p:cNvSpPr txBox="1"/>
          <p:nvPr/>
        </p:nvSpPr>
        <p:spPr>
          <a:xfrm>
            <a:off x="8430522" y="2450001"/>
            <a:ext cx="277381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marL="0" lvl="1" indent="0">
              <a:spcBef>
                <a:spcPts val="600"/>
              </a:spcBef>
              <a:buClr>
                <a:srgbClr val="0087A0"/>
              </a:buClr>
              <a:buNone/>
            </a:pPr>
            <a:r>
              <a:rPr lang="en-US" sz="1200" b="1" dirty="0"/>
              <a:t>Separate refrigerant circuits </a:t>
            </a:r>
            <a:r>
              <a:rPr lang="en-US" sz="1200" dirty="0"/>
              <a:t>for battery and cabin cooling as main solution</a:t>
            </a:r>
          </a:p>
        </p:txBody>
      </p:sp>
      <p:sp>
        <p:nvSpPr>
          <p:cNvPr id="67" name="TextBox1744291988">
            <a:extLst>
              <a:ext uri="{FF2B5EF4-FFF2-40B4-BE49-F238E27FC236}">
                <a16:creationId xmlns:a16="http://schemas.microsoft.com/office/drawing/2014/main" id="{B9B9C3D6-D48F-4E98-FB35-51CDF0524D28}"/>
              </a:ext>
            </a:extLst>
          </p:cNvPr>
          <p:cNvSpPr txBox="1"/>
          <p:nvPr/>
        </p:nvSpPr>
        <p:spPr>
          <a:xfrm>
            <a:off x="3878818" y="3670776"/>
            <a:ext cx="277381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marL="0" lvl="1" indent="0">
              <a:spcBef>
                <a:spcPts val="600"/>
              </a:spcBef>
              <a:buClr>
                <a:srgbClr val="B9052D"/>
              </a:buClr>
              <a:buNone/>
            </a:pPr>
            <a:r>
              <a:rPr lang="en-US" sz="1200" dirty="0"/>
              <a:t>High cooling need of EDU and PE</a:t>
            </a:r>
          </a:p>
        </p:txBody>
      </p:sp>
      <p:sp>
        <p:nvSpPr>
          <p:cNvPr id="68" name="TextBox1744291988">
            <a:extLst>
              <a:ext uri="{FF2B5EF4-FFF2-40B4-BE49-F238E27FC236}">
                <a16:creationId xmlns:a16="http://schemas.microsoft.com/office/drawing/2014/main" id="{56DF2CA9-DE8C-2F7C-3574-FB771F4C298D}"/>
              </a:ext>
            </a:extLst>
          </p:cNvPr>
          <p:cNvSpPr txBox="1"/>
          <p:nvPr/>
        </p:nvSpPr>
        <p:spPr>
          <a:xfrm>
            <a:off x="8430522" y="3578443"/>
            <a:ext cx="2910678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marL="0" lvl="1" indent="0">
              <a:spcBef>
                <a:spcPts val="600"/>
              </a:spcBef>
              <a:buClr>
                <a:srgbClr val="0087A0"/>
              </a:buClr>
              <a:buNone/>
            </a:pPr>
            <a:r>
              <a:rPr lang="en-US" sz="1200" b="1" dirty="0"/>
              <a:t>Single circuit for PE and EDU </a:t>
            </a:r>
            <a:r>
              <a:rPr lang="en-US" sz="1200" dirty="0"/>
              <a:t>in most CVs, but diversity of solutions remain</a:t>
            </a:r>
          </a:p>
        </p:txBody>
      </p:sp>
      <p:sp>
        <p:nvSpPr>
          <p:cNvPr id="70" name="TextBox1744291988">
            <a:extLst>
              <a:ext uri="{FF2B5EF4-FFF2-40B4-BE49-F238E27FC236}">
                <a16:creationId xmlns:a16="http://schemas.microsoft.com/office/drawing/2014/main" id="{ACCD1338-AD7C-9375-62C2-71F8544D4C18}"/>
              </a:ext>
            </a:extLst>
          </p:cNvPr>
          <p:cNvSpPr txBox="1"/>
          <p:nvPr/>
        </p:nvSpPr>
        <p:spPr>
          <a:xfrm>
            <a:off x="3878818" y="4614551"/>
            <a:ext cx="3177302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marL="0" lvl="1" indent="0">
              <a:spcBef>
                <a:spcPts val="600"/>
              </a:spcBef>
              <a:buClr>
                <a:srgbClr val="B9052D"/>
              </a:buClr>
              <a:buNone/>
            </a:pPr>
            <a:r>
              <a:rPr lang="en-US" sz="1200" dirty="0"/>
              <a:t>High costs of development and integration</a:t>
            </a:r>
          </a:p>
        </p:txBody>
      </p:sp>
      <p:sp>
        <p:nvSpPr>
          <p:cNvPr id="71" name="TextBox1744291988">
            <a:extLst>
              <a:ext uri="{FF2B5EF4-FFF2-40B4-BE49-F238E27FC236}">
                <a16:creationId xmlns:a16="http://schemas.microsoft.com/office/drawing/2014/main" id="{B0A981C0-163F-E462-601E-8F1019E1DCF1}"/>
              </a:ext>
            </a:extLst>
          </p:cNvPr>
          <p:cNvSpPr txBox="1"/>
          <p:nvPr/>
        </p:nvSpPr>
        <p:spPr>
          <a:xfrm>
            <a:off x="8430522" y="4706884"/>
            <a:ext cx="277381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marL="0" lvl="1" indent="0">
              <a:spcBef>
                <a:spcPts val="600"/>
              </a:spcBef>
              <a:buClr>
                <a:srgbClr val="0087A0"/>
              </a:buClr>
              <a:buNone/>
            </a:pPr>
            <a:r>
              <a:rPr lang="en-US" sz="1200" b="1" dirty="0"/>
              <a:t>Only visible for LCVs today</a:t>
            </a:r>
          </a:p>
        </p:txBody>
      </p:sp>
      <p:sp>
        <p:nvSpPr>
          <p:cNvPr id="73" name="TextBox1744291988">
            <a:extLst>
              <a:ext uri="{FF2B5EF4-FFF2-40B4-BE49-F238E27FC236}">
                <a16:creationId xmlns:a16="http://schemas.microsoft.com/office/drawing/2014/main" id="{B8ABCA21-51B2-0708-C458-39F7057C43E7}"/>
              </a:ext>
            </a:extLst>
          </p:cNvPr>
          <p:cNvSpPr txBox="1"/>
          <p:nvPr/>
        </p:nvSpPr>
        <p:spPr>
          <a:xfrm>
            <a:off x="3878818" y="5440345"/>
            <a:ext cx="2773816" cy="7899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marL="0" lvl="1" indent="0">
              <a:spcBef>
                <a:spcPts val="200"/>
              </a:spcBef>
              <a:buClr>
                <a:srgbClr val="B9052D"/>
              </a:buClr>
              <a:buNone/>
            </a:pPr>
            <a:r>
              <a:rPr lang="en-US" sz="1200" dirty="0"/>
              <a:t>High heat energy to dissipate</a:t>
            </a:r>
          </a:p>
          <a:p>
            <a:pPr marL="0" lvl="1" indent="0">
              <a:spcBef>
                <a:spcPts val="200"/>
              </a:spcBef>
              <a:buClr>
                <a:srgbClr val="B9052D"/>
              </a:buClr>
              <a:buNone/>
            </a:pPr>
            <a:r>
              <a:rPr lang="en-US" sz="1200" dirty="0"/>
              <a:t>Risk to overheat other comp.</a:t>
            </a:r>
          </a:p>
          <a:p>
            <a:pPr marL="0" lvl="1" indent="0">
              <a:spcBef>
                <a:spcPts val="200"/>
              </a:spcBef>
              <a:buClr>
                <a:srgbClr val="B9052D"/>
              </a:buClr>
              <a:buNone/>
            </a:pPr>
            <a:r>
              <a:rPr lang="en-US" sz="1200" dirty="0"/>
              <a:t>Need to oversize some components (e.g., electric fan)</a:t>
            </a:r>
          </a:p>
        </p:txBody>
      </p:sp>
      <p:sp>
        <p:nvSpPr>
          <p:cNvPr id="74" name="TextBox1744291988">
            <a:extLst>
              <a:ext uri="{FF2B5EF4-FFF2-40B4-BE49-F238E27FC236}">
                <a16:creationId xmlns:a16="http://schemas.microsoft.com/office/drawing/2014/main" id="{33BA89CF-077A-715E-0C90-DE4C8359B762}"/>
              </a:ext>
            </a:extLst>
          </p:cNvPr>
          <p:cNvSpPr txBox="1"/>
          <p:nvPr/>
        </p:nvSpPr>
        <p:spPr>
          <a:xfrm>
            <a:off x="8430522" y="5650659"/>
            <a:ext cx="2900281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pPr marL="0" lvl="1" indent="0">
              <a:spcBef>
                <a:spcPts val="600"/>
              </a:spcBef>
              <a:buClr>
                <a:srgbClr val="0087A0"/>
              </a:buClr>
              <a:buNone/>
            </a:pPr>
            <a:r>
              <a:rPr lang="en-US" sz="1200" b="1" dirty="0"/>
              <a:t>Dedicated coolant circuit </a:t>
            </a:r>
            <a:r>
              <a:rPr lang="en-US" sz="1200" dirty="0"/>
              <a:t>or </a:t>
            </a:r>
            <a:r>
              <a:rPr lang="en-US" sz="1200" b="1" dirty="0"/>
              <a:t>integration with battery loop </a:t>
            </a:r>
            <a:endParaRPr lang="en-US" sz="1200" dirty="0"/>
          </a:p>
        </p:txBody>
      </p:sp>
      <p:pic>
        <p:nvPicPr>
          <p:cNvPr id="6" name="124 Exclamation Mark (red)">
            <a:extLst>
              <a:ext uri="{FF2B5EF4-FFF2-40B4-BE49-F238E27FC236}">
                <a16:creationId xmlns:a16="http://schemas.microsoft.com/office/drawing/2014/main" id="{6699B853-1A96-731C-DDF8-B1AA1257B7C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216111" y="2415698"/>
            <a:ext cx="622604" cy="622604"/>
          </a:xfrm>
          <a:prstGeom prst="rect">
            <a:avLst/>
          </a:prstGeom>
        </p:spPr>
      </p:pic>
      <p:grpSp>
        <p:nvGrpSpPr>
          <p:cNvPr id="81" name="Group 80">
            <a:extLst>
              <a:ext uri="{FF2B5EF4-FFF2-40B4-BE49-F238E27FC236}">
                <a16:creationId xmlns:a16="http://schemas.microsoft.com/office/drawing/2014/main" id="{DB929E94-A098-23C0-FA7B-31C18BDEFC1D}"/>
              </a:ext>
            </a:extLst>
          </p:cNvPr>
          <p:cNvGrpSpPr/>
          <p:nvPr/>
        </p:nvGrpSpPr>
        <p:grpSpPr>
          <a:xfrm>
            <a:off x="7870768" y="2528534"/>
            <a:ext cx="396932" cy="396932"/>
            <a:chOff x="12392441" y="2482450"/>
            <a:chExt cx="944043" cy="1009918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3C06272-BF2F-24D6-E6DB-40E46575BE56}"/>
                </a:ext>
              </a:extLst>
            </p:cNvPr>
            <p:cNvSpPr/>
            <p:nvPr/>
          </p:nvSpPr>
          <p:spPr>
            <a:xfrm>
              <a:off x="12392441" y="2482450"/>
              <a:ext cx="944043" cy="1009918"/>
            </a:xfrm>
            <a:custGeom>
              <a:avLst/>
              <a:gdLst>
                <a:gd name="connsiteX0" fmla="*/ 795834 w 944043"/>
                <a:gd name="connsiteY0" fmla="*/ 1009881 h 1009918"/>
                <a:gd name="connsiteX1" fmla="*/ 784309 w 944043"/>
                <a:gd name="connsiteY1" fmla="*/ 1001023 h 1009918"/>
                <a:gd name="connsiteX2" fmla="*/ 807264 w 944043"/>
                <a:gd name="connsiteY2" fmla="*/ 670315 h 1009918"/>
                <a:gd name="connsiteX3" fmla="*/ 912992 w 944043"/>
                <a:gd name="connsiteY3" fmla="*/ 290649 h 1009918"/>
                <a:gd name="connsiteX4" fmla="*/ 757449 w 944043"/>
                <a:gd name="connsiteY4" fmla="*/ 92529 h 1009918"/>
                <a:gd name="connsiteX5" fmla="*/ 307202 w 944043"/>
                <a:gd name="connsiteY5" fmla="*/ 81765 h 1009918"/>
                <a:gd name="connsiteX6" fmla="*/ 153754 w 944043"/>
                <a:gd name="connsiteY6" fmla="*/ 301602 h 1009918"/>
                <a:gd name="connsiteX7" fmla="*/ 158993 w 944043"/>
                <a:gd name="connsiteY7" fmla="*/ 439143 h 1009918"/>
                <a:gd name="connsiteX8" fmla="*/ 156040 w 944043"/>
                <a:gd name="connsiteY8" fmla="*/ 449145 h 1009918"/>
                <a:gd name="connsiteX9" fmla="*/ 24024 w 944043"/>
                <a:gd name="connsiteY9" fmla="*/ 594020 h 1009918"/>
                <a:gd name="connsiteX10" fmla="*/ 24786 w 944043"/>
                <a:gd name="connsiteY10" fmla="*/ 607545 h 1009918"/>
                <a:gd name="connsiteX11" fmla="*/ 118416 w 944043"/>
                <a:gd name="connsiteY11" fmla="*/ 627453 h 1009918"/>
                <a:gd name="connsiteX12" fmla="*/ 131180 w 944043"/>
                <a:gd name="connsiteY12" fmla="*/ 634120 h 1009918"/>
                <a:gd name="connsiteX13" fmla="*/ 153373 w 944043"/>
                <a:gd name="connsiteY13" fmla="*/ 813571 h 1009918"/>
                <a:gd name="connsiteX14" fmla="*/ 152706 w 944043"/>
                <a:gd name="connsiteY14" fmla="*/ 815476 h 1009918"/>
                <a:gd name="connsiteX15" fmla="*/ 153754 w 944043"/>
                <a:gd name="connsiteY15" fmla="*/ 879198 h 1009918"/>
                <a:gd name="connsiteX16" fmla="*/ 253005 w 944043"/>
                <a:gd name="connsiteY16" fmla="*/ 905773 h 1009918"/>
                <a:gd name="connsiteX17" fmla="*/ 370257 w 944043"/>
                <a:gd name="connsiteY17" fmla="*/ 884532 h 1009918"/>
                <a:gd name="connsiteX18" fmla="*/ 383211 w 944043"/>
                <a:gd name="connsiteY18" fmla="*/ 891295 h 1009918"/>
                <a:gd name="connsiteX19" fmla="*/ 410929 w 944043"/>
                <a:gd name="connsiteY19" fmla="*/ 999975 h 1009918"/>
                <a:gd name="connsiteX20" fmla="*/ 397213 w 944043"/>
                <a:gd name="connsiteY20" fmla="*/ 1009786 h 1009918"/>
                <a:gd name="connsiteX21" fmla="*/ 387402 w 944043"/>
                <a:gd name="connsiteY21" fmla="*/ 996070 h 1009918"/>
                <a:gd name="connsiteX22" fmla="*/ 365209 w 944043"/>
                <a:gd name="connsiteY22" fmla="*/ 909678 h 1009918"/>
                <a:gd name="connsiteX23" fmla="*/ 256529 w 944043"/>
                <a:gd name="connsiteY23" fmla="*/ 929395 h 1009918"/>
                <a:gd name="connsiteX24" fmla="*/ 255195 w 944043"/>
                <a:gd name="connsiteY24" fmla="*/ 929586 h 1009918"/>
                <a:gd name="connsiteX25" fmla="*/ 134133 w 944043"/>
                <a:gd name="connsiteY25" fmla="*/ 892724 h 1009918"/>
                <a:gd name="connsiteX26" fmla="*/ 130608 w 944043"/>
                <a:gd name="connsiteY26" fmla="*/ 806713 h 1009918"/>
                <a:gd name="connsiteX27" fmla="*/ 113082 w 944043"/>
                <a:gd name="connsiteY27" fmla="*/ 652313 h 1009918"/>
                <a:gd name="connsiteX28" fmla="*/ 5545 w 944043"/>
                <a:gd name="connsiteY28" fmla="*/ 622976 h 1009918"/>
                <a:gd name="connsiteX29" fmla="*/ 1354 w 944043"/>
                <a:gd name="connsiteY29" fmla="*/ 614499 h 1009918"/>
                <a:gd name="connsiteX30" fmla="*/ 21 w 944043"/>
                <a:gd name="connsiteY30" fmla="*/ 590400 h 1009918"/>
                <a:gd name="connsiteX31" fmla="*/ 3069 w 944043"/>
                <a:gd name="connsiteY31" fmla="*/ 581733 h 1009918"/>
                <a:gd name="connsiteX32" fmla="*/ 134609 w 944043"/>
                <a:gd name="connsiteY32" fmla="*/ 437238 h 1009918"/>
                <a:gd name="connsiteX33" fmla="*/ 129942 w 944043"/>
                <a:gd name="connsiteY33" fmla="*/ 301888 h 1009918"/>
                <a:gd name="connsiteX34" fmla="*/ 295296 w 944043"/>
                <a:gd name="connsiteY34" fmla="*/ 61096 h 1009918"/>
                <a:gd name="connsiteX35" fmla="*/ 769926 w 944043"/>
                <a:gd name="connsiteY35" fmla="*/ 72240 h 1009918"/>
                <a:gd name="connsiteX36" fmla="*/ 936138 w 944043"/>
                <a:gd name="connsiteY36" fmla="*/ 285315 h 1009918"/>
                <a:gd name="connsiteX37" fmla="*/ 827267 w 944043"/>
                <a:gd name="connsiteY37" fmla="*/ 683079 h 1009918"/>
                <a:gd name="connsiteX38" fmla="*/ 807264 w 944043"/>
                <a:gd name="connsiteY38" fmla="*/ 994927 h 1009918"/>
                <a:gd name="connsiteX39" fmla="*/ 798787 w 944043"/>
                <a:gd name="connsiteY39" fmla="*/ 1009500 h 1009918"/>
                <a:gd name="connsiteX40" fmla="*/ 795739 w 944043"/>
                <a:gd name="connsiteY40" fmla="*/ 1009881 h 100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44043" h="1009918">
                  <a:moveTo>
                    <a:pt x="795834" y="1009881"/>
                  </a:moveTo>
                  <a:cubicBezTo>
                    <a:pt x="790596" y="1009881"/>
                    <a:pt x="785738" y="1006357"/>
                    <a:pt x="784309" y="1001023"/>
                  </a:cubicBezTo>
                  <a:cubicBezTo>
                    <a:pt x="782023" y="992546"/>
                    <a:pt x="730302" y="791092"/>
                    <a:pt x="807264" y="670315"/>
                  </a:cubicBezTo>
                  <a:cubicBezTo>
                    <a:pt x="902610" y="520677"/>
                    <a:pt x="937185" y="396471"/>
                    <a:pt x="912992" y="290649"/>
                  </a:cubicBezTo>
                  <a:cubicBezTo>
                    <a:pt x="894894" y="211686"/>
                    <a:pt x="842602" y="145011"/>
                    <a:pt x="757449" y="92529"/>
                  </a:cubicBezTo>
                  <a:cubicBezTo>
                    <a:pt x="615717" y="4994"/>
                    <a:pt x="447410" y="993"/>
                    <a:pt x="307202" y="81765"/>
                  </a:cubicBezTo>
                  <a:cubicBezTo>
                    <a:pt x="211761" y="136725"/>
                    <a:pt x="151563" y="223021"/>
                    <a:pt x="153754" y="301602"/>
                  </a:cubicBezTo>
                  <a:cubicBezTo>
                    <a:pt x="153754" y="303031"/>
                    <a:pt x="153754" y="408378"/>
                    <a:pt x="158993" y="439143"/>
                  </a:cubicBezTo>
                  <a:cubicBezTo>
                    <a:pt x="159564" y="442763"/>
                    <a:pt x="158517" y="446382"/>
                    <a:pt x="156040" y="449145"/>
                  </a:cubicBezTo>
                  <a:lnTo>
                    <a:pt x="24024" y="594020"/>
                  </a:lnTo>
                  <a:lnTo>
                    <a:pt x="24786" y="607545"/>
                  </a:lnTo>
                  <a:cubicBezTo>
                    <a:pt x="36120" y="615261"/>
                    <a:pt x="71077" y="635454"/>
                    <a:pt x="118416" y="627453"/>
                  </a:cubicBezTo>
                  <a:cubicBezTo>
                    <a:pt x="123560" y="626691"/>
                    <a:pt x="128894" y="629262"/>
                    <a:pt x="131180" y="634120"/>
                  </a:cubicBezTo>
                  <a:cubicBezTo>
                    <a:pt x="132990" y="638025"/>
                    <a:pt x="175662" y="730037"/>
                    <a:pt x="153373" y="813571"/>
                  </a:cubicBezTo>
                  <a:cubicBezTo>
                    <a:pt x="153183" y="814238"/>
                    <a:pt x="152992" y="814809"/>
                    <a:pt x="152706" y="815476"/>
                  </a:cubicBezTo>
                  <a:cubicBezTo>
                    <a:pt x="152516" y="815857"/>
                    <a:pt x="135942" y="853576"/>
                    <a:pt x="153754" y="879198"/>
                  </a:cubicBezTo>
                  <a:cubicBezTo>
                    <a:pt x="168042" y="899772"/>
                    <a:pt x="202236" y="908916"/>
                    <a:pt x="253005" y="905773"/>
                  </a:cubicBezTo>
                  <a:lnTo>
                    <a:pt x="370257" y="884532"/>
                  </a:lnTo>
                  <a:cubicBezTo>
                    <a:pt x="375591" y="883580"/>
                    <a:pt x="380925" y="886342"/>
                    <a:pt x="383211" y="891295"/>
                  </a:cubicBezTo>
                  <a:cubicBezTo>
                    <a:pt x="386640" y="898725"/>
                    <a:pt x="416739" y="965209"/>
                    <a:pt x="410929" y="999975"/>
                  </a:cubicBezTo>
                  <a:cubicBezTo>
                    <a:pt x="409786" y="1006452"/>
                    <a:pt x="403785" y="1010739"/>
                    <a:pt x="397213" y="1009786"/>
                  </a:cubicBezTo>
                  <a:cubicBezTo>
                    <a:pt x="390736" y="1008738"/>
                    <a:pt x="386355" y="1002547"/>
                    <a:pt x="387402" y="996070"/>
                  </a:cubicBezTo>
                  <a:cubicBezTo>
                    <a:pt x="390831" y="975687"/>
                    <a:pt x="374925" y="932538"/>
                    <a:pt x="365209" y="909678"/>
                  </a:cubicBezTo>
                  <a:lnTo>
                    <a:pt x="256529" y="929395"/>
                  </a:lnTo>
                  <a:cubicBezTo>
                    <a:pt x="256529" y="929395"/>
                    <a:pt x="255576" y="929490"/>
                    <a:pt x="255195" y="929586"/>
                  </a:cubicBezTo>
                  <a:cubicBezTo>
                    <a:pt x="194426" y="933586"/>
                    <a:pt x="153659" y="921108"/>
                    <a:pt x="134133" y="892724"/>
                  </a:cubicBezTo>
                  <a:cubicBezTo>
                    <a:pt x="110415" y="858339"/>
                    <a:pt x="127465" y="814143"/>
                    <a:pt x="130608" y="806713"/>
                  </a:cubicBezTo>
                  <a:cubicBezTo>
                    <a:pt x="146706" y="745086"/>
                    <a:pt x="122417" y="675459"/>
                    <a:pt x="113082" y="652313"/>
                  </a:cubicBezTo>
                  <a:cubicBezTo>
                    <a:pt x="49360" y="659076"/>
                    <a:pt x="7450" y="624500"/>
                    <a:pt x="5545" y="622976"/>
                  </a:cubicBezTo>
                  <a:cubicBezTo>
                    <a:pt x="3069" y="620880"/>
                    <a:pt x="1545" y="617832"/>
                    <a:pt x="1354" y="614499"/>
                  </a:cubicBezTo>
                  <a:lnTo>
                    <a:pt x="21" y="590400"/>
                  </a:lnTo>
                  <a:cubicBezTo>
                    <a:pt x="-170" y="587257"/>
                    <a:pt x="973" y="584114"/>
                    <a:pt x="3069" y="581733"/>
                  </a:cubicBezTo>
                  <a:lnTo>
                    <a:pt x="134609" y="437238"/>
                  </a:lnTo>
                  <a:cubicBezTo>
                    <a:pt x="129942" y="399519"/>
                    <a:pt x="129942" y="306079"/>
                    <a:pt x="129942" y="301888"/>
                  </a:cubicBezTo>
                  <a:cubicBezTo>
                    <a:pt x="127465" y="213687"/>
                    <a:pt x="190806" y="121294"/>
                    <a:pt x="295296" y="61096"/>
                  </a:cubicBezTo>
                  <a:cubicBezTo>
                    <a:pt x="443219" y="-24153"/>
                    <a:pt x="620670" y="-19962"/>
                    <a:pt x="769926" y="72240"/>
                  </a:cubicBezTo>
                  <a:cubicBezTo>
                    <a:pt x="860700" y="128247"/>
                    <a:pt x="916611" y="199971"/>
                    <a:pt x="936138" y="285315"/>
                  </a:cubicBezTo>
                  <a:cubicBezTo>
                    <a:pt x="974333" y="452193"/>
                    <a:pt x="863652" y="625929"/>
                    <a:pt x="827267" y="683079"/>
                  </a:cubicBezTo>
                  <a:cubicBezTo>
                    <a:pt x="755829" y="795188"/>
                    <a:pt x="806788" y="992927"/>
                    <a:pt x="807264" y="994927"/>
                  </a:cubicBezTo>
                  <a:cubicBezTo>
                    <a:pt x="808979" y="1001309"/>
                    <a:pt x="805169" y="1007786"/>
                    <a:pt x="798787" y="1009500"/>
                  </a:cubicBezTo>
                  <a:cubicBezTo>
                    <a:pt x="797739" y="1009786"/>
                    <a:pt x="796787" y="1009881"/>
                    <a:pt x="795739" y="10098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04688DD-EDE4-6CB3-BFF7-200621626E21}"/>
                </a:ext>
              </a:extLst>
            </p:cNvPr>
            <p:cNvSpPr/>
            <p:nvPr/>
          </p:nvSpPr>
          <p:spPr>
            <a:xfrm>
              <a:off x="12751571" y="2721496"/>
              <a:ext cx="326213" cy="458415"/>
            </a:xfrm>
            <a:custGeom>
              <a:avLst/>
              <a:gdLst>
                <a:gd name="connsiteX0" fmla="*/ 219058 w 326213"/>
                <a:gd name="connsiteY0" fmla="*/ 458321 h 458415"/>
                <a:gd name="connsiteX1" fmla="*/ 109520 w 326213"/>
                <a:gd name="connsiteY1" fmla="*/ 458321 h 458415"/>
                <a:gd name="connsiteX2" fmla="*/ 78564 w 326213"/>
                <a:gd name="connsiteY2" fmla="*/ 427364 h 458415"/>
                <a:gd name="connsiteX3" fmla="*/ 78564 w 326213"/>
                <a:gd name="connsiteY3" fmla="*/ 312683 h 458415"/>
                <a:gd name="connsiteX4" fmla="*/ 70182 w 326213"/>
                <a:gd name="connsiteY4" fmla="*/ 297158 h 458415"/>
                <a:gd name="connsiteX5" fmla="*/ 173 w 326213"/>
                <a:gd name="connsiteY5" fmla="*/ 155521 h 458415"/>
                <a:gd name="connsiteX6" fmla="*/ 155431 w 326213"/>
                <a:gd name="connsiteY6" fmla="*/ 168 h 458415"/>
                <a:gd name="connsiteX7" fmla="*/ 275731 w 326213"/>
                <a:gd name="connsiteY7" fmla="*/ 45126 h 458415"/>
                <a:gd name="connsiteX8" fmla="*/ 326214 w 326213"/>
                <a:gd name="connsiteY8" fmla="*/ 163141 h 458415"/>
                <a:gd name="connsiteX9" fmla="*/ 257634 w 326213"/>
                <a:gd name="connsiteY9" fmla="*/ 296015 h 458415"/>
                <a:gd name="connsiteX10" fmla="*/ 247633 w 326213"/>
                <a:gd name="connsiteY10" fmla="*/ 314493 h 458415"/>
                <a:gd name="connsiteX11" fmla="*/ 247633 w 326213"/>
                <a:gd name="connsiteY11" fmla="*/ 429841 h 458415"/>
                <a:gd name="connsiteX12" fmla="*/ 219058 w 326213"/>
                <a:gd name="connsiteY12" fmla="*/ 458416 h 458415"/>
                <a:gd name="connsiteX13" fmla="*/ 163146 w 326213"/>
                <a:gd name="connsiteY13" fmla="*/ 23790 h 458415"/>
                <a:gd name="connsiteX14" fmla="*/ 156478 w 326213"/>
                <a:gd name="connsiteY14" fmla="*/ 23981 h 458415"/>
                <a:gd name="connsiteX15" fmla="*/ 23890 w 326213"/>
                <a:gd name="connsiteY15" fmla="*/ 156664 h 458415"/>
                <a:gd name="connsiteX16" fmla="*/ 83707 w 326213"/>
                <a:gd name="connsiteY16" fmla="*/ 277631 h 458415"/>
                <a:gd name="connsiteX17" fmla="*/ 102376 w 326213"/>
                <a:gd name="connsiteY17" fmla="*/ 312779 h 458415"/>
                <a:gd name="connsiteX18" fmla="*/ 102376 w 326213"/>
                <a:gd name="connsiteY18" fmla="*/ 427460 h 458415"/>
                <a:gd name="connsiteX19" fmla="*/ 109520 w 326213"/>
                <a:gd name="connsiteY19" fmla="*/ 434603 h 458415"/>
                <a:gd name="connsiteX20" fmla="*/ 219058 w 326213"/>
                <a:gd name="connsiteY20" fmla="*/ 434603 h 458415"/>
                <a:gd name="connsiteX21" fmla="*/ 223820 w 326213"/>
                <a:gd name="connsiteY21" fmla="*/ 429841 h 458415"/>
                <a:gd name="connsiteX22" fmla="*/ 223820 w 326213"/>
                <a:gd name="connsiteY22" fmla="*/ 314493 h 458415"/>
                <a:gd name="connsiteX23" fmla="*/ 243823 w 326213"/>
                <a:gd name="connsiteY23" fmla="*/ 276679 h 458415"/>
                <a:gd name="connsiteX24" fmla="*/ 302401 w 326213"/>
                <a:gd name="connsiteY24" fmla="*/ 163141 h 458415"/>
                <a:gd name="connsiteX25" fmla="*/ 259253 w 326213"/>
                <a:gd name="connsiteY25" fmla="*/ 62366 h 458415"/>
                <a:gd name="connsiteX26" fmla="*/ 163146 w 326213"/>
                <a:gd name="connsiteY26" fmla="*/ 23790 h 45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26213" h="458415">
                  <a:moveTo>
                    <a:pt x="219058" y="458321"/>
                  </a:moveTo>
                  <a:lnTo>
                    <a:pt x="109520" y="458321"/>
                  </a:lnTo>
                  <a:cubicBezTo>
                    <a:pt x="92470" y="458321"/>
                    <a:pt x="78564" y="444414"/>
                    <a:pt x="78564" y="427364"/>
                  </a:cubicBezTo>
                  <a:lnTo>
                    <a:pt x="78564" y="312683"/>
                  </a:lnTo>
                  <a:cubicBezTo>
                    <a:pt x="78564" y="306587"/>
                    <a:pt x="75421" y="300777"/>
                    <a:pt x="70182" y="297158"/>
                  </a:cubicBezTo>
                  <a:cubicBezTo>
                    <a:pt x="23795" y="264963"/>
                    <a:pt x="-2399" y="212004"/>
                    <a:pt x="173" y="155521"/>
                  </a:cubicBezTo>
                  <a:cubicBezTo>
                    <a:pt x="3983" y="72177"/>
                    <a:pt x="72182" y="3978"/>
                    <a:pt x="155431" y="168"/>
                  </a:cubicBezTo>
                  <a:cubicBezTo>
                    <a:pt x="200579" y="-1832"/>
                    <a:pt x="243251" y="14075"/>
                    <a:pt x="275731" y="45126"/>
                  </a:cubicBezTo>
                  <a:cubicBezTo>
                    <a:pt x="308307" y="76178"/>
                    <a:pt x="326214" y="118088"/>
                    <a:pt x="326214" y="163141"/>
                  </a:cubicBezTo>
                  <a:cubicBezTo>
                    <a:pt x="326214" y="215719"/>
                    <a:pt x="300592" y="265439"/>
                    <a:pt x="257634" y="296015"/>
                  </a:cubicBezTo>
                  <a:cubicBezTo>
                    <a:pt x="251252" y="300587"/>
                    <a:pt x="247633" y="307254"/>
                    <a:pt x="247633" y="314493"/>
                  </a:cubicBezTo>
                  <a:lnTo>
                    <a:pt x="247633" y="429841"/>
                  </a:lnTo>
                  <a:cubicBezTo>
                    <a:pt x="247633" y="445557"/>
                    <a:pt x="234774" y="458416"/>
                    <a:pt x="219058" y="458416"/>
                  </a:cubicBezTo>
                  <a:close/>
                  <a:moveTo>
                    <a:pt x="163146" y="23790"/>
                  </a:moveTo>
                  <a:cubicBezTo>
                    <a:pt x="160955" y="23790"/>
                    <a:pt x="158764" y="23790"/>
                    <a:pt x="156478" y="23981"/>
                  </a:cubicBezTo>
                  <a:cubicBezTo>
                    <a:pt x="85327" y="27219"/>
                    <a:pt x="27129" y="85512"/>
                    <a:pt x="23890" y="156664"/>
                  </a:cubicBezTo>
                  <a:cubicBezTo>
                    <a:pt x="21700" y="204860"/>
                    <a:pt x="44083" y="250104"/>
                    <a:pt x="83707" y="277631"/>
                  </a:cubicBezTo>
                  <a:cubicBezTo>
                    <a:pt x="95423" y="285728"/>
                    <a:pt x="102376" y="298872"/>
                    <a:pt x="102376" y="312779"/>
                  </a:cubicBezTo>
                  <a:lnTo>
                    <a:pt x="102376" y="427460"/>
                  </a:lnTo>
                  <a:cubicBezTo>
                    <a:pt x="102376" y="431365"/>
                    <a:pt x="105615" y="434603"/>
                    <a:pt x="109520" y="434603"/>
                  </a:cubicBezTo>
                  <a:lnTo>
                    <a:pt x="219058" y="434603"/>
                  </a:lnTo>
                  <a:cubicBezTo>
                    <a:pt x="221725" y="434603"/>
                    <a:pt x="223820" y="432508"/>
                    <a:pt x="223820" y="429841"/>
                  </a:cubicBezTo>
                  <a:lnTo>
                    <a:pt x="223820" y="314493"/>
                  </a:lnTo>
                  <a:cubicBezTo>
                    <a:pt x="223820" y="299729"/>
                    <a:pt x="231345" y="285537"/>
                    <a:pt x="243823" y="276679"/>
                  </a:cubicBezTo>
                  <a:cubicBezTo>
                    <a:pt x="280494" y="250580"/>
                    <a:pt x="302401" y="208099"/>
                    <a:pt x="302401" y="163141"/>
                  </a:cubicBezTo>
                  <a:cubicBezTo>
                    <a:pt x="302401" y="124755"/>
                    <a:pt x="287066" y="88941"/>
                    <a:pt x="259253" y="62366"/>
                  </a:cubicBezTo>
                  <a:cubicBezTo>
                    <a:pt x="233059" y="37411"/>
                    <a:pt x="199151" y="23790"/>
                    <a:pt x="163146" y="2379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F1CCBD4-0B6A-0F5F-8E0E-7A6ED9B39C95}"/>
                </a:ext>
              </a:extLst>
            </p:cNvPr>
            <p:cNvSpPr/>
            <p:nvPr/>
          </p:nvSpPr>
          <p:spPr>
            <a:xfrm>
              <a:off x="12842154" y="3159061"/>
              <a:ext cx="145229" cy="71047"/>
            </a:xfrm>
            <a:custGeom>
              <a:avLst/>
              <a:gdLst>
                <a:gd name="connsiteX0" fmla="*/ 72468 w 145229"/>
                <a:gd name="connsiteY0" fmla="*/ 71048 h 71047"/>
                <a:gd name="connsiteX1" fmla="*/ 459 w 145229"/>
                <a:gd name="connsiteY1" fmla="*/ 16565 h 71047"/>
                <a:gd name="connsiteX2" fmla="*/ 8650 w 145229"/>
                <a:gd name="connsiteY2" fmla="*/ 1896 h 71047"/>
                <a:gd name="connsiteX3" fmla="*/ 23319 w 145229"/>
                <a:gd name="connsiteY3" fmla="*/ 10088 h 71047"/>
                <a:gd name="connsiteX4" fmla="*/ 72372 w 145229"/>
                <a:gd name="connsiteY4" fmla="*/ 47235 h 71047"/>
                <a:gd name="connsiteX5" fmla="*/ 121807 w 145229"/>
                <a:gd name="connsiteY5" fmla="*/ 8945 h 71047"/>
                <a:gd name="connsiteX6" fmla="*/ 136285 w 145229"/>
                <a:gd name="connsiteY6" fmla="*/ 372 h 71047"/>
                <a:gd name="connsiteX7" fmla="*/ 144858 w 145229"/>
                <a:gd name="connsiteY7" fmla="*/ 14850 h 71047"/>
                <a:gd name="connsiteX8" fmla="*/ 72372 w 145229"/>
                <a:gd name="connsiteY8" fmla="*/ 71048 h 71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229" h="71047">
                  <a:moveTo>
                    <a:pt x="72468" y="71048"/>
                  </a:moveTo>
                  <a:cubicBezTo>
                    <a:pt x="39130" y="71048"/>
                    <a:pt x="9507" y="48664"/>
                    <a:pt x="459" y="16565"/>
                  </a:cubicBezTo>
                  <a:cubicBezTo>
                    <a:pt x="-1351" y="10278"/>
                    <a:pt x="2364" y="3706"/>
                    <a:pt x="8650" y="1896"/>
                  </a:cubicBezTo>
                  <a:cubicBezTo>
                    <a:pt x="14937" y="87"/>
                    <a:pt x="21509" y="3801"/>
                    <a:pt x="23319" y="10088"/>
                  </a:cubicBezTo>
                  <a:cubicBezTo>
                    <a:pt x="29510" y="31900"/>
                    <a:pt x="49703" y="47235"/>
                    <a:pt x="72372" y="47235"/>
                  </a:cubicBezTo>
                  <a:cubicBezTo>
                    <a:pt x="95042" y="47235"/>
                    <a:pt x="115997" y="31519"/>
                    <a:pt x="121807" y="8945"/>
                  </a:cubicBezTo>
                  <a:cubicBezTo>
                    <a:pt x="123426" y="2563"/>
                    <a:pt x="129903" y="-1247"/>
                    <a:pt x="136285" y="372"/>
                  </a:cubicBezTo>
                  <a:cubicBezTo>
                    <a:pt x="142667" y="1992"/>
                    <a:pt x="146477" y="8469"/>
                    <a:pt x="144858" y="14850"/>
                  </a:cubicBezTo>
                  <a:cubicBezTo>
                    <a:pt x="136380" y="47997"/>
                    <a:pt x="106567" y="71048"/>
                    <a:pt x="72372" y="7104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7040E102-5775-BF18-4FAB-8AAC31975202}"/>
                </a:ext>
              </a:extLst>
            </p:cNvPr>
            <p:cNvSpPr/>
            <p:nvPr/>
          </p:nvSpPr>
          <p:spPr>
            <a:xfrm>
              <a:off x="12830198" y="3104419"/>
              <a:ext cx="169038" cy="45298"/>
            </a:xfrm>
            <a:custGeom>
              <a:avLst/>
              <a:gdLst>
                <a:gd name="connsiteX0" fmla="*/ 157100 w 169038"/>
                <a:gd name="connsiteY0" fmla="*/ 45203 h 45298"/>
                <a:gd name="connsiteX1" fmla="*/ 155385 w 169038"/>
                <a:gd name="connsiteY1" fmla="*/ 45108 h 45298"/>
                <a:gd name="connsiteX2" fmla="*/ 10129 w 169038"/>
                <a:gd name="connsiteY2" fmla="*/ 23676 h 45298"/>
                <a:gd name="connsiteX3" fmla="*/ 128 w 169038"/>
                <a:gd name="connsiteY3" fmla="*/ 10151 h 45298"/>
                <a:gd name="connsiteX4" fmla="*/ 13653 w 169038"/>
                <a:gd name="connsiteY4" fmla="*/ 150 h 45298"/>
                <a:gd name="connsiteX5" fmla="*/ 158910 w 169038"/>
                <a:gd name="connsiteY5" fmla="*/ 21581 h 45298"/>
                <a:gd name="connsiteX6" fmla="*/ 168911 w 169038"/>
                <a:gd name="connsiteY6" fmla="*/ 35106 h 45298"/>
                <a:gd name="connsiteX7" fmla="*/ 157195 w 169038"/>
                <a:gd name="connsiteY7" fmla="*/ 45298 h 45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038" h="45298">
                  <a:moveTo>
                    <a:pt x="157100" y="45203"/>
                  </a:moveTo>
                  <a:cubicBezTo>
                    <a:pt x="156528" y="45203"/>
                    <a:pt x="155957" y="45203"/>
                    <a:pt x="155385" y="45108"/>
                  </a:cubicBezTo>
                  <a:lnTo>
                    <a:pt x="10129" y="23676"/>
                  </a:lnTo>
                  <a:cubicBezTo>
                    <a:pt x="3652" y="22724"/>
                    <a:pt x="-825" y="16628"/>
                    <a:pt x="128" y="10151"/>
                  </a:cubicBezTo>
                  <a:cubicBezTo>
                    <a:pt x="1080" y="3674"/>
                    <a:pt x="7176" y="-898"/>
                    <a:pt x="13653" y="150"/>
                  </a:cubicBezTo>
                  <a:lnTo>
                    <a:pt x="158910" y="21581"/>
                  </a:lnTo>
                  <a:cubicBezTo>
                    <a:pt x="165387" y="22533"/>
                    <a:pt x="169863" y="28629"/>
                    <a:pt x="168911" y="35106"/>
                  </a:cubicBezTo>
                  <a:cubicBezTo>
                    <a:pt x="168054" y="41012"/>
                    <a:pt x="163005" y="45298"/>
                    <a:pt x="157195" y="4529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3AB6AB2-D6D6-0542-51B2-3E883E266F62}"/>
                </a:ext>
              </a:extLst>
            </p:cNvPr>
            <p:cNvSpPr/>
            <p:nvPr/>
          </p:nvSpPr>
          <p:spPr>
            <a:xfrm>
              <a:off x="12830198" y="3066319"/>
              <a:ext cx="169038" cy="45298"/>
            </a:xfrm>
            <a:custGeom>
              <a:avLst/>
              <a:gdLst>
                <a:gd name="connsiteX0" fmla="*/ 157100 w 169038"/>
                <a:gd name="connsiteY0" fmla="*/ 45203 h 45298"/>
                <a:gd name="connsiteX1" fmla="*/ 155385 w 169038"/>
                <a:gd name="connsiteY1" fmla="*/ 45108 h 45298"/>
                <a:gd name="connsiteX2" fmla="*/ 10129 w 169038"/>
                <a:gd name="connsiteY2" fmla="*/ 23676 h 45298"/>
                <a:gd name="connsiteX3" fmla="*/ 128 w 169038"/>
                <a:gd name="connsiteY3" fmla="*/ 10151 h 45298"/>
                <a:gd name="connsiteX4" fmla="*/ 13653 w 169038"/>
                <a:gd name="connsiteY4" fmla="*/ 150 h 45298"/>
                <a:gd name="connsiteX5" fmla="*/ 158910 w 169038"/>
                <a:gd name="connsiteY5" fmla="*/ 21581 h 45298"/>
                <a:gd name="connsiteX6" fmla="*/ 168911 w 169038"/>
                <a:gd name="connsiteY6" fmla="*/ 35106 h 45298"/>
                <a:gd name="connsiteX7" fmla="*/ 157195 w 169038"/>
                <a:gd name="connsiteY7" fmla="*/ 45298 h 45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038" h="45298">
                  <a:moveTo>
                    <a:pt x="157100" y="45203"/>
                  </a:moveTo>
                  <a:cubicBezTo>
                    <a:pt x="156528" y="45203"/>
                    <a:pt x="155957" y="45203"/>
                    <a:pt x="155385" y="45108"/>
                  </a:cubicBezTo>
                  <a:lnTo>
                    <a:pt x="10129" y="23676"/>
                  </a:lnTo>
                  <a:cubicBezTo>
                    <a:pt x="3652" y="22724"/>
                    <a:pt x="-825" y="16628"/>
                    <a:pt x="128" y="10151"/>
                  </a:cubicBezTo>
                  <a:cubicBezTo>
                    <a:pt x="1080" y="3674"/>
                    <a:pt x="7176" y="-898"/>
                    <a:pt x="13653" y="150"/>
                  </a:cubicBezTo>
                  <a:lnTo>
                    <a:pt x="158910" y="21581"/>
                  </a:lnTo>
                  <a:cubicBezTo>
                    <a:pt x="165387" y="22533"/>
                    <a:pt x="169863" y="28629"/>
                    <a:pt x="168911" y="35106"/>
                  </a:cubicBezTo>
                  <a:cubicBezTo>
                    <a:pt x="168054" y="41012"/>
                    <a:pt x="163005" y="45298"/>
                    <a:pt x="157195" y="4529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E0128324-3558-172E-65EE-013B28E35F53}"/>
                </a:ext>
              </a:extLst>
            </p:cNvPr>
            <p:cNvSpPr/>
            <p:nvPr/>
          </p:nvSpPr>
          <p:spPr>
            <a:xfrm>
              <a:off x="12830135" y="3036942"/>
              <a:ext cx="169068" cy="23812"/>
            </a:xfrm>
            <a:custGeom>
              <a:avLst/>
              <a:gdLst>
                <a:gd name="connsiteX0" fmla="*/ 157163 w 169068"/>
                <a:gd name="connsiteY0" fmla="*/ 23813 h 23812"/>
                <a:gd name="connsiteX1" fmla="*/ 11906 w 169068"/>
                <a:gd name="connsiteY1" fmla="*/ 23813 h 23812"/>
                <a:gd name="connsiteX2" fmla="*/ 0 w 169068"/>
                <a:gd name="connsiteY2" fmla="*/ 11906 h 23812"/>
                <a:gd name="connsiteX3" fmla="*/ 11906 w 169068"/>
                <a:gd name="connsiteY3" fmla="*/ 0 h 23812"/>
                <a:gd name="connsiteX4" fmla="*/ 157163 w 169068"/>
                <a:gd name="connsiteY4" fmla="*/ 0 h 23812"/>
                <a:gd name="connsiteX5" fmla="*/ 169069 w 169068"/>
                <a:gd name="connsiteY5" fmla="*/ 11906 h 23812"/>
                <a:gd name="connsiteX6" fmla="*/ 157163 w 169068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068" h="23812">
                  <a:moveTo>
                    <a:pt x="157163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157163" y="0"/>
                  </a:lnTo>
                  <a:cubicBezTo>
                    <a:pt x="163735" y="0"/>
                    <a:pt x="169069" y="5334"/>
                    <a:pt x="169069" y="11906"/>
                  </a:cubicBezTo>
                  <a:cubicBezTo>
                    <a:pt x="169069" y="18479"/>
                    <a:pt x="163735" y="23813"/>
                    <a:pt x="157163" y="238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1B8E978F-1D6A-675E-C820-B78F113573CE}"/>
                </a:ext>
              </a:extLst>
            </p:cNvPr>
            <p:cNvSpPr/>
            <p:nvPr/>
          </p:nvSpPr>
          <p:spPr>
            <a:xfrm>
              <a:off x="12902716" y="2625843"/>
              <a:ext cx="23812" cy="74580"/>
            </a:xfrm>
            <a:custGeom>
              <a:avLst/>
              <a:gdLst>
                <a:gd name="connsiteX0" fmla="*/ 11906 w 23812"/>
                <a:gd name="connsiteY0" fmla="*/ 74581 h 74580"/>
                <a:gd name="connsiteX1" fmla="*/ 0 w 23812"/>
                <a:gd name="connsiteY1" fmla="*/ 62674 h 74580"/>
                <a:gd name="connsiteX2" fmla="*/ 0 w 23812"/>
                <a:gd name="connsiteY2" fmla="*/ 11906 h 74580"/>
                <a:gd name="connsiteX3" fmla="*/ 11906 w 23812"/>
                <a:gd name="connsiteY3" fmla="*/ 0 h 74580"/>
                <a:gd name="connsiteX4" fmla="*/ 23813 w 23812"/>
                <a:gd name="connsiteY4" fmla="*/ 11906 h 74580"/>
                <a:gd name="connsiteX5" fmla="*/ 23813 w 23812"/>
                <a:gd name="connsiteY5" fmla="*/ 62674 h 74580"/>
                <a:gd name="connsiteX6" fmla="*/ 11906 w 23812"/>
                <a:gd name="connsiteY6" fmla="*/ 74581 h 74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74580">
                  <a:moveTo>
                    <a:pt x="11906" y="74581"/>
                  </a:moveTo>
                  <a:cubicBezTo>
                    <a:pt x="5334" y="74581"/>
                    <a:pt x="0" y="69247"/>
                    <a:pt x="0" y="62674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8" y="0"/>
                    <a:pt x="23813" y="5334"/>
                    <a:pt x="23813" y="11906"/>
                  </a:cubicBezTo>
                  <a:lnTo>
                    <a:pt x="23813" y="62674"/>
                  </a:lnTo>
                  <a:cubicBezTo>
                    <a:pt x="23813" y="69247"/>
                    <a:pt x="18478" y="74581"/>
                    <a:pt x="11906" y="74581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3EA85E68-11CD-9E8D-1107-2BB2F37298B2}"/>
                </a:ext>
              </a:extLst>
            </p:cNvPr>
            <p:cNvSpPr/>
            <p:nvPr/>
          </p:nvSpPr>
          <p:spPr>
            <a:xfrm>
              <a:off x="13107503" y="2875778"/>
              <a:ext cx="74580" cy="23812"/>
            </a:xfrm>
            <a:custGeom>
              <a:avLst/>
              <a:gdLst>
                <a:gd name="connsiteX0" fmla="*/ 62674 w 74580"/>
                <a:gd name="connsiteY0" fmla="*/ 23813 h 23812"/>
                <a:gd name="connsiteX1" fmla="*/ 11906 w 74580"/>
                <a:gd name="connsiteY1" fmla="*/ 23813 h 23812"/>
                <a:gd name="connsiteX2" fmla="*/ 0 w 74580"/>
                <a:gd name="connsiteY2" fmla="*/ 11906 h 23812"/>
                <a:gd name="connsiteX3" fmla="*/ 11906 w 74580"/>
                <a:gd name="connsiteY3" fmla="*/ 0 h 23812"/>
                <a:gd name="connsiteX4" fmla="*/ 62674 w 74580"/>
                <a:gd name="connsiteY4" fmla="*/ 0 h 23812"/>
                <a:gd name="connsiteX5" fmla="*/ 74581 w 74580"/>
                <a:gd name="connsiteY5" fmla="*/ 11906 h 23812"/>
                <a:gd name="connsiteX6" fmla="*/ 62674 w 74580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580" h="23812">
                  <a:moveTo>
                    <a:pt x="62674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62674" y="0"/>
                  </a:lnTo>
                  <a:cubicBezTo>
                    <a:pt x="69247" y="0"/>
                    <a:pt x="74581" y="5334"/>
                    <a:pt x="74581" y="11906"/>
                  </a:cubicBezTo>
                  <a:cubicBezTo>
                    <a:pt x="74581" y="18479"/>
                    <a:pt x="69247" y="23813"/>
                    <a:pt x="62674" y="238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D7668A3A-5B72-4363-1B1D-93F4F72A4537}"/>
                </a:ext>
              </a:extLst>
            </p:cNvPr>
            <p:cNvSpPr/>
            <p:nvPr/>
          </p:nvSpPr>
          <p:spPr>
            <a:xfrm>
              <a:off x="12642017" y="2875778"/>
              <a:ext cx="74580" cy="23812"/>
            </a:xfrm>
            <a:custGeom>
              <a:avLst/>
              <a:gdLst>
                <a:gd name="connsiteX0" fmla="*/ 62675 w 74580"/>
                <a:gd name="connsiteY0" fmla="*/ 23813 h 23812"/>
                <a:gd name="connsiteX1" fmla="*/ 11906 w 74580"/>
                <a:gd name="connsiteY1" fmla="*/ 23813 h 23812"/>
                <a:gd name="connsiteX2" fmla="*/ 0 w 74580"/>
                <a:gd name="connsiteY2" fmla="*/ 11906 h 23812"/>
                <a:gd name="connsiteX3" fmla="*/ 11906 w 74580"/>
                <a:gd name="connsiteY3" fmla="*/ 0 h 23812"/>
                <a:gd name="connsiteX4" fmla="*/ 62675 w 74580"/>
                <a:gd name="connsiteY4" fmla="*/ 0 h 23812"/>
                <a:gd name="connsiteX5" fmla="*/ 74581 w 74580"/>
                <a:gd name="connsiteY5" fmla="*/ 11906 h 23812"/>
                <a:gd name="connsiteX6" fmla="*/ 62675 w 74580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580" h="23812">
                  <a:moveTo>
                    <a:pt x="62675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62675" y="0"/>
                  </a:lnTo>
                  <a:cubicBezTo>
                    <a:pt x="69247" y="0"/>
                    <a:pt x="74581" y="5334"/>
                    <a:pt x="74581" y="11906"/>
                  </a:cubicBezTo>
                  <a:cubicBezTo>
                    <a:pt x="74581" y="18479"/>
                    <a:pt x="69247" y="23813"/>
                    <a:pt x="62675" y="238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17AE02D0-9CF9-862C-BE79-01FA670FD6C1}"/>
                </a:ext>
              </a:extLst>
            </p:cNvPr>
            <p:cNvSpPr/>
            <p:nvPr/>
          </p:nvSpPr>
          <p:spPr>
            <a:xfrm>
              <a:off x="13035994" y="2703400"/>
              <a:ext cx="59769" cy="59793"/>
            </a:xfrm>
            <a:custGeom>
              <a:avLst/>
              <a:gdLst>
                <a:gd name="connsiteX0" fmla="*/ 11882 w 59769"/>
                <a:gd name="connsiteY0" fmla="*/ 59793 h 59793"/>
                <a:gd name="connsiteX1" fmla="*/ 3500 w 59769"/>
                <a:gd name="connsiteY1" fmla="*/ 56269 h 59793"/>
                <a:gd name="connsiteX2" fmla="*/ 3500 w 59769"/>
                <a:gd name="connsiteY2" fmla="*/ 39410 h 59793"/>
                <a:gd name="connsiteX3" fmla="*/ 39410 w 59769"/>
                <a:gd name="connsiteY3" fmla="*/ 3500 h 59793"/>
                <a:gd name="connsiteX4" fmla="*/ 56269 w 59769"/>
                <a:gd name="connsiteY4" fmla="*/ 3500 h 59793"/>
                <a:gd name="connsiteX5" fmla="*/ 56269 w 59769"/>
                <a:gd name="connsiteY5" fmla="*/ 20360 h 59793"/>
                <a:gd name="connsiteX6" fmla="*/ 20360 w 59769"/>
                <a:gd name="connsiteY6" fmla="*/ 56269 h 59793"/>
                <a:gd name="connsiteX7" fmla="*/ 11978 w 59769"/>
                <a:gd name="connsiteY7" fmla="*/ 59793 h 5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69" h="59793">
                  <a:moveTo>
                    <a:pt x="11882" y="59793"/>
                  </a:moveTo>
                  <a:cubicBezTo>
                    <a:pt x="8834" y="59793"/>
                    <a:pt x="5786" y="58650"/>
                    <a:pt x="3500" y="56269"/>
                  </a:cubicBezTo>
                  <a:cubicBezTo>
                    <a:pt x="-1167" y="51602"/>
                    <a:pt x="-1167" y="44077"/>
                    <a:pt x="3500" y="39410"/>
                  </a:cubicBezTo>
                  <a:lnTo>
                    <a:pt x="39410" y="3500"/>
                  </a:lnTo>
                  <a:cubicBezTo>
                    <a:pt x="44077" y="-1167"/>
                    <a:pt x="51602" y="-1167"/>
                    <a:pt x="56269" y="3500"/>
                  </a:cubicBezTo>
                  <a:cubicBezTo>
                    <a:pt x="60936" y="8168"/>
                    <a:pt x="60936" y="15692"/>
                    <a:pt x="56269" y="20360"/>
                  </a:cubicBezTo>
                  <a:lnTo>
                    <a:pt x="20360" y="56269"/>
                  </a:lnTo>
                  <a:cubicBezTo>
                    <a:pt x="18074" y="58555"/>
                    <a:pt x="15026" y="59793"/>
                    <a:pt x="11978" y="597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40785B61-D0A3-F068-96F7-064E4975A4BB}"/>
                </a:ext>
              </a:extLst>
            </p:cNvPr>
            <p:cNvSpPr/>
            <p:nvPr/>
          </p:nvSpPr>
          <p:spPr>
            <a:xfrm>
              <a:off x="12724622" y="2703400"/>
              <a:ext cx="59769" cy="59793"/>
            </a:xfrm>
            <a:custGeom>
              <a:avLst/>
              <a:gdLst>
                <a:gd name="connsiteX0" fmla="*/ 47792 w 59769"/>
                <a:gd name="connsiteY0" fmla="*/ 59793 h 59793"/>
                <a:gd name="connsiteX1" fmla="*/ 39410 w 59769"/>
                <a:gd name="connsiteY1" fmla="*/ 56269 h 59793"/>
                <a:gd name="connsiteX2" fmla="*/ 3500 w 59769"/>
                <a:gd name="connsiteY2" fmla="*/ 20360 h 59793"/>
                <a:gd name="connsiteX3" fmla="*/ 3500 w 59769"/>
                <a:gd name="connsiteY3" fmla="*/ 3500 h 59793"/>
                <a:gd name="connsiteX4" fmla="*/ 20360 w 59769"/>
                <a:gd name="connsiteY4" fmla="*/ 3500 h 59793"/>
                <a:gd name="connsiteX5" fmla="*/ 56269 w 59769"/>
                <a:gd name="connsiteY5" fmla="*/ 39410 h 59793"/>
                <a:gd name="connsiteX6" fmla="*/ 56269 w 59769"/>
                <a:gd name="connsiteY6" fmla="*/ 56269 h 59793"/>
                <a:gd name="connsiteX7" fmla="*/ 47887 w 59769"/>
                <a:gd name="connsiteY7" fmla="*/ 59793 h 5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69" h="59793">
                  <a:moveTo>
                    <a:pt x="47792" y="59793"/>
                  </a:moveTo>
                  <a:cubicBezTo>
                    <a:pt x="44744" y="59793"/>
                    <a:pt x="41696" y="58650"/>
                    <a:pt x="39410" y="56269"/>
                  </a:cubicBezTo>
                  <a:lnTo>
                    <a:pt x="3500" y="20360"/>
                  </a:lnTo>
                  <a:cubicBezTo>
                    <a:pt x="-1167" y="15692"/>
                    <a:pt x="-1167" y="8168"/>
                    <a:pt x="3500" y="3500"/>
                  </a:cubicBezTo>
                  <a:cubicBezTo>
                    <a:pt x="8168" y="-1167"/>
                    <a:pt x="15692" y="-1167"/>
                    <a:pt x="20360" y="3500"/>
                  </a:cubicBezTo>
                  <a:lnTo>
                    <a:pt x="56269" y="39410"/>
                  </a:lnTo>
                  <a:cubicBezTo>
                    <a:pt x="60936" y="44077"/>
                    <a:pt x="60936" y="51602"/>
                    <a:pt x="56269" y="56269"/>
                  </a:cubicBezTo>
                  <a:cubicBezTo>
                    <a:pt x="53983" y="58555"/>
                    <a:pt x="50935" y="59793"/>
                    <a:pt x="47887" y="597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C285045D-4837-1192-5680-0ADBCFAA4D9F}"/>
                </a:ext>
              </a:extLst>
            </p:cNvPr>
            <p:cNvSpPr/>
            <p:nvPr/>
          </p:nvSpPr>
          <p:spPr>
            <a:xfrm>
              <a:off x="13035994" y="3017725"/>
              <a:ext cx="59769" cy="59793"/>
            </a:xfrm>
            <a:custGeom>
              <a:avLst/>
              <a:gdLst>
                <a:gd name="connsiteX0" fmla="*/ 47792 w 59769"/>
                <a:gd name="connsiteY0" fmla="*/ 59793 h 59793"/>
                <a:gd name="connsiteX1" fmla="*/ 39410 w 59769"/>
                <a:gd name="connsiteY1" fmla="*/ 56269 h 59793"/>
                <a:gd name="connsiteX2" fmla="*/ 3500 w 59769"/>
                <a:gd name="connsiteY2" fmla="*/ 20360 h 59793"/>
                <a:gd name="connsiteX3" fmla="*/ 3500 w 59769"/>
                <a:gd name="connsiteY3" fmla="*/ 3500 h 59793"/>
                <a:gd name="connsiteX4" fmla="*/ 20360 w 59769"/>
                <a:gd name="connsiteY4" fmla="*/ 3500 h 59793"/>
                <a:gd name="connsiteX5" fmla="*/ 56269 w 59769"/>
                <a:gd name="connsiteY5" fmla="*/ 39410 h 59793"/>
                <a:gd name="connsiteX6" fmla="*/ 56269 w 59769"/>
                <a:gd name="connsiteY6" fmla="*/ 56269 h 59793"/>
                <a:gd name="connsiteX7" fmla="*/ 47887 w 59769"/>
                <a:gd name="connsiteY7" fmla="*/ 59793 h 5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69" h="59793">
                  <a:moveTo>
                    <a:pt x="47792" y="59793"/>
                  </a:moveTo>
                  <a:cubicBezTo>
                    <a:pt x="44744" y="59793"/>
                    <a:pt x="41696" y="58650"/>
                    <a:pt x="39410" y="56269"/>
                  </a:cubicBezTo>
                  <a:lnTo>
                    <a:pt x="3500" y="20360"/>
                  </a:lnTo>
                  <a:cubicBezTo>
                    <a:pt x="-1167" y="15692"/>
                    <a:pt x="-1167" y="8168"/>
                    <a:pt x="3500" y="3500"/>
                  </a:cubicBezTo>
                  <a:cubicBezTo>
                    <a:pt x="8168" y="-1167"/>
                    <a:pt x="15692" y="-1167"/>
                    <a:pt x="20360" y="3500"/>
                  </a:cubicBezTo>
                  <a:lnTo>
                    <a:pt x="56269" y="39410"/>
                  </a:lnTo>
                  <a:cubicBezTo>
                    <a:pt x="60936" y="44077"/>
                    <a:pt x="60936" y="51602"/>
                    <a:pt x="56269" y="56269"/>
                  </a:cubicBezTo>
                  <a:cubicBezTo>
                    <a:pt x="53983" y="58555"/>
                    <a:pt x="50935" y="59793"/>
                    <a:pt x="47887" y="597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5FF68AC-5ED4-401D-D4EC-B5840878E0FE}"/>
                </a:ext>
              </a:extLst>
            </p:cNvPr>
            <p:cNvSpPr/>
            <p:nvPr/>
          </p:nvSpPr>
          <p:spPr>
            <a:xfrm>
              <a:off x="12724622" y="3017725"/>
              <a:ext cx="59769" cy="59793"/>
            </a:xfrm>
            <a:custGeom>
              <a:avLst/>
              <a:gdLst>
                <a:gd name="connsiteX0" fmla="*/ 11882 w 59769"/>
                <a:gd name="connsiteY0" fmla="*/ 59793 h 59793"/>
                <a:gd name="connsiteX1" fmla="*/ 3500 w 59769"/>
                <a:gd name="connsiteY1" fmla="*/ 56269 h 59793"/>
                <a:gd name="connsiteX2" fmla="*/ 3500 w 59769"/>
                <a:gd name="connsiteY2" fmla="*/ 39410 h 59793"/>
                <a:gd name="connsiteX3" fmla="*/ 39410 w 59769"/>
                <a:gd name="connsiteY3" fmla="*/ 3500 h 59793"/>
                <a:gd name="connsiteX4" fmla="*/ 56269 w 59769"/>
                <a:gd name="connsiteY4" fmla="*/ 3500 h 59793"/>
                <a:gd name="connsiteX5" fmla="*/ 56269 w 59769"/>
                <a:gd name="connsiteY5" fmla="*/ 20360 h 59793"/>
                <a:gd name="connsiteX6" fmla="*/ 20360 w 59769"/>
                <a:gd name="connsiteY6" fmla="*/ 56269 h 59793"/>
                <a:gd name="connsiteX7" fmla="*/ 11978 w 59769"/>
                <a:gd name="connsiteY7" fmla="*/ 59793 h 5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69" h="59793">
                  <a:moveTo>
                    <a:pt x="11882" y="59793"/>
                  </a:moveTo>
                  <a:cubicBezTo>
                    <a:pt x="8834" y="59793"/>
                    <a:pt x="5786" y="58650"/>
                    <a:pt x="3500" y="56269"/>
                  </a:cubicBezTo>
                  <a:cubicBezTo>
                    <a:pt x="-1167" y="51602"/>
                    <a:pt x="-1167" y="44077"/>
                    <a:pt x="3500" y="39410"/>
                  </a:cubicBezTo>
                  <a:lnTo>
                    <a:pt x="39410" y="3500"/>
                  </a:lnTo>
                  <a:cubicBezTo>
                    <a:pt x="44077" y="-1167"/>
                    <a:pt x="51602" y="-1167"/>
                    <a:pt x="56269" y="3500"/>
                  </a:cubicBezTo>
                  <a:cubicBezTo>
                    <a:pt x="60936" y="8168"/>
                    <a:pt x="60936" y="15692"/>
                    <a:pt x="56269" y="20360"/>
                  </a:cubicBezTo>
                  <a:lnTo>
                    <a:pt x="20360" y="56269"/>
                  </a:lnTo>
                  <a:cubicBezTo>
                    <a:pt x="18074" y="58555"/>
                    <a:pt x="15026" y="59793"/>
                    <a:pt x="11978" y="597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82" name="124 Exclamation Mark (red)">
            <a:extLst>
              <a:ext uri="{FF2B5EF4-FFF2-40B4-BE49-F238E27FC236}">
                <a16:creationId xmlns:a16="http://schemas.microsoft.com/office/drawing/2014/main" id="{8453B659-957B-CC94-79DF-9DC0A3FB7E4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216111" y="3451807"/>
            <a:ext cx="622604" cy="622604"/>
          </a:xfrm>
          <a:prstGeom prst="rect">
            <a:avLst/>
          </a:prstGeom>
        </p:spPr>
      </p:pic>
      <p:grpSp>
        <p:nvGrpSpPr>
          <p:cNvPr id="83" name="Group 82">
            <a:extLst>
              <a:ext uri="{FF2B5EF4-FFF2-40B4-BE49-F238E27FC236}">
                <a16:creationId xmlns:a16="http://schemas.microsoft.com/office/drawing/2014/main" id="{3E374FFB-0088-46C4-6BF3-522B5E69A16A}"/>
              </a:ext>
            </a:extLst>
          </p:cNvPr>
          <p:cNvGrpSpPr/>
          <p:nvPr/>
        </p:nvGrpSpPr>
        <p:grpSpPr>
          <a:xfrm>
            <a:off x="7870768" y="3564643"/>
            <a:ext cx="396932" cy="396932"/>
            <a:chOff x="12392441" y="2482450"/>
            <a:chExt cx="944043" cy="1009918"/>
          </a:xfrm>
        </p:grpSpPr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7E3CF4B1-8825-75F4-70F8-EC65D2230B3E}"/>
                </a:ext>
              </a:extLst>
            </p:cNvPr>
            <p:cNvSpPr/>
            <p:nvPr/>
          </p:nvSpPr>
          <p:spPr>
            <a:xfrm>
              <a:off x="12392441" y="2482450"/>
              <a:ext cx="944043" cy="1009918"/>
            </a:xfrm>
            <a:custGeom>
              <a:avLst/>
              <a:gdLst>
                <a:gd name="connsiteX0" fmla="*/ 795834 w 944043"/>
                <a:gd name="connsiteY0" fmla="*/ 1009881 h 1009918"/>
                <a:gd name="connsiteX1" fmla="*/ 784309 w 944043"/>
                <a:gd name="connsiteY1" fmla="*/ 1001023 h 1009918"/>
                <a:gd name="connsiteX2" fmla="*/ 807264 w 944043"/>
                <a:gd name="connsiteY2" fmla="*/ 670315 h 1009918"/>
                <a:gd name="connsiteX3" fmla="*/ 912992 w 944043"/>
                <a:gd name="connsiteY3" fmla="*/ 290649 h 1009918"/>
                <a:gd name="connsiteX4" fmla="*/ 757449 w 944043"/>
                <a:gd name="connsiteY4" fmla="*/ 92529 h 1009918"/>
                <a:gd name="connsiteX5" fmla="*/ 307202 w 944043"/>
                <a:gd name="connsiteY5" fmla="*/ 81765 h 1009918"/>
                <a:gd name="connsiteX6" fmla="*/ 153754 w 944043"/>
                <a:gd name="connsiteY6" fmla="*/ 301602 h 1009918"/>
                <a:gd name="connsiteX7" fmla="*/ 158993 w 944043"/>
                <a:gd name="connsiteY7" fmla="*/ 439143 h 1009918"/>
                <a:gd name="connsiteX8" fmla="*/ 156040 w 944043"/>
                <a:gd name="connsiteY8" fmla="*/ 449145 h 1009918"/>
                <a:gd name="connsiteX9" fmla="*/ 24024 w 944043"/>
                <a:gd name="connsiteY9" fmla="*/ 594020 h 1009918"/>
                <a:gd name="connsiteX10" fmla="*/ 24786 w 944043"/>
                <a:gd name="connsiteY10" fmla="*/ 607545 h 1009918"/>
                <a:gd name="connsiteX11" fmla="*/ 118416 w 944043"/>
                <a:gd name="connsiteY11" fmla="*/ 627453 h 1009918"/>
                <a:gd name="connsiteX12" fmla="*/ 131180 w 944043"/>
                <a:gd name="connsiteY12" fmla="*/ 634120 h 1009918"/>
                <a:gd name="connsiteX13" fmla="*/ 153373 w 944043"/>
                <a:gd name="connsiteY13" fmla="*/ 813571 h 1009918"/>
                <a:gd name="connsiteX14" fmla="*/ 152706 w 944043"/>
                <a:gd name="connsiteY14" fmla="*/ 815476 h 1009918"/>
                <a:gd name="connsiteX15" fmla="*/ 153754 w 944043"/>
                <a:gd name="connsiteY15" fmla="*/ 879198 h 1009918"/>
                <a:gd name="connsiteX16" fmla="*/ 253005 w 944043"/>
                <a:gd name="connsiteY16" fmla="*/ 905773 h 1009918"/>
                <a:gd name="connsiteX17" fmla="*/ 370257 w 944043"/>
                <a:gd name="connsiteY17" fmla="*/ 884532 h 1009918"/>
                <a:gd name="connsiteX18" fmla="*/ 383211 w 944043"/>
                <a:gd name="connsiteY18" fmla="*/ 891295 h 1009918"/>
                <a:gd name="connsiteX19" fmla="*/ 410929 w 944043"/>
                <a:gd name="connsiteY19" fmla="*/ 999975 h 1009918"/>
                <a:gd name="connsiteX20" fmla="*/ 397213 w 944043"/>
                <a:gd name="connsiteY20" fmla="*/ 1009786 h 1009918"/>
                <a:gd name="connsiteX21" fmla="*/ 387402 w 944043"/>
                <a:gd name="connsiteY21" fmla="*/ 996070 h 1009918"/>
                <a:gd name="connsiteX22" fmla="*/ 365209 w 944043"/>
                <a:gd name="connsiteY22" fmla="*/ 909678 h 1009918"/>
                <a:gd name="connsiteX23" fmla="*/ 256529 w 944043"/>
                <a:gd name="connsiteY23" fmla="*/ 929395 h 1009918"/>
                <a:gd name="connsiteX24" fmla="*/ 255195 w 944043"/>
                <a:gd name="connsiteY24" fmla="*/ 929586 h 1009918"/>
                <a:gd name="connsiteX25" fmla="*/ 134133 w 944043"/>
                <a:gd name="connsiteY25" fmla="*/ 892724 h 1009918"/>
                <a:gd name="connsiteX26" fmla="*/ 130608 w 944043"/>
                <a:gd name="connsiteY26" fmla="*/ 806713 h 1009918"/>
                <a:gd name="connsiteX27" fmla="*/ 113082 w 944043"/>
                <a:gd name="connsiteY27" fmla="*/ 652313 h 1009918"/>
                <a:gd name="connsiteX28" fmla="*/ 5545 w 944043"/>
                <a:gd name="connsiteY28" fmla="*/ 622976 h 1009918"/>
                <a:gd name="connsiteX29" fmla="*/ 1354 w 944043"/>
                <a:gd name="connsiteY29" fmla="*/ 614499 h 1009918"/>
                <a:gd name="connsiteX30" fmla="*/ 21 w 944043"/>
                <a:gd name="connsiteY30" fmla="*/ 590400 h 1009918"/>
                <a:gd name="connsiteX31" fmla="*/ 3069 w 944043"/>
                <a:gd name="connsiteY31" fmla="*/ 581733 h 1009918"/>
                <a:gd name="connsiteX32" fmla="*/ 134609 w 944043"/>
                <a:gd name="connsiteY32" fmla="*/ 437238 h 1009918"/>
                <a:gd name="connsiteX33" fmla="*/ 129942 w 944043"/>
                <a:gd name="connsiteY33" fmla="*/ 301888 h 1009918"/>
                <a:gd name="connsiteX34" fmla="*/ 295296 w 944043"/>
                <a:gd name="connsiteY34" fmla="*/ 61096 h 1009918"/>
                <a:gd name="connsiteX35" fmla="*/ 769926 w 944043"/>
                <a:gd name="connsiteY35" fmla="*/ 72240 h 1009918"/>
                <a:gd name="connsiteX36" fmla="*/ 936138 w 944043"/>
                <a:gd name="connsiteY36" fmla="*/ 285315 h 1009918"/>
                <a:gd name="connsiteX37" fmla="*/ 827267 w 944043"/>
                <a:gd name="connsiteY37" fmla="*/ 683079 h 1009918"/>
                <a:gd name="connsiteX38" fmla="*/ 807264 w 944043"/>
                <a:gd name="connsiteY38" fmla="*/ 994927 h 1009918"/>
                <a:gd name="connsiteX39" fmla="*/ 798787 w 944043"/>
                <a:gd name="connsiteY39" fmla="*/ 1009500 h 1009918"/>
                <a:gd name="connsiteX40" fmla="*/ 795739 w 944043"/>
                <a:gd name="connsiteY40" fmla="*/ 1009881 h 100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44043" h="1009918">
                  <a:moveTo>
                    <a:pt x="795834" y="1009881"/>
                  </a:moveTo>
                  <a:cubicBezTo>
                    <a:pt x="790596" y="1009881"/>
                    <a:pt x="785738" y="1006357"/>
                    <a:pt x="784309" y="1001023"/>
                  </a:cubicBezTo>
                  <a:cubicBezTo>
                    <a:pt x="782023" y="992546"/>
                    <a:pt x="730302" y="791092"/>
                    <a:pt x="807264" y="670315"/>
                  </a:cubicBezTo>
                  <a:cubicBezTo>
                    <a:pt x="902610" y="520677"/>
                    <a:pt x="937185" y="396471"/>
                    <a:pt x="912992" y="290649"/>
                  </a:cubicBezTo>
                  <a:cubicBezTo>
                    <a:pt x="894894" y="211686"/>
                    <a:pt x="842602" y="145011"/>
                    <a:pt x="757449" y="92529"/>
                  </a:cubicBezTo>
                  <a:cubicBezTo>
                    <a:pt x="615717" y="4994"/>
                    <a:pt x="447410" y="993"/>
                    <a:pt x="307202" y="81765"/>
                  </a:cubicBezTo>
                  <a:cubicBezTo>
                    <a:pt x="211761" y="136725"/>
                    <a:pt x="151563" y="223021"/>
                    <a:pt x="153754" y="301602"/>
                  </a:cubicBezTo>
                  <a:cubicBezTo>
                    <a:pt x="153754" y="303031"/>
                    <a:pt x="153754" y="408378"/>
                    <a:pt x="158993" y="439143"/>
                  </a:cubicBezTo>
                  <a:cubicBezTo>
                    <a:pt x="159564" y="442763"/>
                    <a:pt x="158517" y="446382"/>
                    <a:pt x="156040" y="449145"/>
                  </a:cubicBezTo>
                  <a:lnTo>
                    <a:pt x="24024" y="594020"/>
                  </a:lnTo>
                  <a:lnTo>
                    <a:pt x="24786" y="607545"/>
                  </a:lnTo>
                  <a:cubicBezTo>
                    <a:pt x="36120" y="615261"/>
                    <a:pt x="71077" y="635454"/>
                    <a:pt x="118416" y="627453"/>
                  </a:cubicBezTo>
                  <a:cubicBezTo>
                    <a:pt x="123560" y="626691"/>
                    <a:pt x="128894" y="629262"/>
                    <a:pt x="131180" y="634120"/>
                  </a:cubicBezTo>
                  <a:cubicBezTo>
                    <a:pt x="132990" y="638025"/>
                    <a:pt x="175662" y="730037"/>
                    <a:pt x="153373" y="813571"/>
                  </a:cubicBezTo>
                  <a:cubicBezTo>
                    <a:pt x="153183" y="814238"/>
                    <a:pt x="152992" y="814809"/>
                    <a:pt x="152706" y="815476"/>
                  </a:cubicBezTo>
                  <a:cubicBezTo>
                    <a:pt x="152516" y="815857"/>
                    <a:pt x="135942" y="853576"/>
                    <a:pt x="153754" y="879198"/>
                  </a:cubicBezTo>
                  <a:cubicBezTo>
                    <a:pt x="168042" y="899772"/>
                    <a:pt x="202236" y="908916"/>
                    <a:pt x="253005" y="905773"/>
                  </a:cubicBezTo>
                  <a:lnTo>
                    <a:pt x="370257" y="884532"/>
                  </a:lnTo>
                  <a:cubicBezTo>
                    <a:pt x="375591" y="883580"/>
                    <a:pt x="380925" y="886342"/>
                    <a:pt x="383211" y="891295"/>
                  </a:cubicBezTo>
                  <a:cubicBezTo>
                    <a:pt x="386640" y="898725"/>
                    <a:pt x="416739" y="965209"/>
                    <a:pt x="410929" y="999975"/>
                  </a:cubicBezTo>
                  <a:cubicBezTo>
                    <a:pt x="409786" y="1006452"/>
                    <a:pt x="403785" y="1010739"/>
                    <a:pt x="397213" y="1009786"/>
                  </a:cubicBezTo>
                  <a:cubicBezTo>
                    <a:pt x="390736" y="1008738"/>
                    <a:pt x="386355" y="1002547"/>
                    <a:pt x="387402" y="996070"/>
                  </a:cubicBezTo>
                  <a:cubicBezTo>
                    <a:pt x="390831" y="975687"/>
                    <a:pt x="374925" y="932538"/>
                    <a:pt x="365209" y="909678"/>
                  </a:cubicBezTo>
                  <a:lnTo>
                    <a:pt x="256529" y="929395"/>
                  </a:lnTo>
                  <a:cubicBezTo>
                    <a:pt x="256529" y="929395"/>
                    <a:pt x="255576" y="929490"/>
                    <a:pt x="255195" y="929586"/>
                  </a:cubicBezTo>
                  <a:cubicBezTo>
                    <a:pt x="194426" y="933586"/>
                    <a:pt x="153659" y="921108"/>
                    <a:pt x="134133" y="892724"/>
                  </a:cubicBezTo>
                  <a:cubicBezTo>
                    <a:pt x="110415" y="858339"/>
                    <a:pt x="127465" y="814143"/>
                    <a:pt x="130608" y="806713"/>
                  </a:cubicBezTo>
                  <a:cubicBezTo>
                    <a:pt x="146706" y="745086"/>
                    <a:pt x="122417" y="675459"/>
                    <a:pt x="113082" y="652313"/>
                  </a:cubicBezTo>
                  <a:cubicBezTo>
                    <a:pt x="49360" y="659076"/>
                    <a:pt x="7450" y="624500"/>
                    <a:pt x="5545" y="622976"/>
                  </a:cubicBezTo>
                  <a:cubicBezTo>
                    <a:pt x="3069" y="620880"/>
                    <a:pt x="1545" y="617832"/>
                    <a:pt x="1354" y="614499"/>
                  </a:cubicBezTo>
                  <a:lnTo>
                    <a:pt x="21" y="590400"/>
                  </a:lnTo>
                  <a:cubicBezTo>
                    <a:pt x="-170" y="587257"/>
                    <a:pt x="973" y="584114"/>
                    <a:pt x="3069" y="581733"/>
                  </a:cubicBezTo>
                  <a:lnTo>
                    <a:pt x="134609" y="437238"/>
                  </a:lnTo>
                  <a:cubicBezTo>
                    <a:pt x="129942" y="399519"/>
                    <a:pt x="129942" y="306079"/>
                    <a:pt x="129942" y="301888"/>
                  </a:cubicBezTo>
                  <a:cubicBezTo>
                    <a:pt x="127465" y="213687"/>
                    <a:pt x="190806" y="121294"/>
                    <a:pt x="295296" y="61096"/>
                  </a:cubicBezTo>
                  <a:cubicBezTo>
                    <a:pt x="443219" y="-24153"/>
                    <a:pt x="620670" y="-19962"/>
                    <a:pt x="769926" y="72240"/>
                  </a:cubicBezTo>
                  <a:cubicBezTo>
                    <a:pt x="860700" y="128247"/>
                    <a:pt x="916611" y="199971"/>
                    <a:pt x="936138" y="285315"/>
                  </a:cubicBezTo>
                  <a:cubicBezTo>
                    <a:pt x="974333" y="452193"/>
                    <a:pt x="863652" y="625929"/>
                    <a:pt x="827267" y="683079"/>
                  </a:cubicBezTo>
                  <a:cubicBezTo>
                    <a:pt x="755829" y="795188"/>
                    <a:pt x="806788" y="992927"/>
                    <a:pt x="807264" y="994927"/>
                  </a:cubicBezTo>
                  <a:cubicBezTo>
                    <a:pt x="808979" y="1001309"/>
                    <a:pt x="805169" y="1007786"/>
                    <a:pt x="798787" y="1009500"/>
                  </a:cubicBezTo>
                  <a:cubicBezTo>
                    <a:pt x="797739" y="1009786"/>
                    <a:pt x="796787" y="1009881"/>
                    <a:pt x="795739" y="10098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34E78F0-937F-DB08-80F0-85B5BE317487}"/>
                </a:ext>
              </a:extLst>
            </p:cNvPr>
            <p:cNvSpPr/>
            <p:nvPr/>
          </p:nvSpPr>
          <p:spPr>
            <a:xfrm>
              <a:off x="12751571" y="2721496"/>
              <a:ext cx="326213" cy="458415"/>
            </a:xfrm>
            <a:custGeom>
              <a:avLst/>
              <a:gdLst>
                <a:gd name="connsiteX0" fmla="*/ 219058 w 326213"/>
                <a:gd name="connsiteY0" fmla="*/ 458321 h 458415"/>
                <a:gd name="connsiteX1" fmla="*/ 109520 w 326213"/>
                <a:gd name="connsiteY1" fmla="*/ 458321 h 458415"/>
                <a:gd name="connsiteX2" fmla="*/ 78564 w 326213"/>
                <a:gd name="connsiteY2" fmla="*/ 427364 h 458415"/>
                <a:gd name="connsiteX3" fmla="*/ 78564 w 326213"/>
                <a:gd name="connsiteY3" fmla="*/ 312683 h 458415"/>
                <a:gd name="connsiteX4" fmla="*/ 70182 w 326213"/>
                <a:gd name="connsiteY4" fmla="*/ 297158 h 458415"/>
                <a:gd name="connsiteX5" fmla="*/ 173 w 326213"/>
                <a:gd name="connsiteY5" fmla="*/ 155521 h 458415"/>
                <a:gd name="connsiteX6" fmla="*/ 155431 w 326213"/>
                <a:gd name="connsiteY6" fmla="*/ 168 h 458415"/>
                <a:gd name="connsiteX7" fmla="*/ 275731 w 326213"/>
                <a:gd name="connsiteY7" fmla="*/ 45126 h 458415"/>
                <a:gd name="connsiteX8" fmla="*/ 326214 w 326213"/>
                <a:gd name="connsiteY8" fmla="*/ 163141 h 458415"/>
                <a:gd name="connsiteX9" fmla="*/ 257634 w 326213"/>
                <a:gd name="connsiteY9" fmla="*/ 296015 h 458415"/>
                <a:gd name="connsiteX10" fmla="*/ 247633 w 326213"/>
                <a:gd name="connsiteY10" fmla="*/ 314493 h 458415"/>
                <a:gd name="connsiteX11" fmla="*/ 247633 w 326213"/>
                <a:gd name="connsiteY11" fmla="*/ 429841 h 458415"/>
                <a:gd name="connsiteX12" fmla="*/ 219058 w 326213"/>
                <a:gd name="connsiteY12" fmla="*/ 458416 h 458415"/>
                <a:gd name="connsiteX13" fmla="*/ 163146 w 326213"/>
                <a:gd name="connsiteY13" fmla="*/ 23790 h 458415"/>
                <a:gd name="connsiteX14" fmla="*/ 156478 w 326213"/>
                <a:gd name="connsiteY14" fmla="*/ 23981 h 458415"/>
                <a:gd name="connsiteX15" fmla="*/ 23890 w 326213"/>
                <a:gd name="connsiteY15" fmla="*/ 156664 h 458415"/>
                <a:gd name="connsiteX16" fmla="*/ 83707 w 326213"/>
                <a:gd name="connsiteY16" fmla="*/ 277631 h 458415"/>
                <a:gd name="connsiteX17" fmla="*/ 102376 w 326213"/>
                <a:gd name="connsiteY17" fmla="*/ 312779 h 458415"/>
                <a:gd name="connsiteX18" fmla="*/ 102376 w 326213"/>
                <a:gd name="connsiteY18" fmla="*/ 427460 h 458415"/>
                <a:gd name="connsiteX19" fmla="*/ 109520 w 326213"/>
                <a:gd name="connsiteY19" fmla="*/ 434603 h 458415"/>
                <a:gd name="connsiteX20" fmla="*/ 219058 w 326213"/>
                <a:gd name="connsiteY20" fmla="*/ 434603 h 458415"/>
                <a:gd name="connsiteX21" fmla="*/ 223820 w 326213"/>
                <a:gd name="connsiteY21" fmla="*/ 429841 h 458415"/>
                <a:gd name="connsiteX22" fmla="*/ 223820 w 326213"/>
                <a:gd name="connsiteY22" fmla="*/ 314493 h 458415"/>
                <a:gd name="connsiteX23" fmla="*/ 243823 w 326213"/>
                <a:gd name="connsiteY23" fmla="*/ 276679 h 458415"/>
                <a:gd name="connsiteX24" fmla="*/ 302401 w 326213"/>
                <a:gd name="connsiteY24" fmla="*/ 163141 h 458415"/>
                <a:gd name="connsiteX25" fmla="*/ 259253 w 326213"/>
                <a:gd name="connsiteY25" fmla="*/ 62366 h 458415"/>
                <a:gd name="connsiteX26" fmla="*/ 163146 w 326213"/>
                <a:gd name="connsiteY26" fmla="*/ 23790 h 45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26213" h="458415">
                  <a:moveTo>
                    <a:pt x="219058" y="458321"/>
                  </a:moveTo>
                  <a:lnTo>
                    <a:pt x="109520" y="458321"/>
                  </a:lnTo>
                  <a:cubicBezTo>
                    <a:pt x="92470" y="458321"/>
                    <a:pt x="78564" y="444414"/>
                    <a:pt x="78564" y="427364"/>
                  </a:cubicBezTo>
                  <a:lnTo>
                    <a:pt x="78564" y="312683"/>
                  </a:lnTo>
                  <a:cubicBezTo>
                    <a:pt x="78564" y="306587"/>
                    <a:pt x="75421" y="300777"/>
                    <a:pt x="70182" y="297158"/>
                  </a:cubicBezTo>
                  <a:cubicBezTo>
                    <a:pt x="23795" y="264963"/>
                    <a:pt x="-2399" y="212004"/>
                    <a:pt x="173" y="155521"/>
                  </a:cubicBezTo>
                  <a:cubicBezTo>
                    <a:pt x="3983" y="72177"/>
                    <a:pt x="72182" y="3978"/>
                    <a:pt x="155431" y="168"/>
                  </a:cubicBezTo>
                  <a:cubicBezTo>
                    <a:pt x="200579" y="-1832"/>
                    <a:pt x="243251" y="14075"/>
                    <a:pt x="275731" y="45126"/>
                  </a:cubicBezTo>
                  <a:cubicBezTo>
                    <a:pt x="308307" y="76178"/>
                    <a:pt x="326214" y="118088"/>
                    <a:pt x="326214" y="163141"/>
                  </a:cubicBezTo>
                  <a:cubicBezTo>
                    <a:pt x="326214" y="215719"/>
                    <a:pt x="300592" y="265439"/>
                    <a:pt x="257634" y="296015"/>
                  </a:cubicBezTo>
                  <a:cubicBezTo>
                    <a:pt x="251252" y="300587"/>
                    <a:pt x="247633" y="307254"/>
                    <a:pt x="247633" y="314493"/>
                  </a:cubicBezTo>
                  <a:lnTo>
                    <a:pt x="247633" y="429841"/>
                  </a:lnTo>
                  <a:cubicBezTo>
                    <a:pt x="247633" y="445557"/>
                    <a:pt x="234774" y="458416"/>
                    <a:pt x="219058" y="458416"/>
                  </a:cubicBezTo>
                  <a:close/>
                  <a:moveTo>
                    <a:pt x="163146" y="23790"/>
                  </a:moveTo>
                  <a:cubicBezTo>
                    <a:pt x="160955" y="23790"/>
                    <a:pt x="158764" y="23790"/>
                    <a:pt x="156478" y="23981"/>
                  </a:cubicBezTo>
                  <a:cubicBezTo>
                    <a:pt x="85327" y="27219"/>
                    <a:pt x="27129" y="85512"/>
                    <a:pt x="23890" y="156664"/>
                  </a:cubicBezTo>
                  <a:cubicBezTo>
                    <a:pt x="21700" y="204860"/>
                    <a:pt x="44083" y="250104"/>
                    <a:pt x="83707" y="277631"/>
                  </a:cubicBezTo>
                  <a:cubicBezTo>
                    <a:pt x="95423" y="285728"/>
                    <a:pt x="102376" y="298872"/>
                    <a:pt x="102376" y="312779"/>
                  </a:cubicBezTo>
                  <a:lnTo>
                    <a:pt x="102376" y="427460"/>
                  </a:lnTo>
                  <a:cubicBezTo>
                    <a:pt x="102376" y="431365"/>
                    <a:pt x="105615" y="434603"/>
                    <a:pt x="109520" y="434603"/>
                  </a:cubicBezTo>
                  <a:lnTo>
                    <a:pt x="219058" y="434603"/>
                  </a:lnTo>
                  <a:cubicBezTo>
                    <a:pt x="221725" y="434603"/>
                    <a:pt x="223820" y="432508"/>
                    <a:pt x="223820" y="429841"/>
                  </a:cubicBezTo>
                  <a:lnTo>
                    <a:pt x="223820" y="314493"/>
                  </a:lnTo>
                  <a:cubicBezTo>
                    <a:pt x="223820" y="299729"/>
                    <a:pt x="231345" y="285537"/>
                    <a:pt x="243823" y="276679"/>
                  </a:cubicBezTo>
                  <a:cubicBezTo>
                    <a:pt x="280494" y="250580"/>
                    <a:pt x="302401" y="208099"/>
                    <a:pt x="302401" y="163141"/>
                  </a:cubicBezTo>
                  <a:cubicBezTo>
                    <a:pt x="302401" y="124755"/>
                    <a:pt x="287066" y="88941"/>
                    <a:pt x="259253" y="62366"/>
                  </a:cubicBezTo>
                  <a:cubicBezTo>
                    <a:pt x="233059" y="37411"/>
                    <a:pt x="199151" y="23790"/>
                    <a:pt x="163146" y="2379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1EC11B9-FF9E-DA9F-3172-657D2C5C75F7}"/>
                </a:ext>
              </a:extLst>
            </p:cNvPr>
            <p:cNvSpPr/>
            <p:nvPr/>
          </p:nvSpPr>
          <p:spPr>
            <a:xfrm>
              <a:off x="12842154" y="3159061"/>
              <a:ext cx="145229" cy="71047"/>
            </a:xfrm>
            <a:custGeom>
              <a:avLst/>
              <a:gdLst>
                <a:gd name="connsiteX0" fmla="*/ 72468 w 145229"/>
                <a:gd name="connsiteY0" fmla="*/ 71048 h 71047"/>
                <a:gd name="connsiteX1" fmla="*/ 459 w 145229"/>
                <a:gd name="connsiteY1" fmla="*/ 16565 h 71047"/>
                <a:gd name="connsiteX2" fmla="*/ 8650 w 145229"/>
                <a:gd name="connsiteY2" fmla="*/ 1896 h 71047"/>
                <a:gd name="connsiteX3" fmla="*/ 23319 w 145229"/>
                <a:gd name="connsiteY3" fmla="*/ 10088 h 71047"/>
                <a:gd name="connsiteX4" fmla="*/ 72372 w 145229"/>
                <a:gd name="connsiteY4" fmla="*/ 47235 h 71047"/>
                <a:gd name="connsiteX5" fmla="*/ 121807 w 145229"/>
                <a:gd name="connsiteY5" fmla="*/ 8945 h 71047"/>
                <a:gd name="connsiteX6" fmla="*/ 136285 w 145229"/>
                <a:gd name="connsiteY6" fmla="*/ 372 h 71047"/>
                <a:gd name="connsiteX7" fmla="*/ 144858 w 145229"/>
                <a:gd name="connsiteY7" fmla="*/ 14850 h 71047"/>
                <a:gd name="connsiteX8" fmla="*/ 72372 w 145229"/>
                <a:gd name="connsiteY8" fmla="*/ 71048 h 71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229" h="71047">
                  <a:moveTo>
                    <a:pt x="72468" y="71048"/>
                  </a:moveTo>
                  <a:cubicBezTo>
                    <a:pt x="39130" y="71048"/>
                    <a:pt x="9507" y="48664"/>
                    <a:pt x="459" y="16565"/>
                  </a:cubicBezTo>
                  <a:cubicBezTo>
                    <a:pt x="-1351" y="10278"/>
                    <a:pt x="2364" y="3706"/>
                    <a:pt x="8650" y="1896"/>
                  </a:cubicBezTo>
                  <a:cubicBezTo>
                    <a:pt x="14937" y="87"/>
                    <a:pt x="21509" y="3801"/>
                    <a:pt x="23319" y="10088"/>
                  </a:cubicBezTo>
                  <a:cubicBezTo>
                    <a:pt x="29510" y="31900"/>
                    <a:pt x="49703" y="47235"/>
                    <a:pt x="72372" y="47235"/>
                  </a:cubicBezTo>
                  <a:cubicBezTo>
                    <a:pt x="95042" y="47235"/>
                    <a:pt x="115997" y="31519"/>
                    <a:pt x="121807" y="8945"/>
                  </a:cubicBezTo>
                  <a:cubicBezTo>
                    <a:pt x="123426" y="2563"/>
                    <a:pt x="129903" y="-1247"/>
                    <a:pt x="136285" y="372"/>
                  </a:cubicBezTo>
                  <a:cubicBezTo>
                    <a:pt x="142667" y="1992"/>
                    <a:pt x="146477" y="8469"/>
                    <a:pt x="144858" y="14850"/>
                  </a:cubicBezTo>
                  <a:cubicBezTo>
                    <a:pt x="136380" y="47997"/>
                    <a:pt x="106567" y="71048"/>
                    <a:pt x="72372" y="7104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2D30E674-624B-4894-397E-B6A6E8EE10C2}"/>
                </a:ext>
              </a:extLst>
            </p:cNvPr>
            <p:cNvSpPr/>
            <p:nvPr/>
          </p:nvSpPr>
          <p:spPr>
            <a:xfrm>
              <a:off x="12830198" y="3104419"/>
              <a:ext cx="169038" cy="45298"/>
            </a:xfrm>
            <a:custGeom>
              <a:avLst/>
              <a:gdLst>
                <a:gd name="connsiteX0" fmla="*/ 157100 w 169038"/>
                <a:gd name="connsiteY0" fmla="*/ 45203 h 45298"/>
                <a:gd name="connsiteX1" fmla="*/ 155385 w 169038"/>
                <a:gd name="connsiteY1" fmla="*/ 45108 h 45298"/>
                <a:gd name="connsiteX2" fmla="*/ 10129 w 169038"/>
                <a:gd name="connsiteY2" fmla="*/ 23676 h 45298"/>
                <a:gd name="connsiteX3" fmla="*/ 128 w 169038"/>
                <a:gd name="connsiteY3" fmla="*/ 10151 h 45298"/>
                <a:gd name="connsiteX4" fmla="*/ 13653 w 169038"/>
                <a:gd name="connsiteY4" fmla="*/ 150 h 45298"/>
                <a:gd name="connsiteX5" fmla="*/ 158910 w 169038"/>
                <a:gd name="connsiteY5" fmla="*/ 21581 h 45298"/>
                <a:gd name="connsiteX6" fmla="*/ 168911 w 169038"/>
                <a:gd name="connsiteY6" fmla="*/ 35106 h 45298"/>
                <a:gd name="connsiteX7" fmla="*/ 157195 w 169038"/>
                <a:gd name="connsiteY7" fmla="*/ 45298 h 45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038" h="45298">
                  <a:moveTo>
                    <a:pt x="157100" y="45203"/>
                  </a:moveTo>
                  <a:cubicBezTo>
                    <a:pt x="156528" y="45203"/>
                    <a:pt x="155957" y="45203"/>
                    <a:pt x="155385" y="45108"/>
                  </a:cubicBezTo>
                  <a:lnTo>
                    <a:pt x="10129" y="23676"/>
                  </a:lnTo>
                  <a:cubicBezTo>
                    <a:pt x="3652" y="22724"/>
                    <a:pt x="-825" y="16628"/>
                    <a:pt x="128" y="10151"/>
                  </a:cubicBezTo>
                  <a:cubicBezTo>
                    <a:pt x="1080" y="3674"/>
                    <a:pt x="7176" y="-898"/>
                    <a:pt x="13653" y="150"/>
                  </a:cubicBezTo>
                  <a:lnTo>
                    <a:pt x="158910" y="21581"/>
                  </a:lnTo>
                  <a:cubicBezTo>
                    <a:pt x="165387" y="22533"/>
                    <a:pt x="169863" y="28629"/>
                    <a:pt x="168911" y="35106"/>
                  </a:cubicBezTo>
                  <a:cubicBezTo>
                    <a:pt x="168054" y="41012"/>
                    <a:pt x="163005" y="45298"/>
                    <a:pt x="157195" y="4529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4F834F-EE80-28B3-1F58-D648686691FF}"/>
                </a:ext>
              </a:extLst>
            </p:cNvPr>
            <p:cNvSpPr/>
            <p:nvPr/>
          </p:nvSpPr>
          <p:spPr>
            <a:xfrm>
              <a:off x="12830198" y="3066319"/>
              <a:ext cx="169038" cy="45298"/>
            </a:xfrm>
            <a:custGeom>
              <a:avLst/>
              <a:gdLst>
                <a:gd name="connsiteX0" fmla="*/ 157100 w 169038"/>
                <a:gd name="connsiteY0" fmla="*/ 45203 h 45298"/>
                <a:gd name="connsiteX1" fmla="*/ 155385 w 169038"/>
                <a:gd name="connsiteY1" fmla="*/ 45108 h 45298"/>
                <a:gd name="connsiteX2" fmla="*/ 10129 w 169038"/>
                <a:gd name="connsiteY2" fmla="*/ 23676 h 45298"/>
                <a:gd name="connsiteX3" fmla="*/ 128 w 169038"/>
                <a:gd name="connsiteY3" fmla="*/ 10151 h 45298"/>
                <a:gd name="connsiteX4" fmla="*/ 13653 w 169038"/>
                <a:gd name="connsiteY4" fmla="*/ 150 h 45298"/>
                <a:gd name="connsiteX5" fmla="*/ 158910 w 169038"/>
                <a:gd name="connsiteY5" fmla="*/ 21581 h 45298"/>
                <a:gd name="connsiteX6" fmla="*/ 168911 w 169038"/>
                <a:gd name="connsiteY6" fmla="*/ 35106 h 45298"/>
                <a:gd name="connsiteX7" fmla="*/ 157195 w 169038"/>
                <a:gd name="connsiteY7" fmla="*/ 45298 h 45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038" h="45298">
                  <a:moveTo>
                    <a:pt x="157100" y="45203"/>
                  </a:moveTo>
                  <a:cubicBezTo>
                    <a:pt x="156528" y="45203"/>
                    <a:pt x="155957" y="45203"/>
                    <a:pt x="155385" y="45108"/>
                  </a:cubicBezTo>
                  <a:lnTo>
                    <a:pt x="10129" y="23676"/>
                  </a:lnTo>
                  <a:cubicBezTo>
                    <a:pt x="3652" y="22724"/>
                    <a:pt x="-825" y="16628"/>
                    <a:pt x="128" y="10151"/>
                  </a:cubicBezTo>
                  <a:cubicBezTo>
                    <a:pt x="1080" y="3674"/>
                    <a:pt x="7176" y="-898"/>
                    <a:pt x="13653" y="150"/>
                  </a:cubicBezTo>
                  <a:lnTo>
                    <a:pt x="158910" y="21581"/>
                  </a:lnTo>
                  <a:cubicBezTo>
                    <a:pt x="165387" y="22533"/>
                    <a:pt x="169863" y="28629"/>
                    <a:pt x="168911" y="35106"/>
                  </a:cubicBezTo>
                  <a:cubicBezTo>
                    <a:pt x="168054" y="41012"/>
                    <a:pt x="163005" y="45298"/>
                    <a:pt x="157195" y="4529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40C8334-5E98-27D2-1386-D2F5BEF60F25}"/>
                </a:ext>
              </a:extLst>
            </p:cNvPr>
            <p:cNvSpPr/>
            <p:nvPr/>
          </p:nvSpPr>
          <p:spPr>
            <a:xfrm>
              <a:off x="12830135" y="3036942"/>
              <a:ext cx="169068" cy="23812"/>
            </a:xfrm>
            <a:custGeom>
              <a:avLst/>
              <a:gdLst>
                <a:gd name="connsiteX0" fmla="*/ 157163 w 169068"/>
                <a:gd name="connsiteY0" fmla="*/ 23813 h 23812"/>
                <a:gd name="connsiteX1" fmla="*/ 11906 w 169068"/>
                <a:gd name="connsiteY1" fmla="*/ 23813 h 23812"/>
                <a:gd name="connsiteX2" fmla="*/ 0 w 169068"/>
                <a:gd name="connsiteY2" fmla="*/ 11906 h 23812"/>
                <a:gd name="connsiteX3" fmla="*/ 11906 w 169068"/>
                <a:gd name="connsiteY3" fmla="*/ 0 h 23812"/>
                <a:gd name="connsiteX4" fmla="*/ 157163 w 169068"/>
                <a:gd name="connsiteY4" fmla="*/ 0 h 23812"/>
                <a:gd name="connsiteX5" fmla="*/ 169069 w 169068"/>
                <a:gd name="connsiteY5" fmla="*/ 11906 h 23812"/>
                <a:gd name="connsiteX6" fmla="*/ 157163 w 169068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068" h="23812">
                  <a:moveTo>
                    <a:pt x="157163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157163" y="0"/>
                  </a:lnTo>
                  <a:cubicBezTo>
                    <a:pt x="163735" y="0"/>
                    <a:pt x="169069" y="5334"/>
                    <a:pt x="169069" y="11906"/>
                  </a:cubicBezTo>
                  <a:cubicBezTo>
                    <a:pt x="169069" y="18479"/>
                    <a:pt x="163735" y="23813"/>
                    <a:pt x="157163" y="238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762CB54-A3C1-9BBA-F90A-3F7A87512445}"/>
                </a:ext>
              </a:extLst>
            </p:cNvPr>
            <p:cNvSpPr/>
            <p:nvPr/>
          </p:nvSpPr>
          <p:spPr>
            <a:xfrm>
              <a:off x="12902716" y="2625843"/>
              <a:ext cx="23812" cy="74580"/>
            </a:xfrm>
            <a:custGeom>
              <a:avLst/>
              <a:gdLst>
                <a:gd name="connsiteX0" fmla="*/ 11906 w 23812"/>
                <a:gd name="connsiteY0" fmla="*/ 74581 h 74580"/>
                <a:gd name="connsiteX1" fmla="*/ 0 w 23812"/>
                <a:gd name="connsiteY1" fmla="*/ 62674 h 74580"/>
                <a:gd name="connsiteX2" fmla="*/ 0 w 23812"/>
                <a:gd name="connsiteY2" fmla="*/ 11906 h 74580"/>
                <a:gd name="connsiteX3" fmla="*/ 11906 w 23812"/>
                <a:gd name="connsiteY3" fmla="*/ 0 h 74580"/>
                <a:gd name="connsiteX4" fmla="*/ 23813 w 23812"/>
                <a:gd name="connsiteY4" fmla="*/ 11906 h 74580"/>
                <a:gd name="connsiteX5" fmla="*/ 23813 w 23812"/>
                <a:gd name="connsiteY5" fmla="*/ 62674 h 74580"/>
                <a:gd name="connsiteX6" fmla="*/ 11906 w 23812"/>
                <a:gd name="connsiteY6" fmla="*/ 74581 h 74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74580">
                  <a:moveTo>
                    <a:pt x="11906" y="74581"/>
                  </a:moveTo>
                  <a:cubicBezTo>
                    <a:pt x="5334" y="74581"/>
                    <a:pt x="0" y="69247"/>
                    <a:pt x="0" y="62674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8" y="0"/>
                    <a:pt x="23813" y="5334"/>
                    <a:pt x="23813" y="11906"/>
                  </a:cubicBezTo>
                  <a:lnTo>
                    <a:pt x="23813" y="62674"/>
                  </a:lnTo>
                  <a:cubicBezTo>
                    <a:pt x="23813" y="69247"/>
                    <a:pt x="18478" y="74581"/>
                    <a:pt x="11906" y="74581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774CF88E-366E-C8DA-77A6-271573C3B6A1}"/>
                </a:ext>
              </a:extLst>
            </p:cNvPr>
            <p:cNvSpPr/>
            <p:nvPr/>
          </p:nvSpPr>
          <p:spPr>
            <a:xfrm>
              <a:off x="13107503" y="2875778"/>
              <a:ext cx="74580" cy="23812"/>
            </a:xfrm>
            <a:custGeom>
              <a:avLst/>
              <a:gdLst>
                <a:gd name="connsiteX0" fmla="*/ 62674 w 74580"/>
                <a:gd name="connsiteY0" fmla="*/ 23813 h 23812"/>
                <a:gd name="connsiteX1" fmla="*/ 11906 w 74580"/>
                <a:gd name="connsiteY1" fmla="*/ 23813 h 23812"/>
                <a:gd name="connsiteX2" fmla="*/ 0 w 74580"/>
                <a:gd name="connsiteY2" fmla="*/ 11906 h 23812"/>
                <a:gd name="connsiteX3" fmla="*/ 11906 w 74580"/>
                <a:gd name="connsiteY3" fmla="*/ 0 h 23812"/>
                <a:gd name="connsiteX4" fmla="*/ 62674 w 74580"/>
                <a:gd name="connsiteY4" fmla="*/ 0 h 23812"/>
                <a:gd name="connsiteX5" fmla="*/ 74581 w 74580"/>
                <a:gd name="connsiteY5" fmla="*/ 11906 h 23812"/>
                <a:gd name="connsiteX6" fmla="*/ 62674 w 74580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580" h="23812">
                  <a:moveTo>
                    <a:pt x="62674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62674" y="0"/>
                  </a:lnTo>
                  <a:cubicBezTo>
                    <a:pt x="69247" y="0"/>
                    <a:pt x="74581" y="5334"/>
                    <a:pt x="74581" y="11906"/>
                  </a:cubicBezTo>
                  <a:cubicBezTo>
                    <a:pt x="74581" y="18479"/>
                    <a:pt x="69247" y="23813"/>
                    <a:pt x="62674" y="238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92A16415-8F3F-5D14-D6A9-4CBA828A9C18}"/>
                </a:ext>
              </a:extLst>
            </p:cNvPr>
            <p:cNvSpPr/>
            <p:nvPr/>
          </p:nvSpPr>
          <p:spPr>
            <a:xfrm>
              <a:off x="12642017" y="2875778"/>
              <a:ext cx="74580" cy="23812"/>
            </a:xfrm>
            <a:custGeom>
              <a:avLst/>
              <a:gdLst>
                <a:gd name="connsiteX0" fmla="*/ 62675 w 74580"/>
                <a:gd name="connsiteY0" fmla="*/ 23813 h 23812"/>
                <a:gd name="connsiteX1" fmla="*/ 11906 w 74580"/>
                <a:gd name="connsiteY1" fmla="*/ 23813 h 23812"/>
                <a:gd name="connsiteX2" fmla="*/ 0 w 74580"/>
                <a:gd name="connsiteY2" fmla="*/ 11906 h 23812"/>
                <a:gd name="connsiteX3" fmla="*/ 11906 w 74580"/>
                <a:gd name="connsiteY3" fmla="*/ 0 h 23812"/>
                <a:gd name="connsiteX4" fmla="*/ 62675 w 74580"/>
                <a:gd name="connsiteY4" fmla="*/ 0 h 23812"/>
                <a:gd name="connsiteX5" fmla="*/ 74581 w 74580"/>
                <a:gd name="connsiteY5" fmla="*/ 11906 h 23812"/>
                <a:gd name="connsiteX6" fmla="*/ 62675 w 74580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580" h="23812">
                  <a:moveTo>
                    <a:pt x="62675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62675" y="0"/>
                  </a:lnTo>
                  <a:cubicBezTo>
                    <a:pt x="69247" y="0"/>
                    <a:pt x="74581" y="5334"/>
                    <a:pt x="74581" y="11906"/>
                  </a:cubicBezTo>
                  <a:cubicBezTo>
                    <a:pt x="74581" y="18479"/>
                    <a:pt x="69247" y="23813"/>
                    <a:pt x="62675" y="238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AD2DBE28-CAD4-EA75-219E-80019E4FFAC9}"/>
                </a:ext>
              </a:extLst>
            </p:cNvPr>
            <p:cNvSpPr/>
            <p:nvPr/>
          </p:nvSpPr>
          <p:spPr>
            <a:xfrm>
              <a:off x="13035994" y="2703400"/>
              <a:ext cx="59769" cy="59793"/>
            </a:xfrm>
            <a:custGeom>
              <a:avLst/>
              <a:gdLst>
                <a:gd name="connsiteX0" fmla="*/ 11882 w 59769"/>
                <a:gd name="connsiteY0" fmla="*/ 59793 h 59793"/>
                <a:gd name="connsiteX1" fmla="*/ 3500 w 59769"/>
                <a:gd name="connsiteY1" fmla="*/ 56269 h 59793"/>
                <a:gd name="connsiteX2" fmla="*/ 3500 w 59769"/>
                <a:gd name="connsiteY2" fmla="*/ 39410 h 59793"/>
                <a:gd name="connsiteX3" fmla="*/ 39410 w 59769"/>
                <a:gd name="connsiteY3" fmla="*/ 3500 h 59793"/>
                <a:gd name="connsiteX4" fmla="*/ 56269 w 59769"/>
                <a:gd name="connsiteY4" fmla="*/ 3500 h 59793"/>
                <a:gd name="connsiteX5" fmla="*/ 56269 w 59769"/>
                <a:gd name="connsiteY5" fmla="*/ 20360 h 59793"/>
                <a:gd name="connsiteX6" fmla="*/ 20360 w 59769"/>
                <a:gd name="connsiteY6" fmla="*/ 56269 h 59793"/>
                <a:gd name="connsiteX7" fmla="*/ 11978 w 59769"/>
                <a:gd name="connsiteY7" fmla="*/ 59793 h 5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69" h="59793">
                  <a:moveTo>
                    <a:pt x="11882" y="59793"/>
                  </a:moveTo>
                  <a:cubicBezTo>
                    <a:pt x="8834" y="59793"/>
                    <a:pt x="5786" y="58650"/>
                    <a:pt x="3500" y="56269"/>
                  </a:cubicBezTo>
                  <a:cubicBezTo>
                    <a:pt x="-1167" y="51602"/>
                    <a:pt x="-1167" y="44077"/>
                    <a:pt x="3500" y="39410"/>
                  </a:cubicBezTo>
                  <a:lnTo>
                    <a:pt x="39410" y="3500"/>
                  </a:lnTo>
                  <a:cubicBezTo>
                    <a:pt x="44077" y="-1167"/>
                    <a:pt x="51602" y="-1167"/>
                    <a:pt x="56269" y="3500"/>
                  </a:cubicBezTo>
                  <a:cubicBezTo>
                    <a:pt x="60936" y="8168"/>
                    <a:pt x="60936" y="15692"/>
                    <a:pt x="56269" y="20360"/>
                  </a:cubicBezTo>
                  <a:lnTo>
                    <a:pt x="20360" y="56269"/>
                  </a:lnTo>
                  <a:cubicBezTo>
                    <a:pt x="18074" y="58555"/>
                    <a:pt x="15026" y="59793"/>
                    <a:pt x="11978" y="597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EAF0D1BC-B331-4EC3-6EBF-A7F7440B0207}"/>
                </a:ext>
              </a:extLst>
            </p:cNvPr>
            <p:cNvSpPr/>
            <p:nvPr/>
          </p:nvSpPr>
          <p:spPr>
            <a:xfrm>
              <a:off x="12724622" y="2703400"/>
              <a:ext cx="59769" cy="59793"/>
            </a:xfrm>
            <a:custGeom>
              <a:avLst/>
              <a:gdLst>
                <a:gd name="connsiteX0" fmla="*/ 47792 w 59769"/>
                <a:gd name="connsiteY0" fmla="*/ 59793 h 59793"/>
                <a:gd name="connsiteX1" fmla="*/ 39410 w 59769"/>
                <a:gd name="connsiteY1" fmla="*/ 56269 h 59793"/>
                <a:gd name="connsiteX2" fmla="*/ 3500 w 59769"/>
                <a:gd name="connsiteY2" fmla="*/ 20360 h 59793"/>
                <a:gd name="connsiteX3" fmla="*/ 3500 w 59769"/>
                <a:gd name="connsiteY3" fmla="*/ 3500 h 59793"/>
                <a:gd name="connsiteX4" fmla="*/ 20360 w 59769"/>
                <a:gd name="connsiteY4" fmla="*/ 3500 h 59793"/>
                <a:gd name="connsiteX5" fmla="*/ 56269 w 59769"/>
                <a:gd name="connsiteY5" fmla="*/ 39410 h 59793"/>
                <a:gd name="connsiteX6" fmla="*/ 56269 w 59769"/>
                <a:gd name="connsiteY6" fmla="*/ 56269 h 59793"/>
                <a:gd name="connsiteX7" fmla="*/ 47887 w 59769"/>
                <a:gd name="connsiteY7" fmla="*/ 59793 h 5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69" h="59793">
                  <a:moveTo>
                    <a:pt x="47792" y="59793"/>
                  </a:moveTo>
                  <a:cubicBezTo>
                    <a:pt x="44744" y="59793"/>
                    <a:pt x="41696" y="58650"/>
                    <a:pt x="39410" y="56269"/>
                  </a:cubicBezTo>
                  <a:lnTo>
                    <a:pt x="3500" y="20360"/>
                  </a:lnTo>
                  <a:cubicBezTo>
                    <a:pt x="-1167" y="15692"/>
                    <a:pt x="-1167" y="8168"/>
                    <a:pt x="3500" y="3500"/>
                  </a:cubicBezTo>
                  <a:cubicBezTo>
                    <a:pt x="8168" y="-1167"/>
                    <a:pt x="15692" y="-1167"/>
                    <a:pt x="20360" y="3500"/>
                  </a:cubicBezTo>
                  <a:lnTo>
                    <a:pt x="56269" y="39410"/>
                  </a:lnTo>
                  <a:cubicBezTo>
                    <a:pt x="60936" y="44077"/>
                    <a:pt x="60936" y="51602"/>
                    <a:pt x="56269" y="56269"/>
                  </a:cubicBezTo>
                  <a:cubicBezTo>
                    <a:pt x="53983" y="58555"/>
                    <a:pt x="50935" y="59793"/>
                    <a:pt x="47887" y="597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60BE2529-761E-C1A4-DB1D-FD60D5491ED1}"/>
                </a:ext>
              </a:extLst>
            </p:cNvPr>
            <p:cNvSpPr/>
            <p:nvPr/>
          </p:nvSpPr>
          <p:spPr>
            <a:xfrm>
              <a:off x="13035994" y="3017725"/>
              <a:ext cx="59769" cy="59793"/>
            </a:xfrm>
            <a:custGeom>
              <a:avLst/>
              <a:gdLst>
                <a:gd name="connsiteX0" fmla="*/ 47792 w 59769"/>
                <a:gd name="connsiteY0" fmla="*/ 59793 h 59793"/>
                <a:gd name="connsiteX1" fmla="*/ 39410 w 59769"/>
                <a:gd name="connsiteY1" fmla="*/ 56269 h 59793"/>
                <a:gd name="connsiteX2" fmla="*/ 3500 w 59769"/>
                <a:gd name="connsiteY2" fmla="*/ 20360 h 59793"/>
                <a:gd name="connsiteX3" fmla="*/ 3500 w 59769"/>
                <a:gd name="connsiteY3" fmla="*/ 3500 h 59793"/>
                <a:gd name="connsiteX4" fmla="*/ 20360 w 59769"/>
                <a:gd name="connsiteY4" fmla="*/ 3500 h 59793"/>
                <a:gd name="connsiteX5" fmla="*/ 56269 w 59769"/>
                <a:gd name="connsiteY5" fmla="*/ 39410 h 59793"/>
                <a:gd name="connsiteX6" fmla="*/ 56269 w 59769"/>
                <a:gd name="connsiteY6" fmla="*/ 56269 h 59793"/>
                <a:gd name="connsiteX7" fmla="*/ 47887 w 59769"/>
                <a:gd name="connsiteY7" fmla="*/ 59793 h 5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69" h="59793">
                  <a:moveTo>
                    <a:pt x="47792" y="59793"/>
                  </a:moveTo>
                  <a:cubicBezTo>
                    <a:pt x="44744" y="59793"/>
                    <a:pt x="41696" y="58650"/>
                    <a:pt x="39410" y="56269"/>
                  </a:cubicBezTo>
                  <a:lnTo>
                    <a:pt x="3500" y="20360"/>
                  </a:lnTo>
                  <a:cubicBezTo>
                    <a:pt x="-1167" y="15692"/>
                    <a:pt x="-1167" y="8168"/>
                    <a:pt x="3500" y="3500"/>
                  </a:cubicBezTo>
                  <a:cubicBezTo>
                    <a:pt x="8168" y="-1167"/>
                    <a:pt x="15692" y="-1167"/>
                    <a:pt x="20360" y="3500"/>
                  </a:cubicBezTo>
                  <a:lnTo>
                    <a:pt x="56269" y="39410"/>
                  </a:lnTo>
                  <a:cubicBezTo>
                    <a:pt x="60936" y="44077"/>
                    <a:pt x="60936" y="51602"/>
                    <a:pt x="56269" y="56269"/>
                  </a:cubicBezTo>
                  <a:cubicBezTo>
                    <a:pt x="53983" y="58555"/>
                    <a:pt x="50935" y="59793"/>
                    <a:pt x="47887" y="597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487A296F-2B55-2B28-2512-66B8D3720A51}"/>
                </a:ext>
              </a:extLst>
            </p:cNvPr>
            <p:cNvSpPr/>
            <p:nvPr/>
          </p:nvSpPr>
          <p:spPr>
            <a:xfrm>
              <a:off x="12724622" y="3017725"/>
              <a:ext cx="59769" cy="59793"/>
            </a:xfrm>
            <a:custGeom>
              <a:avLst/>
              <a:gdLst>
                <a:gd name="connsiteX0" fmla="*/ 11882 w 59769"/>
                <a:gd name="connsiteY0" fmla="*/ 59793 h 59793"/>
                <a:gd name="connsiteX1" fmla="*/ 3500 w 59769"/>
                <a:gd name="connsiteY1" fmla="*/ 56269 h 59793"/>
                <a:gd name="connsiteX2" fmla="*/ 3500 w 59769"/>
                <a:gd name="connsiteY2" fmla="*/ 39410 h 59793"/>
                <a:gd name="connsiteX3" fmla="*/ 39410 w 59769"/>
                <a:gd name="connsiteY3" fmla="*/ 3500 h 59793"/>
                <a:gd name="connsiteX4" fmla="*/ 56269 w 59769"/>
                <a:gd name="connsiteY4" fmla="*/ 3500 h 59793"/>
                <a:gd name="connsiteX5" fmla="*/ 56269 w 59769"/>
                <a:gd name="connsiteY5" fmla="*/ 20360 h 59793"/>
                <a:gd name="connsiteX6" fmla="*/ 20360 w 59769"/>
                <a:gd name="connsiteY6" fmla="*/ 56269 h 59793"/>
                <a:gd name="connsiteX7" fmla="*/ 11978 w 59769"/>
                <a:gd name="connsiteY7" fmla="*/ 59793 h 5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69" h="59793">
                  <a:moveTo>
                    <a:pt x="11882" y="59793"/>
                  </a:moveTo>
                  <a:cubicBezTo>
                    <a:pt x="8834" y="59793"/>
                    <a:pt x="5786" y="58650"/>
                    <a:pt x="3500" y="56269"/>
                  </a:cubicBezTo>
                  <a:cubicBezTo>
                    <a:pt x="-1167" y="51602"/>
                    <a:pt x="-1167" y="44077"/>
                    <a:pt x="3500" y="39410"/>
                  </a:cubicBezTo>
                  <a:lnTo>
                    <a:pt x="39410" y="3500"/>
                  </a:lnTo>
                  <a:cubicBezTo>
                    <a:pt x="44077" y="-1167"/>
                    <a:pt x="51602" y="-1167"/>
                    <a:pt x="56269" y="3500"/>
                  </a:cubicBezTo>
                  <a:cubicBezTo>
                    <a:pt x="60936" y="8168"/>
                    <a:pt x="60936" y="15692"/>
                    <a:pt x="56269" y="20360"/>
                  </a:cubicBezTo>
                  <a:lnTo>
                    <a:pt x="20360" y="56269"/>
                  </a:lnTo>
                  <a:cubicBezTo>
                    <a:pt x="18074" y="58555"/>
                    <a:pt x="15026" y="59793"/>
                    <a:pt x="11978" y="597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97" name="124 Exclamation Mark (red)">
            <a:extLst>
              <a:ext uri="{FF2B5EF4-FFF2-40B4-BE49-F238E27FC236}">
                <a16:creationId xmlns:a16="http://schemas.microsoft.com/office/drawing/2014/main" id="{9509F0B6-76B5-BAE1-FA0E-BF78A4CCCCF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216111" y="4487915"/>
            <a:ext cx="622604" cy="622604"/>
          </a:xfrm>
          <a:prstGeom prst="rect">
            <a:avLst/>
          </a:prstGeom>
        </p:spPr>
      </p:pic>
      <p:grpSp>
        <p:nvGrpSpPr>
          <p:cNvPr id="98" name="Group 97">
            <a:extLst>
              <a:ext uri="{FF2B5EF4-FFF2-40B4-BE49-F238E27FC236}">
                <a16:creationId xmlns:a16="http://schemas.microsoft.com/office/drawing/2014/main" id="{36D5BA39-5C8F-6E62-EB07-5D285EB37634}"/>
              </a:ext>
            </a:extLst>
          </p:cNvPr>
          <p:cNvGrpSpPr/>
          <p:nvPr/>
        </p:nvGrpSpPr>
        <p:grpSpPr>
          <a:xfrm>
            <a:off x="7870768" y="4600751"/>
            <a:ext cx="396932" cy="396932"/>
            <a:chOff x="12392441" y="2482450"/>
            <a:chExt cx="944043" cy="1009918"/>
          </a:xfrm>
        </p:grpSpPr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76AD19F5-BC43-899A-7D7B-152C49AF0C59}"/>
                </a:ext>
              </a:extLst>
            </p:cNvPr>
            <p:cNvSpPr/>
            <p:nvPr/>
          </p:nvSpPr>
          <p:spPr>
            <a:xfrm>
              <a:off x="12392441" y="2482450"/>
              <a:ext cx="944043" cy="1009918"/>
            </a:xfrm>
            <a:custGeom>
              <a:avLst/>
              <a:gdLst>
                <a:gd name="connsiteX0" fmla="*/ 795834 w 944043"/>
                <a:gd name="connsiteY0" fmla="*/ 1009881 h 1009918"/>
                <a:gd name="connsiteX1" fmla="*/ 784309 w 944043"/>
                <a:gd name="connsiteY1" fmla="*/ 1001023 h 1009918"/>
                <a:gd name="connsiteX2" fmla="*/ 807264 w 944043"/>
                <a:gd name="connsiteY2" fmla="*/ 670315 h 1009918"/>
                <a:gd name="connsiteX3" fmla="*/ 912992 w 944043"/>
                <a:gd name="connsiteY3" fmla="*/ 290649 h 1009918"/>
                <a:gd name="connsiteX4" fmla="*/ 757449 w 944043"/>
                <a:gd name="connsiteY4" fmla="*/ 92529 h 1009918"/>
                <a:gd name="connsiteX5" fmla="*/ 307202 w 944043"/>
                <a:gd name="connsiteY5" fmla="*/ 81765 h 1009918"/>
                <a:gd name="connsiteX6" fmla="*/ 153754 w 944043"/>
                <a:gd name="connsiteY6" fmla="*/ 301602 h 1009918"/>
                <a:gd name="connsiteX7" fmla="*/ 158993 w 944043"/>
                <a:gd name="connsiteY7" fmla="*/ 439143 h 1009918"/>
                <a:gd name="connsiteX8" fmla="*/ 156040 w 944043"/>
                <a:gd name="connsiteY8" fmla="*/ 449145 h 1009918"/>
                <a:gd name="connsiteX9" fmla="*/ 24024 w 944043"/>
                <a:gd name="connsiteY9" fmla="*/ 594020 h 1009918"/>
                <a:gd name="connsiteX10" fmla="*/ 24786 w 944043"/>
                <a:gd name="connsiteY10" fmla="*/ 607545 h 1009918"/>
                <a:gd name="connsiteX11" fmla="*/ 118416 w 944043"/>
                <a:gd name="connsiteY11" fmla="*/ 627453 h 1009918"/>
                <a:gd name="connsiteX12" fmla="*/ 131180 w 944043"/>
                <a:gd name="connsiteY12" fmla="*/ 634120 h 1009918"/>
                <a:gd name="connsiteX13" fmla="*/ 153373 w 944043"/>
                <a:gd name="connsiteY13" fmla="*/ 813571 h 1009918"/>
                <a:gd name="connsiteX14" fmla="*/ 152706 w 944043"/>
                <a:gd name="connsiteY14" fmla="*/ 815476 h 1009918"/>
                <a:gd name="connsiteX15" fmla="*/ 153754 w 944043"/>
                <a:gd name="connsiteY15" fmla="*/ 879198 h 1009918"/>
                <a:gd name="connsiteX16" fmla="*/ 253005 w 944043"/>
                <a:gd name="connsiteY16" fmla="*/ 905773 h 1009918"/>
                <a:gd name="connsiteX17" fmla="*/ 370257 w 944043"/>
                <a:gd name="connsiteY17" fmla="*/ 884532 h 1009918"/>
                <a:gd name="connsiteX18" fmla="*/ 383211 w 944043"/>
                <a:gd name="connsiteY18" fmla="*/ 891295 h 1009918"/>
                <a:gd name="connsiteX19" fmla="*/ 410929 w 944043"/>
                <a:gd name="connsiteY19" fmla="*/ 999975 h 1009918"/>
                <a:gd name="connsiteX20" fmla="*/ 397213 w 944043"/>
                <a:gd name="connsiteY20" fmla="*/ 1009786 h 1009918"/>
                <a:gd name="connsiteX21" fmla="*/ 387402 w 944043"/>
                <a:gd name="connsiteY21" fmla="*/ 996070 h 1009918"/>
                <a:gd name="connsiteX22" fmla="*/ 365209 w 944043"/>
                <a:gd name="connsiteY22" fmla="*/ 909678 h 1009918"/>
                <a:gd name="connsiteX23" fmla="*/ 256529 w 944043"/>
                <a:gd name="connsiteY23" fmla="*/ 929395 h 1009918"/>
                <a:gd name="connsiteX24" fmla="*/ 255195 w 944043"/>
                <a:gd name="connsiteY24" fmla="*/ 929586 h 1009918"/>
                <a:gd name="connsiteX25" fmla="*/ 134133 w 944043"/>
                <a:gd name="connsiteY25" fmla="*/ 892724 h 1009918"/>
                <a:gd name="connsiteX26" fmla="*/ 130608 w 944043"/>
                <a:gd name="connsiteY26" fmla="*/ 806713 h 1009918"/>
                <a:gd name="connsiteX27" fmla="*/ 113082 w 944043"/>
                <a:gd name="connsiteY27" fmla="*/ 652313 h 1009918"/>
                <a:gd name="connsiteX28" fmla="*/ 5545 w 944043"/>
                <a:gd name="connsiteY28" fmla="*/ 622976 h 1009918"/>
                <a:gd name="connsiteX29" fmla="*/ 1354 w 944043"/>
                <a:gd name="connsiteY29" fmla="*/ 614499 h 1009918"/>
                <a:gd name="connsiteX30" fmla="*/ 21 w 944043"/>
                <a:gd name="connsiteY30" fmla="*/ 590400 h 1009918"/>
                <a:gd name="connsiteX31" fmla="*/ 3069 w 944043"/>
                <a:gd name="connsiteY31" fmla="*/ 581733 h 1009918"/>
                <a:gd name="connsiteX32" fmla="*/ 134609 w 944043"/>
                <a:gd name="connsiteY32" fmla="*/ 437238 h 1009918"/>
                <a:gd name="connsiteX33" fmla="*/ 129942 w 944043"/>
                <a:gd name="connsiteY33" fmla="*/ 301888 h 1009918"/>
                <a:gd name="connsiteX34" fmla="*/ 295296 w 944043"/>
                <a:gd name="connsiteY34" fmla="*/ 61096 h 1009918"/>
                <a:gd name="connsiteX35" fmla="*/ 769926 w 944043"/>
                <a:gd name="connsiteY35" fmla="*/ 72240 h 1009918"/>
                <a:gd name="connsiteX36" fmla="*/ 936138 w 944043"/>
                <a:gd name="connsiteY36" fmla="*/ 285315 h 1009918"/>
                <a:gd name="connsiteX37" fmla="*/ 827267 w 944043"/>
                <a:gd name="connsiteY37" fmla="*/ 683079 h 1009918"/>
                <a:gd name="connsiteX38" fmla="*/ 807264 w 944043"/>
                <a:gd name="connsiteY38" fmla="*/ 994927 h 1009918"/>
                <a:gd name="connsiteX39" fmla="*/ 798787 w 944043"/>
                <a:gd name="connsiteY39" fmla="*/ 1009500 h 1009918"/>
                <a:gd name="connsiteX40" fmla="*/ 795739 w 944043"/>
                <a:gd name="connsiteY40" fmla="*/ 1009881 h 100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44043" h="1009918">
                  <a:moveTo>
                    <a:pt x="795834" y="1009881"/>
                  </a:moveTo>
                  <a:cubicBezTo>
                    <a:pt x="790596" y="1009881"/>
                    <a:pt x="785738" y="1006357"/>
                    <a:pt x="784309" y="1001023"/>
                  </a:cubicBezTo>
                  <a:cubicBezTo>
                    <a:pt x="782023" y="992546"/>
                    <a:pt x="730302" y="791092"/>
                    <a:pt x="807264" y="670315"/>
                  </a:cubicBezTo>
                  <a:cubicBezTo>
                    <a:pt x="902610" y="520677"/>
                    <a:pt x="937185" y="396471"/>
                    <a:pt x="912992" y="290649"/>
                  </a:cubicBezTo>
                  <a:cubicBezTo>
                    <a:pt x="894894" y="211686"/>
                    <a:pt x="842602" y="145011"/>
                    <a:pt x="757449" y="92529"/>
                  </a:cubicBezTo>
                  <a:cubicBezTo>
                    <a:pt x="615717" y="4994"/>
                    <a:pt x="447410" y="993"/>
                    <a:pt x="307202" y="81765"/>
                  </a:cubicBezTo>
                  <a:cubicBezTo>
                    <a:pt x="211761" y="136725"/>
                    <a:pt x="151563" y="223021"/>
                    <a:pt x="153754" y="301602"/>
                  </a:cubicBezTo>
                  <a:cubicBezTo>
                    <a:pt x="153754" y="303031"/>
                    <a:pt x="153754" y="408378"/>
                    <a:pt x="158993" y="439143"/>
                  </a:cubicBezTo>
                  <a:cubicBezTo>
                    <a:pt x="159564" y="442763"/>
                    <a:pt x="158517" y="446382"/>
                    <a:pt x="156040" y="449145"/>
                  </a:cubicBezTo>
                  <a:lnTo>
                    <a:pt x="24024" y="594020"/>
                  </a:lnTo>
                  <a:lnTo>
                    <a:pt x="24786" y="607545"/>
                  </a:lnTo>
                  <a:cubicBezTo>
                    <a:pt x="36120" y="615261"/>
                    <a:pt x="71077" y="635454"/>
                    <a:pt x="118416" y="627453"/>
                  </a:cubicBezTo>
                  <a:cubicBezTo>
                    <a:pt x="123560" y="626691"/>
                    <a:pt x="128894" y="629262"/>
                    <a:pt x="131180" y="634120"/>
                  </a:cubicBezTo>
                  <a:cubicBezTo>
                    <a:pt x="132990" y="638025"/>
                    <a:pt x="175662" y="730037"/>
                    <a:pt x="153373" y="813571"/>
                  </a:cubicBezTo>
                  <a:cubicBezTo>
                    <a:pt x="153183" y="814238"/>
                    <a:pt x="152992" y="814809"/>
                    <a:pt x="152706" y="815476"/>
                  </a:cubicBezTo>
                  <a:cubicBezTo>
                    <a:pt x="152516" y="815857"/>
                    <a:pt x="135942" y="853576"/>
                    <a:pt x="153754" y="879198"/>
                  </a:cubicBezTo>
                  <a:cubicBezTo>
                    <a:pt x="168042" y="899772"/>
                    <a:pt x="202236" y="908916"/>
                    <a:pt x="253005" y="905773"/>
                  </a:cubicBezTo>
                  <a:lnTo>
                    <a:pt x="370257" y="884532"/>
                  </a:lnTo>
                  <a:cubicBezTo>
                    <a:pt x="375591" y="883580"/>
                    <a:pt x="380925" y="886342"/>
                    <a:pt x="383211" y="891295"/>
                  </a:cubicBezTo>
                  <a:cubicBezTo>
                    <a:pt x="386640" y="898725"/>
                    <a:pt x="416739" y="965209"/>
                    <a:pt x="410929" y="999975"/>
                  </a:cubicBezTo>
                  <a:cubicBezTo>
                    <a:pt x="409786" y="1006452"/>
                    <a:pt x="403785" y="1010739"/>
                    <a:pt x="397213" y="1009786"/>
                  </a:cubicBezTo>
                  <a:cubicBezTo>
                    <a:pt x="390736" y="1008738"/>
                    <a:pt x="386355" y="1002547"/>
                    <a:pt x="387402" y="996070"/>
                  </a:cubicBezTo>
                  <a:cubicBezTo>
                    <a:pt x="390831" y="975687"/>
                    <a:pt x="374925" y="932538"/>
                    <a:pt x="365209" y="909678"/>
                  </a:cubicBezTo>
                  <a:lnTo>
                    <a:pt x="256529" y="929395"/>
                  </a:lnTo>
                  <a:cubicBezTo>
                    <a:pt x="256529" y="929395"/>
                    <a:pt x="255576" y="929490"/>
                    <a:pt x="255195" y="929586"/>
                  </a:cubicBezTo>
                  <a:cubicBezTo>
                    <a:pt x="194426" y="933586"/>
                    <a:pt x="153659" y="921108"/>
                    <a:pt x="134133" y="892724"/>
                  </a:cubicBezTo>
                  <a:cubicBezTo>
                    <a:pt x="110415" y="858339"/>
                    <a:pt x="127465" y="814143"/>
                    <a:pt x="130608" y="806713"/>
                  </a:cubicBezTo>
                  <a:cubicBezTo>
                    <a:pt x="146706" y="745086"/>
                    <a:pt x="122417" y="675459"/>
                    <a:pt x="113082" y="652313"/>
                  </a:cubicBezTo>
                  <a:cubicBezTo>
                    <a:pt x="49360" y="659076"/>
                    <a:pt x="7450" y="624500"/>
                    <a:pt x="5545" y="622976"/>
                  </a:cubicBezTo>
                  <a:cubicBezTo>
                    <a:pt x="3069" y="620880"/>
                    <a:pt x="1545" y="617832"/>
                    <a:pt x="1354" y="614499"/>
                  </a:cubicBezTo>
                  <a:lnTo>
                    <a:pt x="21" y="590400"/>
                  </a:lnTo>
                  <a:cubicBezTo>
                    <a:pt x="-170" y="587257"/>
                    <a:pt x="973" y="584114"/>
                    <a:pt x="3069" y="581733"/>
                  </a:cubicBezTo>
                  <a:lnTo>
                    <a:pt x="134609" y="437238"/>
                  </a:lnTo>
                  <a:cubicBezTo>
                    <a:pt x="129942" y="399519"/>
                    <a:pt x="129942" y="306079"/>
                    <a:pt x="129942" y="301888"/>
                  </a:cubicBezTo>
                  <a:cubicBezTo>
                    <a:pt x="127465" y="213687"/>
                    <a:pt x="190806" y="121294"/>
                    <a:pt x="295296" y="61096"/>
                  </a:cubicBezTo>
                  <a:cubicBezTo>
                    <a:pt x="443219" y="-24153"/>
                    <a:pt x="620670" y="-19962"/>
                    <a:pt x="769926" y="72240"/>
                  </a:cubicBezTo>
                  <a:cubicBezTo>
                    <a:pt x="860700" y="128247"/>
                    <a:pt x="916611" y="199971"/>
                    <a:pt x="936138" y="285315"/>
                  </a:cubicBezTo>
                  <a:cubicBezTo>
                    <a:pt x="974333" y="452193"/>
                    <a:pt x="863652" y="625929"/>
                    <a:pt x="827267" y="683079"/>
                  </a:cubicBezTo>
                  <a:cubicBezTo>
                    <a:pt x="755829" y="795188"/>
                    <a:pt x="806788" y="992927"/>
                    <a:pt x="807264" y="994927"/>
                  </a:cubicBezTo>
                  <a:cubicBezTo>
                    <a:pt x="808979" y="1001309"/>
                    <a:pt x="805169" y="1007786"/>
                    <a:pt x="798787" y="1009500"/>
                  </a:cubicBezTo>
                  <a:cubicBezTo>
                    <a:pt x="797739" y="1009786"/>
                    <a:pt x="796787" y="1009881"/>
                    <a:pt x="795739" y="10098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133DC52-3171-6681-17A9-6F9B82D27B31}"/>
                </a:ext>
              </a:extLst>
            </p:cNvPr>
            <p:cNvSpPr/>
            <p:nvPr/>
          </p:nvSpPr>
          <p:spPr>
            <a:xfrm>
              <a:off x="12751571" y="2721496"/>
              <a:ext cx="326213" cy="458415"/>
            </a:xfrm>
            <a:custGeom>
              <a:avLst/>
              <a:gdLst>
                <a:gd name="connsiteX0" fmla="*/ 219058 w 326213"/>
                <a:gd name="connsiteY0" fmla="*/ 458321 h 458415"/>
                <a:gd name="connsiteX1" fmla="*/ 109520 w 326213"/>
                <a:gd name="connsiteY1" fmla="*/ 458321 h 458415"/>
                <a:gd name="connsiteX2" fmla="*/ 78564 w 326213"/>
                <a:gd name="connsiteY2" fmla="*/ 427364 h 458415"/>
                <a:gd name="connsiteX3" fmla="*/ 78564 w 326213"/>
                <a:gd name="connsiteY3" fmla="*/ 312683 h 458415"/>
                <a:gd name="connsiteX4" fmla="*/ 70182 w 326213"/>
                <a:gd name="connsiteY4" fmla="*/ 297158 h 458415"/>
                <a:gd name="connsiteX5" fmla="*/ 173 w 326213"/>
                <a:gd name="connsiteY5" fmla="*/ 155521 h 458415"/>
                <a:gd name="connsiteX6" fmla="*/ 155431 w 326213"/>
                <a:gd name="connsiteY6" fmla="*/ 168 h 458415"/>
                <a:gd name="connsiteX7" fmla="*/ 275731 w 326213"/>
                <a:gd name="connsiteY7" fmla="*/ 45126 h 458415"/>
                <a:gd name="connsiteX8" fmla="*/ 326214 w 326213"/>
                <a:gd name="connsiteY8" fmla="*/ 163141 h 458415"/>
                <a:gd name="connsiteX9" fmla="*/ 257634 w 326213"/>
                <a:gd name="connsiteY9" fmla="*/ 296015 h 458415"/>
                <a:gd name="connsiteX10" fmla="*/ 247633 w 326213"/>
                <a:gd name="connsiteY10" fmla="*/ 314493 h 458415"/>
                <a:gd name="connsiteX11" fmla="*/ 247633 w 326213"/>
                <a:gd name="connsiteY11" fmla="*/ 429841 h 458415"/>
                <a:gd name="connsiteX12" fmla="*/ 219058 w 326213"/>
                <a:gd name="connsiteY12" fmla="*/ 458416 h 458415"/>
                <a:gd name="connsiteX13" fmla="*/ 163146 w 326213"/>
                <a:gd name="connsiteY13" fmla="*/ 23790 h 458415"/>
                <a:gd name="connsiteX14" fmla="*/ 156478 w 326213"/>
                <a:gd name="connsiteY14" fmla="*/ 23981 h 458415"/>
                <a:gd name="connsiteX15" fmla="*/ 23890 w 326213"/>
                <a:gd name="connsiteY15" fmla="*/ 156664 h 458415"/>
                <a:gd name="connsiteX16" fmla="*/ 83707 w 326213"/>
                <a:gd name="connsiteY16" fmla="*/ 277631 h 458415"/>
                <a:gd name="connsiteX17" fmla="*/ 102376 w 326213"/>
                <a:gd name="connsiteY17" fmla="*/ 312779 h 458415"/>
                <a:gd name="connsiteX18" fmla="*/ 102376 w 326213"/>
                <a:gd name="connsiteY18" fmla="*/ 427460 h 458415"/>
                <a:gd name="connsiteX19" fmla="*/ 109520 w 326213"/>
                <a:gd name="connsiteY19" fmla="*/ 434603 h 458415"/>
                <a:gd name="connsiteX20" fmla="*/ 219058 w 326213"/>
                <a:gd name="connsiteY20" fmla="*/ 434603 h 458415"/>
                <a:gd name="connsiteX21" fmla="*/ 223820 w 326213"/>
                <a:gd name="connsiteY21" fmla="*/ 429841 h 458415"/>
                <a:gd name="connsiteX22" fmla="*/ 223820 w 326213"/>
                <a:gd name="connsiteY22" fmla="*/ 314493 h 458415"/>
                <a:gd name="connsiteX23" fmla="*/ 243823 w 326213"/>
                <a:gd name="connsiteY23" fmla="*/ 276679 h 458415"/>
                <a:gd name="connsiteX24" fmla="*/ 302401 w 326213"/>
                <a:gd name="connsiteY24" fmla="*/ 163141 h 458415"/>
                <a:gd name="connsiteX25" fmla="*/ 259253 w 326213"/>
                <a:gd name="connsiteY25" fmla="*/ 62366 h 458415"/>
                <a:gd name="connsiteX26" fmla="*/ 163146 w 326213"/>
                <a:gd name="connsiteY26" fmla="*/ 23790 h 45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26213" h="458415">
                  <a:moveTo>
                    <a:pt x="219058" y="458321"/>
                  </a:moveTo>
                  <a:lnTo>
                    <a:pt x="109520" y="458321"/>
                  </a:lnTo>
                  <a:cubicBezTo>
                    <a:pt x="92470" y="458321"/>
                    <a:pt x="78564" y="444414"/>
                    <a:pt x="78564" y="427364"/>
                  </a:cubicBezTo>
                  <a:lnTo>
                    <a:pt x="78564" y="312683"/>
                  </a:lnTo>
                  <a:cubicBezTo>
                    <a:pt x="78564" y="306587"/>
                    <a:pt x="75421" y="300777"/>
                    <a:pt x="70182" y="297158"/>
                  </a:cubicBezTo>
                  <a:cubicBezTo>
                    <a:pt x="23795" y="264963"/>
                    <a:pt x="-2399" y="212004"/>
                    <a:pt x="173" y="155521"/>
                  </a:cubicBezTo>
                  <a:cubicBezTo>
                    <a:pt x="3983" y="72177"/>
                    <a:pt x="72182" y="3978"/>
                    <a:pt x="155431" y="168"/>
                  </a:cubicBezTo>
                  <a:cubicBezTo>
                    <a:pt x="200579" y="-1832"/>
                    <a:pt x="243251" y="14075"/>
                    <a:pt x="275731" y="45126"/>
                  </a:cubicBezTo>
                  <a:cubicBezTo>
                    <a:pt x="308307" y="76178"/>
                    <a:pt x="326214" y="118088"/>
                    <a:pt x="326214" y="163141"/>
                  </a:cubicBezTo>
                  <a:cubicBezTo>
                    <a:pt x="326214" y="215719"/>
                    <a:pt x="300592" y="265439"/>
                    <a:pt x="257634" y="296015"/>
                  </a:cubicBezTo>
                  <a:cubicBezTo>
                    <a:pt x="251252" y="300587"/>
                    <a:pt x="247633" y="307254"/>
                    <a:pt x="247633" y="314493"/>
                  </a:cubicBezTo>
                  <a:lnTo>
                    <a:pt x="247633" y="429841"/>
                  </a:lnTo>
                  <a:cubicBezTo>
                    <a:pt x="247633" y="445557"/>
                    <a:pt x="234774" y="458416"/>
                    <a:pt x="219058" y="458416"/>
                  </a:cubicBezTo>
                  <a:close/>
                  <a:moveTo>
                    <a:pt x="163146" y="23790"/>
                  </a:moveTo>
                  <a:cubicBezTo>
                    <a:pt x="160955" y="23790"/>
                    <a:pt x="158764" y="23790"/>
                    <a:pt x="156478" y="23981"/>
                  </a:cubicBezTo>
                  <a:cubicBezTo>
                    <a:pt x="85327" y="27219"/>
                    <a:pt x="27129" y="85512"/>
                    <a:pt x="23890" y="156664"/>
                  </a:cubicBezTo>
                  <a:cubicBezTo>
                    <a:pt x="21700" y="204860"/>
                    <a:pt x="44083" y="250104"/>
                    <a:pt x="83707" y="277631"/>
                  </a:cubicBezTo>
                  <a:cubicBezTo>
                    <a:pt x="95423" y="285728"/>
                    <a:pt x="102376" y="298872"/>
                    <a:pt x="102376" y="312779"/>
                  </a:cubicBezTo>
                  <a:lnTo>
                    <a:pt x="102376" y="427460"/>
                  </a:lnTo>
                  <a:cubicBezTo>
                    <a:pt x="102376" y="431365"/>
                    <a:pt x="105615" y="434603"/>
                    <a:pt x="109520" y="434603"/>
                  </a:cubicBezTo>
                  <a:lnTo>
                    <a:pt x="219058" y="434603"/>
                  </a:lnTo>
                  <a:cubicBezTo>
                    <a:pt x="221725" y="434603"/>
                    <a:pt x="223820" y="432508"/>
                    <a:pt x="223820" y="429841"/>
                  </a:cubicBezTo>
                  <a:lnTo>
                    <a:pt x="223820" y="314493"/>
                  </a:lnTo>
                  <a:cubicBezTo>
                    <a:pt x="223820" y="299729"/>
                    <a:pt x="231345" y="285537"/>
                    <a:pt x="243823" y="276679"/>
                  </a:cubicBezTo>
                  <a:cubicBezTo>
                    <a:pt x="280494" y="250580"/>
                    <a:pt x="302401" y="208099"/>
                    <a:pt x="302401" y="163141"/>
                  </a:cubicBezTo>
                  <a:cubicBezTo>
                    <a:pt x="302401" y="124755"/>
                    <a:pt x="287066" y="88941"/>
                    <a:pt x="259253" y="62366"/>
                  </a:cubicBezTo>
                  <a:cubicBezTo>
                    <a:pt x="233059" y="37411"/>
                    <a:pt x="199151" y="23790"/>
                    <a:pt x="163146" y="2379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409BFC60-BAFB-191D-0B71-D53F8C754796}"/>
                </a:ext>
              </a:extLst>
            </p:cNvPr>
            <p:cNvSpPr/>
            <p:nvPr/>
          </p:nvSpPr>
          <p:spPr>
            <a:xfrm>
              <a:off x="12842154" y="3159061"/>
              <a:ext cx="145229" cy="71047"/>
            </a:xfrm>
            <a:custGeom>
              <a:avLst/>
              <a:gdLst>
                <a:gd name="connsiteX0" fmla="*/ 72468 w 145229"/>
                <a:gd name="connsiteY0" fmla="*/ 71048 h 71047"/>
                <a:gd name="connsiteX1" fmla="*/ 459 w 145229"/>
                <a:gd name="connsiteY1" fmla="*/ 16565 h 71047"/>
                <a:gd name="connsiteX2" fmla="*/ 8650 w 145229"/>
                <a:gd name="connsiteY2" fmla="*/ 1896 h 71047"/>
                <a:gd name="connsiteX3" fmla="*/ 23319 w 145229"/>
                <a:gd name="connsiteY3" fmla="*/ 10088 h 71047"/>
                <a:gd name="connsiteX4" fmla="*/ 72372 w 145229"/>
                <a:gd name="connsiteY4" fmla="*/ 47235 h 71047"/>
                <a:gd name="connsiteX5" fmla="*/ 121807 w 145229"/>
                <a:gd name="connsiteY5" fmla="*/ 8945 h 71047"/>
                <a:gd name="connsiteX6" fmla="*/ 136285 w 145229"/>
                <a:gd name="connsiteY6" fmla="*/ 372 h 71047"/>
                <a:gd name="connsiteX7" fmla="*/ 144858 w 145229"/>
                <a:gd name="connsiteY7" fmla="*/ 14850 h 71047"/>
                <a:gd name="connsiteX8" fmla="*/ 72372 w 145229"/>
                <a:gd name="connsiteY8" fmla="*/ 71048 h 71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229" h="71047">
                  <a:moveTo>
                    <a:pt x="72468" y="71048"/>
                  </a:moveTo>
                  <a:cubicBezTo>
                    <a:pt x="39130" y="71048"/>
                    <a:pt x="9507" y="48664"/>
                    <a:pt x="459" y="16565"/>
                  </a:cubicBezTo>
                  <a:cubicBezTo>
                    <a:pt x="-1351" y="10278"/>
                    <a:pt x="2364" y="3706"/>
                    <a:pt x="8650" y="1896"/>
                  </a:cubicBezTo>
                  <a:cubicBezTo>
                    <a:pt x="14937" y="87"/>
                    <a:pt x="21509" y="3801"/>
                    <a:pt x="23319" y="10088"/>
                  </a:cubicBezTo>
                  <a:cubicBezTo>
                    <a:pt x="29510" y="31900"/>
                    <a:pt x="49703" y="47235"/>
                    <a:pt x="72372" y="47235"/>
                  </a:cubicBezTo>
                  <a:cubicBezTo>
                    <a:pt x="95042" y="47235"/>
                    <a:pt x="115997" y="31519"/>
                    <a:pt x="121807" y="8945"/>
                  </a:cubicBezTo>
                  <a:cubicBezTo>
                    <a:pt x="123426" y="2563"/>
                    <a:pt x="129903" y="-1247"/>
                    <a:pt x="136285" y="372"/>
                  </a:cubicBezTo>
                  <a:cubicBezTo>
                    <a:pt x="142667" y="1992"/>
                    <a:pt x="146477" y="8469"/>
                    <a:pt x="144858" y="14850"/>
                  </a:cubicBezTo>
                  <a:cubicBezTo>
                    <a:pt x="136380" y="47997"/>
                    <a:pt x="106567" y="71048"/>
                    <a:pt x="72372" y="7104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DB16A0F8-106F-638B-19BE-4500BCBA83FB}"/>
                </a:ext>
              </a:extLst>
            </p:cNvPr>
            <p:cNvSpPr/>
            <p:nvPr/>
          </p:nvSpPr>
          <p:spPr>
            <a:xfrm>
              <a:off x="12830198" y="3104419"/>
              <a:ext cx="169038" cy="45298"/>
            </a:xfrm>
            <a:custGeom>
              <a:avLst/>
              <a:gdLst>
                <a:gd name="connsiteX0" fmla="*/ 157100 w 169038"/>
                <a:gd name="connsiteY0" fmla="*/ 45203 h 45298"/>
                <a:gd name="connsiteX1" fmla="*/ 155385 w 169038"/>
                <a:gd name="connsiteY1" fmla="*/ 45108 h 45298"/>
                <a:gd name="connsiteX2" fmla="*/ 10129 w 169038"/>
                <a:gd name="connsiteY2" fmla="*/ 23676 h 45298"/>
                <a:gd name="connsiteX3" fmla="*/ 128 w 169038"/>
                <a:gd name="connsiteY3" fmla="*/ 10151 h 45298"/>
                <a:gd name="connsiteX4" fmla="*/ 13653 w 169038"/>
                <a:gd name="connsiteY4" fmla="*/ 150 h 45298"/>
                <a:gd name="connsiteX5" fmla="*/ 158910 w 169038"/>
                <a:gd name="connsiteY5" fmla="*/ 21581 h 45298"/>
                <a:gd name="connsiteX6" fmla="*/ 168911 w 169038"/>
                <a:gd name="connsiteY6" fmla="*/ 35106 h 45298"/>
                <a:gd name="connsiteX7" fmla="*/ 157195 w 169038"/>
                <a:gd name="connsiteY7" fmla="*/ 45298 h 45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038" h="45298">
                  <a:moveTo>
                    <a:pt x="157100" y="45203"/>
                  </a:moveTo>
                  <a:cubicBezTo>
                    <a:pt x="156528" y="45203"/>
                    <a:pt x="155957" y="45203"/>
                    <a:pt x="155385" y="45108"/>
                  </a:cubicBezTo>
                  <a:lnTo>
                    <a:pt x="10129" y="23676"/>
                  </a:lnTo>
                  <a:cubicBezTo>
                    <a:pt x="3652" y="22724"/>
                    <a:pt x="-825" y="16628"/>
                    <a:pt x="128" y="10151"/>
                  </a:cubicBezTo>
                  <a:cubicBezTo>
                    <a:pt x="1080" y="3674"/>
                    <a:pt x="7176" y="-898"/>
                    <a:pt x="13653" y="150"/>
                  </a:cubicBezTo>
                  <a:lnTo>
                    <a:pt x="158910" y="21581"/>
                  </a:lnTo>
                  <a:cubicBezTo>
                    <a:pt x="165387" y="22533"/>
                    <a:pt x="169863" y="28629"/>
                    <a:pt x="168911" y="35106"/>
                  </a:cubicBezTo>
                  <a:cubicBezTo>
                    <a:pt x="168054" y="41012"/>
                    <a:pt x="163005" y="45298"/>
                    <a:pt x="157195" y="4529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04B81E12-5A68-44B3-72F2-9AE2227FD6B1}"/>
                </a:ext>
              </a:extLst>
            </p:cNvPr>
            <p:cNvSpPr/>
            <p:nvPr/>
          </p:nvSpPr>
          <p:spPr>
            <a:xfrm>
              <a:off x="12830198" y="3066319"/>
              <a:ext cx="169038" cy="45298"/>
            </a:xfrm>
            <a:custGeom>
              <a:avLst/>
              <a:gdLst>
                <a:gd name="connsiteX0" fmla="*/ 157100 w 169038"/>
                <a:gd name="connsiteY0" fmla="*/ 45203 h 45298"/>
                <a:gd name="connsiteX1" fmla="*/ 155385 w 169038"/>
                <a:gd name="connsiteY1" fmla="*/ 45108 h 45298"/>
                <a:gd name="connsiteX2" fmla="*/ 10129 w 169038"/>
                <a:gd name="connsiteY2" fmla="*/ 23676 h 45298"/>
                <a:gd name="connsiteX3" fmla="*/ 128 w 169038"/>
                <a:gd name="connsiteY3" fmla="*/ 10151 h 45298"/>
                <a:gd name="connsiteX4" fmla="*/ 13653 w 169038"/>
                <a:gd name="connsiteY4" fmla="*/ 150 h 45298"/>
                <a:gd name="connsiteX5" fmla="*/ 158910 w 169038"/>
                <a:gd name="connsiteY5" fmla="*/ 21581 h 45298"/>
                <a:gd name="connsiteX6" fmla="*/ 168911 w 169038"/>
                <a:gd name="connsiteY6" fmla="*/ 35106 h 45298"/>
                <a:gd name="connsiteX7" fmla="*/ 157195 w 169038"/>
                <a:gd name="connsiteY7" fmla="*/ 45298 h 45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038" h="45298">
                  <a:moveTo>
                    <a:pt x="157100" y="45203"/>
                  </a:moveTo>
                  <a:cubicBezTo>
                    <a:pt x="156528" y="45203"/>
                    <a:pt x="155957" y="45203"/>
                    <a:pt x="155385" y="45108"/>
                  </a:cubicBezTo>
                  <a:lnTo>
                    <a:pt x="10129" y="23676"/>
                  </a:lnTo>
                  <a:cubicBezTo>
                    <a:pt x="3652" y="22724"/>
                    <a:pt x="-825" y="16628"/>
                    <a:pt x="128" y="10151"/>
                  </a:cubicBezTo>
                  <a:cubicBezTo>
                    <a:pt x="1080" y="3674"/>
                    <a:pt x="7176" y="-898"/>
                    <a:pt x="13653" y="150"/>
                  </a:cubicBezTo>
                  <a:lnTo>
                    <a:pt x="158910" y="21581"/>
                  </a:lnTo>
                  <a:cubicBezTo>
                    <a:pt x="165387" y="22533"/>
                    <a:pt x="169863" y="28629"/>
                    <a:pt x="168911" y="35106"/>
                  </a:cubicBezTo>
                  <a:cubicBezTo>
                    <a:pt x="168054" y="41012"/>
                    <a:pt x="163005" y="45298"/>
                    <a:pt x="157195" y="4529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08837A73-3965-173E-9DE3-ED593AF8EED8}"/>
                </a:ext>
              </a:extLst>
            </p:cNvPr>
            <p:cNvSpPr/>
            <p:nvPr/>
          </p:nvSpPr>
          <p:spPr>
            <a:xfrm>
              <a:off x="12830135" y="3036942"/>
              <a:ext cx="169068" cy="23812"/>
            </a:xfrm>
            <a:custGeom>
              <a:avLst/>
              <a:gdLst>
                <a:gd name="connsiteX0" fmla="*/ 157163 w 169068"/>
                <a:gd name="connsiteY0" fmla="*/ 23813 h 23812"/>
                <a:gd name="connsiteX1" fmla="*/ 11906 w 169068"/>
                <a:gd name="connsiteY1" fmla="*/ 23813 h 23812"/>
                <a:gd name="connsiteX2" fmla="*/ 0 w 169068"/>
                <a:gd name="connsiteY2" fmla="*/ 11906 h 23812"/>
                <a:gd name="connsiteX3" fmla="*/ 11906 w 169068"/>
                <a:gd name="connsiteY3" fmla="*/ 0 h 23812"/>
                <a:gd name="connsiteX4" fmla="*/ 157163 w 169068"/>
                <a:gd name="connsiteY4" fmla="*/ 0 h 23812"/>
                <a:gd name="connsiteX5" fmla="*/ 169069 w 169068"/>
                <a:gd name="connsiteY5" fmla="*/ 11906 h 23812"/>
                <a:gd name="connsiteX6" fmla="*/ 157163 w 169068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068" h="23812">
                  <a:moveTo>
                    <a:pt x="157163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157163" y="0"/>
                  </a:lnTo>
                  <a:cubicBezTo>
                    <a:pt x="163735" y="0"/>
                    <a:pt x="169069" y="5334"/>
                    <a:pt x="169069" y="11906"/>
                  </a:cubicBezTo>
                  <a:cubicBezTo>
                    <a:pt x="169069" y="18479"/>
                    <a:pt x="163735" y="23813"/>
                    <a:pt x="157163" y="238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DB5FCF46-D163-39E4-50BC-4018E6BFB5E1}"/>
                </a:ext>
              </a:extLst>
            </p:cNvPr>
            <p:cNvSpPr/>
            <p:nvPr/>
          </p:nvSpPr>
          <p:spPr>
            <a:xfrm>
              <a:off x="12902716" y="2625843"/>
              <a:ext cx="23812" cy="74580"/>
            </a:xfrm>
            <a:custGeom>
              <a:avLst/>
              <a:gdLst>
                <a:gd name="connsiteX0" fmla="*/ 11906 w 23812"/>
                <a:gd name="connsiteY0" fmla="*/ 74581 h 74580"/>
                <a:gd name="connsiteX1" fmla="*/ 0 w 23812"/>
                <a:gd name="connsiteY1" fmla="*/ 62674 h 74580"/>
                <a:gd name="connsiteX2" fmla="*/ 0 w 23812"/>
                <a:gd name="connsiteY2" fmla="*/ 11906 h 74580"/>
                <a:gd name="connsiteX3" fmla="*/ 11906 w 23812"/>
                <a:gd name="connsiteY3" fmla="*/ 0 h 74580"/>
                <a:gd name="connsiteX4" fmla="*/ 23813 w 23812"/>
                <a:gd name="connsiteY4" fmla="*/ 11906 h 74580"/>
                <a:gd name="connsiteX5" fmla="*/ 23813 w 23812"/>
                <a:gd name="connsiteY5" fmla="*/ 62674 h 74580"/>
                <a:gd name="connsiteX6" fmla="*/ 11906 w 23812"/>
                <a:gd name="connsiteY6" fmla="*/ 74581 h 74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74580">
                  <a:moveTo>
                    <a:pt x="11906" y="74581"/>
                  </a:moveTo>
                  <a:cubicBezTo>
                    <a:pt x="5334" y="74581"/>
                    <a:pt x="0" y="69247"/>
                    <a:pt x="0" y="62674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8" y="0"/>
                    <a:pt x="23813" y="5334"/>
                    <a:pt x="23813" y="11906"/>
                  </a:cubicBezTo>
                  <a:lnTo>
                    <a:pt x="23813" y="62674"/>
                  </a:lnTo>
                  <a:cubicBezTo>
                    <a:pt x="23813" y="69247"/>
                    <a:pt x="18478" y="74581"/>
                    <a:pt x="11906" y="74581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E21AC2E3-1A9E-CAEC-4F57-1AF7DAF14A8C}"/>
                </a:ext>
              </a:extLst>
            </p:cNvPr>
            <p:cNvSpPr/>
            <p:nvPr/>
          </p:nvSpPr>
          <p:spPr>
            <a:xfrm>
              <a:off x="13107503" y="2875778"/>
              <a:ext cx="74580" cy="23812"/>
            </a:xfrm>
            <a:custGeom>
              <a:avLst/>
              <a:gdLst>
                <a:gd name="connsiteX0" fmla="*/ 62674 w 74580"/>
                <a:gd name="connsiteY0" fmla="*/ 23813 h 23812"/>
                <a:gd name="connsiteX1" fmla="*/ 11906 w 74580"/>
                <a:gd name="connsiteY1" fmla="*/ 23813 h 23812"/>
                <a:gd name="connsiteX2" fmla="*/ 0 w 74580"/>
                <a:gd name="connsiteY2" fmla="*/ 11906 h 23812"/>
                <a:gd name="connsiteX3" fmla="*/ 11906 w 74580"/>
                <a:gd name="connsiteY3" fmla="*/ 0 h 23812"/>
                <a:gd name="connsiteX4" fmla="*/ 62674 w 74580"/>
                <a:gd name="connsiteY4" fmla="*/ 0 h 23812"/>
                <a:gd name="connsiteX5" fmla="*/ 74581 w 74580"/>
                <a:gd name="connsiteY5" fmla="*/ 11906 h 23812"/>
                <a:gd name="connsiteX6" fmla="*/ 62674 w 74580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580" h="23812">
                  <a:moveTo>
                    <a:pt x="62674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62674" y="0"/>
                  </a:lnTo>
                  <a:cubicBezTo>
                    <a:pt x="69247" y="0"/>
                    <a:pt x="74581" y="5334"/>
                    <a:pt x="74581" y="11906"/>
                  </a:cubicBezTo>
                  <a:cubicBezTo>
                    <a:pt x="74581" y="18479"/>
                    <a:pt x="69247" y="23813"/>
                    <a:pt x="62674" y="238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71312D25-8AC7-3BA7-39B0-519129607858}"/>
                </a:ext>
              </a:extLst>
            </p:cNvPr>
            <p:cNvSpPr/>
            <p:nvPr/>
          </p:nvSpPr>
          <p:spPr>
            <a:xfrm>
              <a:off x="12642017" y="2875778"/>
              <a:ext cx="74580" cy="23812"/>
            </a:xfrm>
            <a:custGeom>
              <a:avLst/>
              <a:gdLst>
                <a:gd name="connsiteX0" fmla="*/ 62675 w 74580"/>
                <a:gd name="connsiteY0" fmla="*/ 23813 h 23812"/>
                <a:gd name="connsiteX1" fmla="*/ 11906 w 74580"/>
                <a:gd name="connsiteY1" fmla="*/ 23813 h 23812"/>
                <a:gd name="connsiteX2" fmla="*/ 0 w 74580"/>
                <a:gd name="connsiteY2" fmla="*/ 11906 h 23812"/>
                <a:gd name="connsiteX3" fmla="*/ 11906 w 74580"/>
                <a:gd name="connsiteY3" fmla="*/ 0 h 23812"/>
                <a:gd name="connsiteX4" fmla="*/ 62675 w 74580"/>
                <a:gd name="connsiteY4" fmla="*/ 0 h 23812"/>
                <a:gd name="connsiteX5" fmla="*/ 74581 w 74580"/>
                <a:gd name="connsiteY5" fmla="*/ 11906 h 23812"/>
                <a:gd name="connsiteX6" fmla="*/ 62675 w 74580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580" h="23812">
                  <a:moveTo>
                    <a:pt x="62675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62675" y="0"/>
                  </a:lnTo>
                  <a:cubicBezTo>
                    <a:pt x="69247" y="0"/>
                    <a:pt x="74581" y="5334"/>
                    <a:pt x="74581" y="11906"/>
                  </a:cubicBezTo>
                  <a:cubicBezTo>
                    <a:pt x="74581" y="18479"/>
                    <a:pt x="69247" y="23813"/>
                    <a:pt x="62675" y="238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1E8F2013-DD97-C2F5-5F91-6E33C4D5D101}"/>
                </a:ext>
              </a:extLst>
            </p:cNvPr>
            <p:cNvSpPr/>
            <p:nvPr/>
          </p:nvSpPr>
          <p:spPr>
            <a:xfrm>
              <a:off x="13035994" y="2703400"/>
              <a:ext cx="59769" cy="59793"/>
            </a:xfrm>
            <a:custGeom>
              <a:avLst/>
              <a:gdLst>
                <a:gd name="connsiteX0" fmla="*/ 11882 w 59769"/>
                <a:gd name="connsiteY0" fmla="*/ 59793 h 59793"/>
                <a:gd name="connsiteX1" fmla="*/ 3500 w 59769"/>
                <a:gd name="connsiteY1" fmla="*/ 56269 h 59793"/>
                <a:gd name="connsiteX2" fmla="*/ 3500 w 59769"/>
                <a:gd name="connsiteY2" fmla="*/ 39410 h 59793"/>
                <a:gd name="connsiteX3" fmla="*/ 39410 w 59769"/>
                <a:gd name="connsiteY3" fmla="*/ 3500 h 59793"/>
                <a:gd name="connsiteX4" fmla="*/ 56269 w 59769"/>
                <a:gd name="connsiteY4" fmla="*/ 3500 h 59793"/>
                <a:gd name="connsiteX5" fmla="*/ 56269 w 59769"/>
                <a:gd name="connsiteY5" fmla="*/ 20360 h 59793"/>
                <a:gd name="connsiteX6" fmla="*/ 20360 w 59769"/>
                <a:gd name="connsiteY6" fmla="*/ 56269 h 59793"/>
                <a:gd name="connsiteX7" fmla="*/ 11978 w 59769"/>
                <a:gd name="connsiteY7" fmla="*/ 59793 h 5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69" h="59793">
                  <a:moveTo>
                    <a:pt x="11882" y="59793"/>
                  </a:moveTo>
                  <a:cubicBezTo>
                    <a:pt x="8834" y="59793"/>
                    <a:pt x="5786" y="58650"/>
                    <a:pt x="3500" y="56269"/>
                  </a:cubicBezTo>
                  <a:cubicBezTo>
                    <a:pt x="-1167" y="51602"/>
                    <a:pt x="-1167" y="44077"/>
                    <a:pt x="3500" y="39410"/>
                  </a:cubicBezTo>
                  <a:lnTo>
                    <a:pt x="39410" y="3500"/>
                  </a:lnTo>
                  <a:cubicBezTo>
                    <a:pt x="44077" y="-1167"/>
                    <a:pt x="51602" y="-1167"/>
                    <a:pt x="56269" y="3500"/>
                  </a:cubicBezTo>
                  <a:cubicBezTo>
                    <a:pt x="60936" y="8168"/>
                    <a:pt x="60936" y="15692"/>
                    <a:pt x="56269" y="20360"/>
                  </a:cubicBezTo>
                  <a:lnTo>
                    <a:pt x="20360" y="56269"/>
                  </a:lnTo>
                  <a:cubicBezTo>
                    <a:pt x="18074" y="58555"/>
                    <a:pt x="15026" y="59793"/>
                    <a:pt x="11978" y="597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756F1CFB-259C-2E11-A6FF-3F9F1B1F9873}"/>
                </a:ext>
              </a:extLst>
            </p:cNvPr>
            <p:cNvSpPr/>
            <p:nvPr/>
          </p:nvSpPr>
          <p:spPr>
            <a:xfrm>
              <a:off x="12724622" y="2703400"/>
              <a:ext cx="59769" cy="59793"/>
            </a:xfrm>
            <a:custGeom>
              <a:avLst/>
              <a:gdLst>
                <a:gd name="connsiteX0" fmla="*/ 47792 w 59769"/>
                <a:gd name="connsiteY0" fmla="*/ 59793 h 59793"/>
                <a:gd name="connsiteX1" fmla="*/ 39410 w 59769"/>
                <a:gd name="connsiteY1" fmla="*/ 56269 h 59793"/>
                <a:gd name="connsiteX2" fmla="*/ 3500 w 59769"/>
                <a:gd name="connsiteY2" fmla="*/ 20360 h 59793"/>
                <a:gd name="connsiteX3" fmla="*/ 3500 w 59769"/>
                <a:gd name="connsiteY3" fmla="*/ 3500 h 59793"/>
                <a:gd name="connsiteX4" fmla="*/ 20360 w 59769"/>
                <a:gd name="connsiteY4" fmla="*/ 3500 h 59793"/>
                <a:gd name="connsiteX5" fmla="*/ 56269 w 59769"/>
                <a:gd name="connsiteY5" fmla="*/ 39410 h 59793"/>
                <a:gd name="connsiteX6" fmla="*/ 56269 w 59769"/>
                <a:gd name="connsiteY6" fmla="*/ 56269 h 59793"/>
                <a:gd name="connsiteX7" fmla="*/ 47887 w 59769"/>
                <a:gd name="connsiteY7" fmla="*/ 59793 h 5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69" h="59793">
                  <a:moveTo>
                    <a:pt x="47792" y="59793"/>
                  </a:moveTo>
                  <a:cubicBezTo>
                    <a:pt x="44744" y="59793"/>
                    <a:pt x="41696" y="58650"/>
                    <a:pt x="39410" y="56269"/>
                  </a:cubicBezTo>
                  <a:lnTo>
                    <a:pt x="3500" y="20360"/>
                  </a:lnTo>
                  <a:cubicBezTo>
                    <a:pt x="-1167" y="15692"/>
                    <a:pt x="-1167" y="8168"/>
                    <a:pt x="3500" y="3500"/>
                  </a:cubicBezTo>
                  <a:cubicBezTo>
                    <a:pt x="8168" y="-1167"/>
                    <a:pt x="15692" y="-1167"/>
                    <a:pt x="20360" y="3500"/>
                  </a:cubicBezTo>
                  <a:lnTo>
                    <a:pt x="56269" y="39410"/>
                  </a:lnTo>
                  <a:cubicBezTo>
                    <a:pt x="60936" y="44077"/>
                    <a:pt x="60936" y="51602"/>
                    <a:pt x="56269" y="56269"/>
                  </a:cubicBezTo>
                  <a:cubicBezTo>
                    <a:pt x="53983" y="58555"/>
                    <a:pt x="50935" y="59793"/>
                    <a:pt x="47887" y="597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416E9A2D-9298-DEA3-DB58-4D4DEE5DD18C}"/>
                </a:ext>
              </a:extLst>
            </p:cNvPr>
            <p:cNvSpPr/>
            <p:nvPr/>
          </p:nvSpPr>
          <p:spPr>
            <a:xfrm>
              <a:off x="13035994" y="3017725"/>
              <a:ext cx="59769" cy="59793"/>
            </a:xfrm>
            <a:custGeom>
              <a:avLst/>
              <a:gdLst>
                <a:gd name="connsiteX0" fmla="*/ 47792 w 59769"/>
                <a:gd name="connsiteY0" fmla="*/ 59793 h 59793"/>
                <a:gd name="connsiteX1" fmla="*/ 39410 w 59769"/>
                <a:gd name="connsiteY1" fmla="*/ 56269 h 59793"/>
                <a:gd name="connsiteX2" fmla="*/ 3500 w 59769"/>
                <a:gd name="connsiteY2" fmla="*/ 20360 h 59793"/>
                <a:gd name="connsiteX3" fmla="*/ 3500 w 59769"/>
                <a:gd name="connsiteY3" fmla="*/ 3500 h 59793"/>
                <a:gd name="connsiteX4" fmla="*/ 20360 w 59769"/>
                <a:gd name="connsiteY4" fmla="*/ 3500 h 59793"/>
                <a:gd name="connsiteX5" fmla="*/ 56269 w 59769"/>
                <a:gd name="connsiteY5" fmla="*/ 39410 h 59793"/>
                <a:gd name="connsiteX6" fmla="*/ 56269 w 59769"/>
                <a:gd name="connsiteY6" fmla="*/ 56269 h 59793"/>
                <a:gd name="connsiteX7" fmla="*/ 47887 w 59769"/>
                <a:gd name="connsiteY7" fmla="*/ 59793 h 5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69" h="59793">
                  <a:moveTo>
                    <a:pt x="47792" y="59793"/>
                  </a:moveTo>
                  <a:cubicBezTo>
                    <a:pt x="44744" y="59793"/>
                    <a:pt x="41696" y="58650"/>
                    <a:pt x="39410" y="56269"/>
                  </a:cubicBezTo>
                  <a:lnTo>
                    <a:pt x="3500" y="20360"/>
                  </a:lnTo>
                  <a:cubicBezTo>
                    <a:pt x="-1167" y="15692"/>
                    <a:pt x="-1167" y="8168"/>
                    <a:pt x="3500" y="3500"/>
                  </a:cubicBezTo>
                  <a:cubicBezTo>
                    <a:pt x="8168" y="-1167"/>
                    <a:pt x="15692" y="-1167"/>
                    <a:pt x="20360" y="3500"/>
                  </a:cubicBezTo>
                  <a:lnTo>
                    <a:pt x="56269" y="39410"/>
                  </a:lnTo>
                  <a:cubicBezTo>
                    <a:pt x="60936" y="44077"/>
                    <a:pt x="60936" y="51602"/>
                    <a:pt x="56269" y="56269"/>
                  </a:cubicBezTo>
                  <a:cubicBezTo>
                    <a:pt x="53983" y="58555"/>
                    <a:pt x="50935" y="59793"/>
                    <a:pt x="47887" y="597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C31EF351-C4AE-63C6-BE67-BDEB26199395}"/>
                </a:ext>
              </a:extLst>
            </p:cNvPr>
            <p:cNvSpPr/>
            <p:nvPr/>
          </p:nvSpPr>
          <p:spPr>
            <a:xfrm>
              <a:off x="12724622" y="3017725"/>
              <a:ext cx="59769" cy="59793"/>
            </a:xfrm>
            <a:custGeom>
              <a:avLst/>
              <a:gdLst>
                <a:gd name="connsiteX0" fmla="*/ 11882 w 59769"/>
                <a:gd name="connsiteY0" fmla="*/ 59793 h 59793"/>
                <a:gd name="connsiteX1" fmla="*/ 3500 w 59769"/>
                <a:gd name="connsiteY1" fmla="*/ 56269 h 59793"/>
                <a:gd name="connsiteX2" fmla="*/ 3500 w 59769"/>
                <a:gd name="connsiteY2" fmla="*/ 39410 h 59793"/>
                <a:gd name="connsiteX3" fmla="*/ 39410 w 59769"/>
                <a:gd name="connsiteY3" fmla="*/ 3500 h 59793"/>
                <a:gd name="connsiteX4" fmla="*/ 56269 w 59769"/>
                <a:gd name="connsiteY4" fmla="*/ 3500 h 59793"/>
                <a:gd name="connsiteX5" fmla="*/ 56269 w 59769"/>
                <a:gd name="connsiteY5" fmla="*/ 20360 h 59793"/>
                <a:gd name="connsiteX6" fmla="*/ 20360 w 59769"/>
                <a:gd name="connsiteY6" fmla="*/ 56269 h 59793"/>
                <a:gd name="connsiteX7" fmla="*/ 11978 w 59769"/>
                <a:gd name="connsiteY7" fmla="*/ 59793 h 5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69" h="59793">
                  <a:moveTo>
                    <a:pt x="11882" y="59793"/>
                  </a:moveTo>
                  <a:cubicBezTo>
                    <a:pt x="8834" y="59793"/>
                    <a:pt x="5786" y="58650"/>
                    <a:pt x="3500" y="56269"/>
                  </a:cubicBezTo>
                  <a:cubicBezTo>
                    <a:pt x="-1167" y="51602"/>
                    <a:pt x="-1167" y="44077"/>
                    <a:pt x="3500" y="39410"/>
                  </a:cubicBezTo>
                  <a:lnTo>
                    <a:pt x="39410" y="3500"/>
                  </a:lnTo>
                  <a:cubicBezTo>
                    <a:pt x="44077" y="-1167"/>
                    <a:pt x="51602" y="-1167"/>
                    <a:pt x="56269" y="3500"/>
                  </a:cubicBezTo>
                  <a:cubicBezTo>
                    <a:pt x="60936" y="8168"/>
                    <a:pt x="60936" y="15692"/>
                    <a:pt x="56269" y="20360"/>
                  </a:cubicBezTo>
                  <a:lnTo>
                    <a:pt x="20360" y="56269"/>
                  </a:lnTo>
                  <a:cubicBezTo>
                    <a:pt x="18074" y="58555"/>
                    <a:pt x="15026" y="59793"/>
                    <a:pt x="11978" y="597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12" name="124 Exclamation Mark (red)">
            <a:extLst>
              <a:ext uri="{FF2B5EF4-FFF2-40B4-BE49-F238E27FC236}">
                <a16:creationId xmlns:a16="http://schemas.microsoft.com/office/drawing/2014/main" id="{D38955C5-5679-15FC-EADD-0E327FF4161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216111" y="5524023"/>
            <a:ext cx="622604" cy="622604"/>
          </a:xfrm>
          <a:prstGeom prst="rect">
            <a:avLst/>
          </a:prstGeom>
        </p:spPr>
      </p:pic>
      <p:grpSp>
        <p:nvGrpSpPr>
          <p:cNvPr id="113" name="Group 112">
            <a:extLst>
              <a:ext uri="{FF2B5EF4-FFF2-40B4-BE49-F238E27FC236}">
                <a16:creationId xmlns:a16="http://schemas.microsoft.com/office/drawing/2014/main" id="{F391AAD9-EB78-791F-B089-7BB2BF9FD10D}"/>
              </a:ext>
            </a:extLst>
          </p:cNvPr>
          <p:cNvGrpSpPr/>
          <p:nvPr/>
        </p:nvGrpSpPr>
        <p:grpSpPr>
          <a:xfrm>
            <a:off x="7870768" y="5636859"/>
            <a:ext cx="396932" cy="396932"/>
            <a:chOff x="12392441" y="2482450"/>
            <a:chExt cx="944043" cy="1009918"/>
          </a:xfrm>
        </p:grpSpPr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B6250033-178E-8864-9BCA-B7BF42C4FE8A}"/>
                </a:ext>
              </a:extLst>
            </p:cNvPr>
            <p:cNvSpPr/>
            <p:nvPr/>
          </p:nvSpPr>
          <p:spPr>
            <a:xfrm>
              <a:off x="12392441" y="2482450"/>
              <a:ext cx="944043" cy="1009918"/>
            </a:xfrm>
            <a:custGeom>
              <a:avLst/>
              <a:gdLst>
                <a:gd name="connsiteX0" fmla="*/ 795834 w 944043"/>
                <a:gd name="connsiteY0" fmla="*/ 1009881 h 1009918"/>
                <a:gd name="connsiteX1" fmla="*/ 784309 w 944043"/>
                <a:gd name="connsiteY1" fmla="*/ 1001023 h 1009918"/>
                <a:gd name="connsiteX2" fmla="*/ 807264 w 944043"/>
                <a:gd name="connsiteY2" fmla="*/ 670315 h 1009918"/>
                <a:gd name="connsiteX3" fmla="*/ 912992 w 944043"/>
                <a:gd name="connsiteY3" fmla="*/ 290649 h 1009918"/>
                <a:gd name="connsiteX4" fmla="*/ 757449 w 944043"/>
                <a:gd name="connsiteY4" fmla="*/ 92529 h 1009918"/>
                <a:gd name="connsiteX5" fmla="*/ 307202 w 944043"/>
                <a:gd name="connsiteY5" fmla="*/ 81765 h 1009918"/>
                <a:gd name="connsiteX6" fmla="*/ 153754 w 944043"/>
                <a:gd name="connsiteY6" fmla="*/ 301602 h 1009918"/>
                <a:gd name="connsiteX7" fmla="*/ 158993 w 944043"/>
                <a:gd name="connsiteY7" fmla="*/ 439143 h 1009918"/>
                <a:gd name="connsiteX8" fmla="*/ 156040 w 944043"/>
                <a:gd name="connsiteY8" fmla="*/ 449145 h 1009918"/>
                <a:gd name="connsiteX9" fmla="*/ 24024 w 944043"/>
                <a:gd name="connsiteY9" fmla="*/ 594020 h 1009918"/>
                <a:gd name="connsiteX10" fmla="*/ 24786 w 944043"/>
                <a:gd name="connsiteY10" fmla="*/ 607545 h 1009918"/>
                <a:gd name="connsiteX11" fmla="*/ 118416 w 944043"/>
                <a:gd name="connsiteY11" fmla="*/ 627453 h 1009918"/>
                <a:gd name="connsiteX12" fmla="*/ 131180 w 944043"/>
                <a:gd name="connsiteY12" fmla="*/ 634120 h 1009918"/>
                <a:gd name="connsiteX13" fmla="*/ 153373 w 944043"/>
                <a:gd name="connsiteY13" fmla="*/ 813571 h 1009918"/>
                <a:gd name="connsiteX14" fmla="*/ 152706 w 944043"/>
                <a:gd name="connsiteY14" fmla="*/ 815476 h 1009918"/>
                <a:gd name="connsiteX15" fmla="*/ 153754 w 944043"/>
                <a:gd name="connsiteY15" fmla="*/ 879198 h 1009918"/>
                <a:gd name="connsiteX16" fmla="*/ 253005 w 944043"/>
                <a:gd name="connsiteY16" fmla="*/ 905773 h 1009918"/>
                <a:gd name="connsiteX17" fmla="*/ 370257 w 944043"/>
                <a:gd name="connsiteY17" fmla="*/ 884532 h 1009918"/>
                <a:gd name="connsiteX18" fmla="*/ 383211 w 944043"/>
                <a:gd name="connsiteY18" fmla="*/ 891295 h 1009918"/>
                <a:gd name="connsiteX19" fmla="*/ 410929 w 944043"/>
                <a:gd name="connsiteY19" fmla="*/ 999975 h 1009918"/>
                <a:gd name="connsiteX20" fmla="*/ 397213 w 944043"/>
                <a:gd name="connsiteY20" fmla="*/ 1009786 h 1009918"/>
                <a:gd name="connsiteX21" fmla="*/ 387402 w 944043"/>
                <a:gd name="connsiteY21" fmla="*/ 996070 h 1009918"/>
                <a:gd name="connsiteX22" fmla="*/ 365209 w 944043"/>
                <a:gd name="connsiteY22" fmla="*/ 909678 h 1009918"/>
                <a:gd name="connsiteX23" fmla="*/ 256529 w 944043"/>
                <a:gd name="connsiteY23" fmla="*/ 929395 h 1009918"/>
                <a:gd name="connsiteX24" fmla="*/ 255195 w 944043"/>
                <a:gd name="connsiteY24" fmla="*/ 929586 h 1009918"/>
                <a:gd name="connsiteX25" fmla="*/ 134133 w 944043"/>
                <a:gd name="connsiteY25" fmla="*/ 892724 h 1009918"/>
                <a:gd name="connsiteX26" fmla="*/ 130608 w 944043"/>
                <a:gd name="connsiteY26" fmla="*/ 806713 h 1009918"/>
                <a:gd name="connsiteX27" fmla="*/ 113082 w 944043"/>
                <a:gd name="connsiteY27" fmla="*/ 652313 h 1009918"/>
                <a:gd name="connsiteX28" fmla="*/ 5545 w 944043"/>
                <a:gd name="connsiteY28" fmla="*/ 622976 h 1009918"/>
                <a:gd name="connsiteX29" fmla="*/ 1354 w 944043"/>
                <a:gd name="connsiteY29" fmla="*/ 614499 h 1009918"/>
                <a:gd name="connsiteX30" fmla="*/ 21 w 944043"/>
                <a:gd name="connsiteY30" fmla="*/ 590400 h 1009918"/>
                <a:gd name="connsiteX31" fmla="*/ 3069 w 944043"/>
                <a:gd name="connsiteY31" fmla="*/ 581733 h 1009918"/>
                <a:gd name="connsiteX32" fmla="*/ 134609 w 944043"/>
                <a:gd name="connsiteY32" fmla="*/ 437238 h 1009918"/>
                <a:gd name="connsiteX33" fmla="*/ 129942 w 944043"/>
                <a:gd name="connsiteY33" fmla="*/ 301888 h 1009918"/>
                <a:gd name="connsiteX34" fmla="*/ 295296 w 944043"/>
                <a:gd name="connsiteY34" fmla="*/ 61096 h 1009918"/>
                <a:gd name="connsiteX35" fmla="*/ 769926 w 944043"/>
                <a:gd name="connsiteY35" fmla="*/ 72240 h 1009918"/>
                <a:gd name="connsiteX36" fmla="*/ 936138 w 944043"/>
                <a:gd name="connsiteY36" fmla="*/ 285315 h 1009918"/>
                <a:gd name="connsiteX37" fmla="*/ 827267 w 944043"/>
                <a:gd name="connsiteY37" fmla="*/ 683079 h 1009918"/>
                <a:gd name="connsiteX38" fmla="*/ 807264 w 944043"/>
                <a:gd name="connsiteY38" fmla="*/ 994927 h 1009918"/>
                <a:gd name="connsiteX39" fmla="*/ 798787 w 944043"/>
                <a:gd name="connsiteY39" fmla="*/ 1009500 h 1009918"/>
                <a:gd name="connsiteX40" fmla="*/ 795739 w 944043"/>
                <a:gd name="connsiteY40" fmla="*/ 1009881 h 100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44043" h="1009918">
                  <a:moveTo>
                    <a:pt x="795834" y="1009881"/>
                  </a:moveTo>
                  <a:cubicBezTo>
                    <a:pt x="790596" y="1009881"/>
                    <a:pt x="785738" y="1006357"/>
                    <a:pt x="784309" y="1001023"/>
                  </a:cubicBezTo>
                  <a:cubicBezTo>
                    <a:pt x="782023" y="992546"/>
                    <a:pt x="730302" y="791092"/>
                    <a:pt x="807264" y="670315"/>
                  </a:cubicBezTo>
                  <a:cubicBezTo>
                    <a:pt x="902610" y="520677"/>
                    <a:pt x="937185" y="396471"/>
                    <a:pt x="912992" y="290649"/>
                  </a:cubicBezTo>
                  <a:cubicBezTo>
                    <a:pt x="894894" y="211686"/>
                    <a:pt x="842602" y="145011"/>
                    <a:pt x="757449" y="92529"/>
                  </a:cubicBezTo>
                  <a:cubicBezTo>
                    <a:pt x="615717" y="4994"/>
                    <a:pt x="447410" y="993"/>
                    <a:pt x="307202" y="81765"/>
                  </a:cubicBezTo>
                  <a:cubicBezTo>
                    <a:pt x="211761" y="136725"/>
                    <a:pt x="151563" y="223021"/>
                    <a:pt x="153754" y="301602"/>
                  </a:cubicBezTo>
                  <a:cubicBezTo>
                    <a:pt x="153754" y="303031"/>
                    <a:pt x="153754" y="408378"/>
                    <a:pt x="158993" y="439143"/>
                  </a:cubicBezTo>
                  <a:cubicBezTo>
                    <a:pt x="159564" y="442763"/>
                    <a:pt x="158517" y="446382"/>
                    <a:pt x="156040" y="449145"/>
                  </a:cubicBezTo>
                  <a:lnTo>
                    <a:pt x="24024" y="594020"/>
                  </a:lnTo>
                  <a:lnTo>
                    <a:pt x="24786" y="607545"/>
                  </a:lnTo>
                  <a:cubicBezTo>
                    <a:pt x="36120" y="615261"/>
                    <a:pt x="71077" y="635454"/>
                    <a:pt x="118416" y="627453"/>
                  </a:cubicBezTo>
                  <a:cubicBezTo>
                    <a:pt x="123560" y="626691"/>
                    <a:pt x="128894" y="629262"/>
                    <a:pt x="131180" y="634120"/>
                  </a:cubicBezTo>
                  <a:cubicBezTo>
                    <a:pt x="132990" y="638025"/>
                    <a:pt x="175662" y="730037"/>
                    <a:pt x="153373" y="813571"/>
                  </a:cubicBezTo>
                  <a:cubicBezTo>
                    <a:pt x="153183" y="814238"/>
                    <a:pt x="152992" y="814809"/>
                    <a:pt x="152706" y="815476"/>
                  </a:cubicBezTo>
                  <a:cubicBezTo>
                    <a:pt x="152516" y="815857"/>
                    <a:pt x="135942" y="853576"/>
                    <a:pt x="153754" y="879198"/>
                  </a:cubicBezTo>
                  <a:cubicBezTo>
                    <a:pt x="168042" y="899772"/>
                    <a:pt x="202236" y="908916"/>
                    <a:pt x="253005" y="905773"/>
                  </a:cubicBezTo>
                  <a:lnTo>
                    <a:pt x="370257" y="884532"/>
                  </a:lnTo>
                  <a:cubicBezTo>
                    <a:pt x="375591" y="883580"/>
                    <a:pt x="380925" y="886342"/>
                    <a:pt x="383211" y="891295"/>
                  </a:cubicBezTo>
                  <a:cubicBezTo>
                    <a:pt x="386640" y="898725"/>
                    <a:pt x="416739" y="965209"/>
                    <a:pt x="410929" y="999975"/>
                  </a:cubicBezTo>
                  <a:cubicBezTo>
                    <a:pt x="409786" y="1006452"/>
                    <a:pt x="403785" y="1010739"/>
                    <a:pt x="397213" y="1009786"/>
                  </a:cubicBezTo>
                  <a:cubicBezTo>
                    <a:pt x="390736" y="1008738"/>
                    <a:pt x="386355" y="1002547"/>
                    <a:pt x="387402" y="996070"/>
                  </a:cubicBezTo>
                  <a:cubicBezTo>
                    <a:pt x="390831" y="975687"/>
                    <a:pt x="374925" y="932538"/>
                    <a:pt x="365209" y="909678"/>
                  </a:cubicBezTo>
                  <a:lnTo>
                    <a:pt x="256529" y="929395"/>
                  </a:lnTo>
                  <a:cubicBezTo>
                    <a:pt x="256529" y="929395"/>
                    <a:pt x="255576" y="929490"/>
                    <a:pt x="255195" y="929586"/>
                  </a:cubicBezTo>
                  <a:cubicBezTo>
                    <a:pt x="194426" y="933586"/>
                    <a:pt x="153659" y="921108"/>
                    <a:pt x="134133" y="892724"/>
                  </a:cubicBezTo>
                  <a:cubicBezTo>
                    <a:pt x="110415" y="858339"/>
                    <a:pt x="127465" y="814143"/>
                    <a:pt x="130608" y="806713"/>
                  </a:cubicBezTo>
                  <a:cubicBezTo>
                    <a:pt x="146706" y="745086"/>
                    <a:pt x="122417" y="675459"/>
                    <a:pt x="113082" y="652313"/>
                  </a:cubicBezTo>
                  <a:cubicBezTo>
                    <a:pt x="49360" y="659076"/>
                    <a:pt x="7450" y="624500"/>
                    <a:pt x="5545" y="622976"/>
                  </a:cubicBezTo>
                  <a:cubicBezTo>
                    <a:pt x="3069" y="620880"/>
                    <a:pt x="1545" y="617832"/>
                    <a:pt x="1354" y="614499"/>
                  </a:cubicBezTo>
                  <a:lnTo>
                    <a:pt x="21" y="590400"/>
                  </a:lnTo>
                  <a:cubicBezTo>
                    <a:pt x="-170" y="587257"/>
                    <a:pt x="973" y="584114"/>
                    <a:pt x="3069" y="581733"/>
                  </a:cubicBezTo>
                  <a:lnTo>
                    <a:pt x="134609" y="437238"/>
                  </a:lnTo>
                  <a:cubicBezTo>
                    <a:pt x="129942" y="399519"/>
                    <a:pt x="129942" y="306079"/>
                    <a:pt x="129942" y="301888"/>
                  </a:cubicBezTo>
                  <a:cubicBezTo>
                    <a:pt x="127465" y="213687"/>
                    <a:pt x="190806" y="121294"/>
                    <a:pt x="295296" y="61096"/>
                  </a:cubicBezTo>
                  <a:cubicBezTo>
                    <a:pt x="443219" y="-24153"/>
                    <a:pt x="620670" y="-19962"/>
                    <a:pt x="769926" y="72240"/>
                  </a:cubicBezTo>
                  <a:cubicBezTo>
                    <a:pt x="860700" y="128247"/>
                    <a:pt x="916611" y="199971"/>
                    <a:pt x="936138" y="285315"/>
                  </a:cubicBezTo>
                  <a:cubicBezTo>
                    <a:pt x="974333" y="452193"/>
                    <a:pt x="863652" y="625929"/>
                    <a:pt x="827267" y="683079"/>
                  </a:cubicBezTo>
                  <a:cubicBezTo>
                    <a:pt x="755829" y="795188"/>
                    <a:pt x="806788" y="992927"/>
                    <a:pt x="807264" y="994927"/>
                  </a:cubicBezTo>
                  <a:cubicBezTo>
                    <a:pt x="808979" y="1001309"/>
                    <a:pt x="805169" y="1007786"/>
                    <a:pt x="798787" y="1009500"/>
                  </a:cubicBezTo>
                  <a:cubicBezTo>
                    <a:pt x="797739" y="1009786"/>
                    <a:pt x="796787" y="1009881"/>
                    <a:pt x="795739" y="10098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11731D84-311F-B87B-1B06-50C4F553F8B1}"/>
                </a:ext>
              </a:extLst>
            </p:cNvPr>
            <p:cNvSpPr/>
            <p:nvPr/>
          </p:nvSpPr>
          <p:spPr>
            <a:xfrm>
              <a:off x="12751571" y="2721496"/>
              <a:ext cx="326213" cy="458415"/>
            </a:xfrm>
            <a:custGeom>
              <a:avLst/>
              <a:gdLst>
                <a:gd name="connsiteX0" fmla="*/ 219058 w 326213"/>
                <a:gd name="connsiteY0" fmla="*/ 458321 h 458415"/>
                <a:gd name="connsiteX1" fmla="*/ 109520 w 326213"/>
                <a:gd name="connsiteY1" fmla="*/ 458321 h 458415"/>
                <a:gd name="connsiteX2" fmla="*/ 78564 w 326213"/>
                <a:gd name="connsiteY2" fmla="*/ 427364 h 458415"/>
                <a:gd name="connsiteX3" fmla="*/ 78564 w 326213"/>
                <a:gd name="connsiteY3" fmla="*/ 312683 h 458415"/>
                <a:gd name="connsiteX4" fmla="*/ 70182 w 326213"/>
                <a:gd name="connsiteY4" fmla="*/ 297158 h 458415"/>
                <a:gd name="connsiteX5" fmla="*/ 173 w 326213"/>
                <a:gd name="connsiteY5" fmla="*/ 155521 h 458415"/>
                <a:gd name="connsiteX6" fmla="*/ 155431 w 326213"/>
                <a:gd name="connsiteY6" fmla="*/ 168 h 458415"/>
                <a:gd name="connsiteX7" fmla="*/ 275731 w 326213"/>
                <a:gd name="connsiteY7" fmla="*/ 45126 h 458415"/>
                <a:gd name="connsiteX8" fmla="*/ 326214 w 326213"/>
                <a:gd name="connsiteY8" fmla="*/ 163141 h 458415"/>
                <a:gd name="connsiteX9" fmla="*/ 257634 w 326213"/>
                <a:gd name="connsiteY9" fmla="*/ 296015 h 458415"/>
                <a:gd name="connsiteX10" fmla="*/ 247633 w 326213"/>
                <a:gd name="connsiteY10" fmla="*/ 314493 h 458415"/>
                <a:gd name="connsiteX11" fmla="*/ 247633 w 326213"/>
                <a:gd name="connsiteY11" fmla="*/ 429841 h 458415"/>
                <a:gd name="connsiteX12" fmla="*/ 219058 w 326213"/>
                <a:gd name="connsiteY12" fmla="*/ 458416 h 458415"/>
                <a:gd name="connsiteX13" fmla="*/ 163146 w 326213"/>
                <a:gd name="connsiteY13" fmla="*/ 23790 h 458415"/>
                <a:gd name="connsiteX14" fmla="*/ 156478 w 326213"/>
                <a:gd name="connsiteY14" fmla="*/ 23981 h 458415"/>
                <a:gd name="connsiteX15" fmla="*/ 23890 w 326213"/>
                <a:gd name="connsiteY15" fmla="*/ 156664 h 458415"/>
                <a:gd name="connsiteX16" fmla="*/ 83707 w 326213"/>
                <a:gd name="connsiteY16" fmla="*/ 277631 h 458415"/>
                <a:gd name="connsiteX17" fmla="*/ 102376 w 326213"/>
                <a:gd name="connsiteY17" fmla="*/ 312779 h 458415"/>
                <a:gd name="connsiteX18" fmla="*/ 102376 w 326213"/>
                <a:gd name="connsiteY18" fmla="*/ 427460 h 458415"/>
                <a:gd name="connsiteX19" fmla="*/ 109520 w 326213"/>
                <a:gd name="connsiteY19" fmla="*/ 434603 h 458415"/>
                <a:gd name="connsiteX20" fmla="*/ 219058 w 326213"/>
                <a:gd name="connsiteY20" fmla="*/ 434603 h 458415"/>
                <a:gd name="connsiteX21" fmla="*/ 223820 w 326213"/>
                <a:gd name="connsiteY21" fmla="*/ 429841 h 458415"/>
                <a:gd name="connsiteX22" fmla="*/ 223820 w 326213"/>
                <a:gd name="connsiteY22" fmla="*/ 314493 h 458415"/>
                <a:gd name="connsiteX23" fmla="*/ 243823 w 326213"/>
                <a:gd name="connsiteY23" fmla="*/ 276679 h 458415"/>
                <a:gd name="connsiteX24" fmla="*/ 302401 w 326213"/>
                <a:gd name="connsiteY24" fmla="*/ 163141 h 458415"/>
                <a:gd name="connsiteX25" fmla="*/ 259253 w 326213"/>
                <a:gd name="connsiteY25" fmla="*/ 62366 h 458415"/>
                <a:gd name="connsiteX26" fmla="*/ 163146 w 326213"/>
                <a:gd name="connsiteY26" fmla="*/ 23790 h 45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26213" h="458415">
                  <a:moveTo>
                    <a:pt x="219058" y="458321"/>
                  </a:moveTo>
                  <a:lnTo>
                    <a:pt x="109520" y="458321"/>
                  </a:lnTo>
                  <a:cubicBezTo>
                    <a:pt x="92470" y="458321"/>
                    <a:pt x="78564" y="444414"/>
                    <a:pt x="78564" y="427364"/>
                  </a:cubicBezTo>
                  <a:lnTo>
                    <a:pt x="78564" y="312683"/>
                  </a:lnTo>
                  <a:cubicBezTo>
                    <a:pt x="78564" y="306587"/>
                    <a:pt x="75421" y="300777"/>
                    <a:pt x="70182" y="297158"/>
                  </a:cubicBezTo>
                  <a:cubicBezTo>
                    <a:pt x="23795" y="264963"/>
                    <a:pt x="-2399" y="212004"/>
                    <a:pt x="173" y="155521"/>
                  </a:cubicBezTo>
                  <a:cubicBezTo>
                    <a:pt x="3983" y="72177"/>
                    <a:pt x="72182" y="3978"/>
                    <a:pt x="155431" y="168"/>
                  </a:cubicBezTo>
                  <a:cubicBezTo>
                    <a:pt x="200579" y="-1832"/>
                    <a:pt x="243251" y="14075"/>
                    <a:pt x="275731" y="45126"/>
                  </a:cubicBezTo>
                  <a:cubicBezTo>
                    <a:pt x="308307" y="76178"/>
                    <a:pt x="326214" y="118088"/>
                    <a:pt x="326214" y="163141"/>
                  </a:cubicBezTo>
                  <a:cubicBezTo>
                    <a:pt x="326214" y="215719"/>
                    <a:pt x="300592" y="265439"/>
                    <a:pt x="257634" y="296015"/>
                  </a:cubicBezTo>
                  <a:cubicBezTo>
                    <a:pt x="251252" y="300587"/>
                    <a:pt x="247633" y="307254"/>
                    <a:pt x="247633" y="314493"/>
                  </a:cubicBezTo>
                  <a:lnTo>
                    <a:pt x="247633" y="429841"/>
                  </a:lnTo>
                  <a:cubicBezTo>
                    <a:pt x="247633" y="445557"/>
                    <a:pt x="234774" y="458416"/>
                    <a:pt x="219058" y="458416"/>
                  </a:cubicBezTo>
                  <a:close/>
                  <a:moveTo>
                    <a:pt x="163146" y="23790"/>
                  </a:moveTo>
                  <a:cubicBezTo>
                    <a:pt x="160955" y="23790"/>
                    <a:pt x="158764" y="23790"/>
                    <a:pt x="156478" y="23981"/>
                  </a:cubicBezTo>
                  <a:cubicBezTo>
                    <a:pt x="85327" y="27219"/>
                    <a:pt x="27129" y="85512"/>
                    <a:pt x="23890" y="156664"/>
                  </a:cubicBezTo>
                  <a:cubicBezTo>
                    <a:pt x="21700" y="204860"/>
                    <a:pt x="44083" y="250104"/>
                    <a:pt x="83707" y="277631"/>
                  </a:cubicBezTo>
                  <a:cubicBezTo>
                    <a:pt x="95423" y="285728"/>
                    <a:pt x="102376" y="298872"/>
                    <a:pt x="102376" y="312779"/>
                  </a:cubicBezTo>
                  <a:lnTo>
                    <a:pt x="102376" y="427460"/>
                  </a:lnTo>
                  <a:cubicBezTo>
                    <a:pt x="102376" y="431365"/>
                    <a:pt x="105615" y="434603"/>
                    <a:pt x="109520" y="434603"/>
                  </a:cubicBezTo>
                  <a:lnTo>
                    <a:pt x="219058" y="434603"/>
                  </a:lnTo>
                  <a:cubicBezTo>
                    <a:pt x="221725" y="434603"/>
                    <a:pt x="223820" y="432508"/>
                    <a:pt x="223820" y="429841"/>
                  </a:cubicBezTo>
                  <a:lnTo>
                    <a:pt x="223820" y="314493"/>
                  </a:lnTo>
                  <a:cubicBezTo>
                    <a:pt x="223820" y="299729"/>
                    <a:pt x="231345" y="285537"/>
                    <a:pt x="243823" y="276679"/>
                  </a:cubicBezTo>
                  <a:cubicBezTo>
                    <a:pt x="280494" y="250580"/>
                    <a:pt x="302401" y="208099"/>
                    <a:pt x="302401" y="163141"/>
                  </a:cubicBezTo>
                  <a:cubicBezTo>
                    <a:pt x="302401" y="124755"/>
                    <a:pt x="287066" y="88941"/>
                    <a:pt x="259253" y="62366"/>
                  </a:cubicBezTo>
                  <a:cubicBezTo>
                    <a:pt x="233059" y="37411"/>
                    <a:pt x="199151" y="23790"/>
                    <a:pt x="163146" y="2379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349D4ECE-CFE1-3F22-9920-252F76F359A6}"/>
                </a:ext>
              </a:extLst>
            </p:cNvPr>
            <p:cNvSpPr/>
            <p:nvPr/>
          </p:nvSpPr>
          <p:spPr>
            <a:xfrm>
              <a:off x="12842154" y="3159061"/>
              <a:ext cx="145229" cy="71047"/>
            </a:xfrm>
            <a:custGeom>
              <a:avLst/>
              <a:gdLst>
                <a:gd name="connsiteX0" fmla="*/ 72468 w 145229"/>
                <a:gd name="connsiteY0" fmla="*/ 71048 h 71047"/>
                <a:gd name="connsiteX1" fmla="*/ 459 w 145229"/>
                <a:gd name="connsiteY1" fmla="*/ 16565 h 71047"/>
                <a:gd name="connsiteX2" fmla="*/ 8650 w 145229"/>
                <a:gd name="connsiteY2" fmla="*/ 1896 h 71047"/>
                <a:gd name="connsiteX3" fmla="*/ 23319 w 145229"/>
                <a:gd name="connsiteY3" fmla="*/ 10088 h 71047"/>
                <a:gd name="connsiteX4" fmla="*/ 72372 w 145229"/>
                <a:gd name="connsiteY4" fmla="*/ 47235 h 71047"/>
                <a:gd name="connsiteX5" fmla="*/ 121807 w 145229"/>
                <a:gd name="connsiteY5" fmla="*/ 8945 h 71047"/>
                <a:gd name="connsiteX6" fmla="*/ 136285 w 145229"/>
                <a:gd name="connsiteY6" fmla="*/ 372 h 71047"/>
                <a:gd name="connsiteX7" fmla="*/ 144858 w 145229"/>
                <a:gd name="connsiteY7" fmla="*/ 14850 h 71047"/>
                <a:gd name="connsiteX8" fmla="*/ 72372 w 145229"/>
                <a:gd name="connsiteY8" fmla="*/ 71048 h 71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229" h="71047">
                  <a:moveTo>
                    <a:pt x="72468" y="71048"/>
                  </a:moveTo>
                  <a:cubicBezTo>
                    <a:pt x="39130" y="71048"/>
                    <a:pt x="9507" y="48664"/>
                    <a:pt x="459" y="16565"/>
                  </a:cubicBezTo>
                  <a:cubicBezTo>
                    <a:pt x="-1351" y="10278"/>
                    <a:pt x="2364" y="3706"/>
                    <a:pt x="8650" y="1896"/>
                  </a:cubicBezTo>
                  <a:cubicBezTo>
                    <a:pt x="14937" y="87"/>
                    <a:pt x="21509" y="3801"/>
                    <a:pt x="23319" y="10088"/>
                  </a:cubicBezTo>
                  <a:cubicBezTo>
                    <a:pt x="29510" y="31900"/>
                    <a:pt x="49703" y="47235"/>
                    <a:pt x="72372" y="47235"/>
                  </a:cubicBezTo>
                  <a:cubicBezTo>
                    <a:pt x="95042" y="47235"/>
                    <a:pt x="115997" y="31519"/>
                    <a:pt x="121807" y="8945"/>
                  </a:cubicBezTo>
                  <a:cubicBezTo>
                    <a:pt x="123426" y="2563"/>
                    <a:pt x="129903" y="-1247"/>
                    <a:pt x="136285" y="372"/>
                  </a:cubicBezTo>
                  <a:cubicBezTo>
                    <a:pt x="142667" y="1992"/>
                    <a:pt x="146477" y="8469"/>
                    <a:pt x="144858" y="14850"/>
                  </a:cubicBezTo>
                  <a:cubicBezTo>
                    <a:pt x="136380" y="47997"/>
                    <a:pt x="106567" y="71048"/>
                    <a:pt x="72372" y="7104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2FE5ECB8-36DF-6B71-B85A-89C2CAFE3B18}"/>
                </a:ext>
              </a:extLst>
            </p:cNvPr>
            <p:cNvSpPr/>
            <p:nvPr/>
          </p:nvSpPr>
          <p:spPr>
            <a:xfrm>
              <a:off x="12830198" y="3104419"/>
              <a:ext cx="169038" cy="45298"/>
            </a:xfrm>
            <a:custGeom>
              <a:avLst/>
              <a:gdLst>
                <a:gd name="connsiteX0" fmla="*/ 157100 w 169038"/>
                <a:gd name="connsiteY0" fmla="*/ 45203 h 45298"/>
                <a:gd name="connsiteX1" fmla="*/ 155385 w 169038"/>
                <a:gd name="connsiteY1" fmla="*/ 45108 h 45298"/>
                <a:gd name="connsiteX2" fmla="*/ 10129 w 169038"/>
                <a:gd name="connsiteY2" fmla="*/ 23676 h 45298"/>
                <a:gd name="connsiteX3" fmla="*/ 128 w 169038"/>
                <a:gd name="connsiteY3" fmla="*/ 10151 h 45298"/>
                <a:gd name="connsiteX4" fmla="*/ 13653 w 169038"/>
                <a:gd name="connsiteY4" fmla="*/ 150 h 45298"/>
                <a:gd name="connsiteX5" fmla="*/ 158910 w 169038"/>
                <a:gd name="connsiteY5" fmla="*/ 21581 h 45298"/>
                <a:gd name="connsiteX6" fmla="*/ 168911 w 169038"/>
                <a:gd name="connsiteY6" fmla="*/ 35106 h 45298"/>
                <a:gd name="connsiteX7" fmla="*/ 157195 w 169038"/>
                <a:gd name="connsiteY7" fmla="*/ 45298 h 45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038" h="45298">
                  <a:moveTo>
                    <a:pt x="157100" y="45203"/>
                  </a:moveTo>
                  <a:cubicBezTo>
                    <a:pt x="156528" y="45203"/>
                    <a:pt x="155957" y="45203"/>
                    <a:pt x="155385" y="45108"/>
                  </a:cubicBezTo>
                  <a:lnTo>
                    <a:pt x="10129" y="23676"/>
                  </a:lnTo>
                  <a:cubicBezTo>
                    <a:pt x="3652" y="22724"/>
                    <a:pt x="-825" y="16628"/>
                    <a:pt x="128" y="10151"/>
                  </a:cubicBezTo>
                  <a:cubicBezTo>
                    <a:pt x="1080" y="3674"/>
                    <a:pt x="7176" y="-898"/>
                    <a:pt x="13653" y="150"/>
                  </a:cubicBezTo>
                  <a:lnTo>
                    <a:pt x="158910" y="21581"/>
                  </a:lnTo>
                  <a:cubicBezTo>
                    <a:pt x="165387" y="22533"/>
                    <a:pt x="169863" y="28629"/>
                    <a:pt x="168911" y="35106"/>
                  </a:cubicBezTo>
                  <a:cubicBezTo>
                    <a:pt x="168054" y="41012"/>
                    <a:pt x="163005" y="45298"/>
                    <a:pt x="157195" y="4529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7245EF32-6ABE-C3F5-0E52-F13111E3E271}"/>
                </a:ext>
              </a:extLst>
            </p:cNvPr>
            <p:cNvSpPr/>
            <p:nvPr/>
          </p:nvSpPr>
          <p:spPr>
            <a:xfrm>
              <a:off x="12830198" y="3066319"/>
              <a:ext cx="169038" cy="45298"/>
            </a:xfrm>
            <a:custGeom>
              <a:avLst/>
              <a:gdLst>
                <a:gd name="connsiteX0" fmla="*/ 157100 w 169038"/>
                <a:gd name="connsiteY0" fmla="*/ 45203 h 45298"/>
                <a:gd name="connsiteX1" fmla="*/ 155385 w 169038"/>
                <a:gd name="connsiteY1" fmla="*/ 45108 h 45298"/>
                <a:gd name="connsiteX2" fmla="*/ 10129 w 169038"/>
                <a:gd name="connsiteY2" fmla="*/ 23676 h 45298"/>
                <a:gd name="connsiteX3" fmla="*/ 128 w 169038"/>
                <a:gd name="connsiteY3" fmla="*/ 10151 h 45298"/>
                <a:gd name="connsiteX4" fmla="*/ 13653 w 169038"/>
                <a:gd name="connsiteY4" fmla="*/ 150 h 45298"/>
                <a:gd name="connsiteX5" fmla="*/ 158910 w 169038"/>
                <a:gd name="connsiteY5" fmla="*/ 21581 h 45298"/>
                <a:gd name="connsiteX6" fmla="*/ 168911 w 169038"/>
                <a:gd name="connsiteY6" fmla="*/ 35106 h 45298"/>
                <a:gd name="connsiteX7" fmla="*/ 157195 w 169038"/>
                <a:gd name="connsiteY7" fmla="*/ 45298 h 45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038" h="45298">
                  <a:moveTo>
                    <a:pt x="157100" y="45203"/>
                  </a:moveTo>
                  <a:cubicBezTo>
                    <a:pt x="156528" y="45203"/>
                    <a:pt x="155957" y="45203"/>
                    <a:pt x="155385" y="45108"/>
                  </a:cubicBezTo>
                  <a:lnTo>
                    <a:pt x="10129" y="23676"/>
                  </a:lnTo>
                  <a:cubicBezTo>
                    <a:pt x="3652" y="22724"/>
                    <a:pt x="-825" y="16628"/>
                    <a:pt x="128" y="10151"/>
                  </a:cubicBezTo>
                  <a:cubicBezTo>
                    <a:pt x="1080" y="3674"/>
                    <a:pt x="7176" y="-898"/>
                    <a:pt x="13653" y="150"/>
                  </a:cubicBezTo>
                  <a:lnTo>
                    <a:pt x="158910" y="21581"/>
                  </a:lnTo>
                  <a:cubicBezTo>
                    <a:pt x="165387" y="22533"/>
                    <a:pt x="169863" y="28629"/>
                    <a:pt x="168911" y="35106"/>
                  </a:cubicBezTo>
                  <a:cubicBezTo>
                    <a:pt x="168054" y="41012"/>
                    <a:pt x="163005" y="45298"/>
                    <a:pt x="157195" y="4529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8AD2B84A-E278-2270-7055-DC1FA1D6CDF7}"/>
                </a:ext>
              </a:extLst>
            </p:cNvPr>
            <p:cNvSpPr/>
            <p:nvPr/>
          </p:nvSpPr>
          <p:spPr>
            <a:xfrm>
              <a:off x="12830135" y="3036942"/>
              <a:ext cx="169068" cy="23812"/>
            </a:xfrm>
            <a:custGeom>
              <a:avLst/>
              <a:gdLst>
                <a:gd name="connsiteX0" fmla="*/ 157163 w 169068"/>
                <a:gd name="connsiteY0" fmla="*/ 23813 h 23812"/>
                <a:gd name="connsiteX1" fmla="*/ 11906 w 169068"/>
                <a:gd name="connsiteY1" fmla="*/ 23813 h 23812"/>
                <a:gd name="connsiteX2" fmla="*/ 0 w 169068"/>
                <a:gd name="connsiteY2" fmla="*/ 11906 h 23812"/>
                <a:gd name="connsiteX3" fmla="*/ 11906 w 169068"/>
                <a:gd name="connsiteY3" fmla="*/ 0 h 23812"/>
                <a:gd name="connsiteX4" fmla="*/ 157163 w 169068"/>
                <a:gd name="connsiteY4" fmla="*/ 0 h 23812"/>
                <a:gd name="connsiteX5" fmla="*/ 169069 w 169068"/>
                <a:gd name="connsiteY5" fmla="*/ 11906 h 23812"/>
                <a:gd name="connsiteX6" fmla="*/ 157163 w 169068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068" h="23812">
                  <a:moveTo>
                    <a:pt x="157163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157163" y="0"/>
                  </a:lnTo>
                  <a:cubicBezTo>
                    <a:pt x="163735" y="0"/>
                    <a:pt x="169069" y="5334"/>
                    <a:pt x="169069" y="11906"/>
                  </a:cubicBezTo>
                  <a:cubicBezTo>
                    <a:pt x="169069" y="18479"/>
                    <a:pt x="163735" y="23813"/>
                    <a:pt x="157163" y="23813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F57561C3-B591-FE34-4C6D-8110CE31FCCE}"/>
                </a:ext>
              </a:extLst>
            </p:cNvPr>
            <p:cNvSpPr/>
            <p:nvPr/>
          </p:nvSpPr>
          <p:spPr>
            <a:xfrm>
              <a:off x="12902716" y="2625843"/>
              <a:ext cx="23812" cy="74580"/>
            </a:xfrm>
            <a:custGeom>
              <a:avLst/>
              <a:gdLst>
                <a:gd name="connsiteX0" fmla="*/ 11906 w 23812"/>
                <a:gd name="connsiteY0" fmla="*/ 74581 h 74580"/>
                <a:gd name="connsiteX1" fmla="*/ 0 w 23812"/>
                <a:gd name="connsiteY1" fmla="*/ 62674 h 74580"/>
                <a:gd name="connsiteX2" fmla="*/ 0 w 23812"/>
                <a:gd name="connsiteY2" fmla="*/ 11906 h 74580"/>
                <a:gd name="connsiteX3" fmla="*/ 11906 w 23812"/>
                <a:gd name="connsiteY3" fmla="*/ 0 h 74580"/>
                <a:gd name="connsiteX4" fmla="*/ 23813 w 23812"/>
                <a:gd name="connsiteY4" fmla="*/ 11906 h 74580"/>
                <a:gd name="connsiteX5" fmla="*/ 23813 w 23812"/>
                <a:gd name="connsiteY5" fmla="*/ 62674 h 74580"/>
                <a:gd name="connsiteX6" fmla="*/ 11906 w 23812"/>
                <a:gd name="connsiteY6" fmla="*/ 74581 h 74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74580">
                  <a:moveTo>
                    <a:pt x="11906" y="74581"/>
                  </a:moveTo>
                  <a:cubicBezTo>
                    <a:pt x="5334" y="74581"/>
                    <a:pt x="0" y="69247"/>
                    <a:pt x="0" y="62674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8" y="0"/>
                    <a:pt x="23813" y="5334"/>
                    <a:pt x="23813" y="11906"/>
                  </a:cubicBezTo>
                  <a:lnTo>
                    <a:pt x="23813" y="62674"/>
                  </a:lnTo>
                  <a:cubicBezTo>
                    <a:pt x="23813" y="69247"/>
                    <a:pt x="18478" y="74581"/>
                    <a:pt x="11906" y="74581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0A2E68E2-5A4B-3134-E7FF-B3C819F501CB}"/>
                </a:ext>
              </a:extLst>
            </p:cNvPr>
            <p:cNvSpPr/>
            <p:nvPr/>
          </p:nvSpPr>
          <p:spPr>
            <a:xfrm>
              <a:off x="13107503" y="2875778"/>
              <a:ext cx="74580" cy="23812"/>
            </a:xfrm>
            <a:custGeom>
              <a:avLst/>
              <a:gdLst>
                <a:gd name="connsiteX0" fmla="*/ 62674 w 74580"/>
                <a:gd name="connsiteY0" fmla="*/ 23813 h 23812"/>
                <a:gd name="connsiteX1" fmla="*/ 11906 w 74580"/>
                <a:gd name="connsiteY1" fmla="*/ 23813 h 23812"/>
                <a:gd name="connsiteX2" fmla="*/ 0 w 74580"/>
                <a:gd name="connsiteY2" fmla="*/ 11906 h 23812"/>
                <a:gd name="connsiteX3" fmla="*/ 11906 w 74580"/>
                <a:gd name="connsiteY3" fmla="*/ 0 h 23812"/>
                <a:gd name="connsiteX4" fmla="*/ 62674 w 74580"/>
                <a:gd name="connsiteY4" fmla="*/ 0 h 23812"/>
                <a:gd name="connsiteX5" fmla="*/ 74581 w 74580"/>
                <a:gd name="connsiteY5" fmla="*/ 11906 h 23812"/>
                <a:gd name="connsiteX6" fmla="*/ 62674 w 74580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580" h="23812">
                  <a:moveTo>
                    <a:pt x="62674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62674" y="0"/>
                  </a:lnTo>
                  <a:cubicBezTo>
                    <a:pt x="69247" y="0"/>
                    <a:pt x="74581" y="5334"/>
                    <a:pt x="74581" y="11906"/>
                  </a:cubicBezTo>
                  <a:cubicBezTo>
                    <a:pt x="74581" y="18479"/>
                    <a:pt x="69247" y="23813"/>
                    <a:pt x="62674" y="238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6986AC29-F2DD-3FAA-692F-FDD3D6455874}"/>
                </a:ext>
              </a:extLst>
            </p:cNvPr>
            <p:cNvSpPr/>
            <p:nvPr/>
          </p:nvSpPr>
          <p:spPr>
            <a:xfrm>
              <a:off x="12642017" y="2875778"/>
              <a:ext cx="74580" cy="23812"/>
            </a:xfrm>
            <a:custGeom>
              <a:avLst/>
              <a:gdLst>
                <a:gd name="connsiteX0" fmla="*/ 62675 w 74580"/>
                <a:gd name="connsiteY0" fmla="*/ 23813 h 23812"/>
                <a:gd name="connsiteX1" fmla="*/ 11906 w 74580"/>
                <a:gd name="connsiteY1" fmla="*/ 23813 h 23812"/>
                <a:gd name="connsiteX2" fmla="*/ 0 w 74580"/>
                <a:gd name="connsiteY2" fmla="*/ 11906 h 23812"/>
                <a:gd name="connsiteX3" fmla="*/ 11906 w 74580"/>
                <a:gd name="connsiteY3" fmla="*/ 0 h 23812"/>
                <a:gd name="connsiteX4" fmla="*/ 62675 w 74580"/>
                <a:gd name="connsiteY4" fmla="*/ 0 h 23812"/>
                <a:gd name="connsiteX5" fmla="*/ 74581 w 74580"/>
                <a:gd name="connsiteY5" fmla="*/ 11906 h 23812"/>
                <a:gd name="connsiteX6" fmla="*/ 62675 w 74580"/>
                <a:gd name="connsiteY6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4580" h="23812">
                  <a:moveTo>
                    <a:pt x="62675" y="23813"/>
                  </a:moveTo>
                  <a:lnTo>
                    <a:pt x="11906" y="23813"/>
                  </a:lnTo>
                  <a:cubicBezTo>
                    <a:pt x="5334" y="23813"/>
                    <a:pt x="0" y="18479"/>
                    <a:pt x="0" y="11906"/>
                  </a:cubicBezTo>
                  <a:cubicBezTo>
                    <a:pt x="0" y="5334"/>
                    <a:pt x="5334" y="0"/>
                    <a:pt x="11906" y="0"/>
                  </a:cubicBezTo>
                  <a:lnTo>
                    <a:pt x="62675" y="0"/>
                  </a:lnTo>
                  <a:cubicBezTo>
                    <a:pt x="69247" y="0"/>
                    <a:pt x="74581" y="5334"/>
                    <a:pt x="74581" y="11906"/>
                  </a:cubicBezTo>
                  <a:cubicBezTo>
                    <a:pt x="74581" y="18479"/>
                    <a:pt x="69247" y="23813"/>
                    <a:pt x="62675" y="238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C4373D04-65B2-9B86-2C58-23A1097AC981}"/>
                </a:ext>
              </a:extLst>
            </p:cNvPr>
            <p:cNvSpPr/>
            <p:nvPr/>
          </p:nvSpPr>
          <p:spPr>
            <a:xfrm>
              <a:off x="13035994" y="2703400"/>
              <a:ext cx="59769" cy="59793"/>
            </a:xfrm>
            <a:custGeom>
              <a:avLst/>
              <a:gdLst>
                <a:gd name="connsiteX0" fmla="*/ 11882 w 59769"/>
                <a:gd name="connsiteY0" fmla="*/ 59793 h 59793"/>
                <a:gd name="connsiteX1" fmla="*/ 3500 w 59769"/>
                <a:gd name="connsiteY1" fmla="*/ 56269 h 59793"/>
                <a:gd name="connsiteX2" fmla="*/ 3500 w 59769"/>
                <a:gd name="connsiteY2" fmla="*/ 39410 h 59793"/>
                <a:gd name="connsiteX3" fmla="*/ 39410 w 59769"/>
                <a:gd name="connsiteY3" fmla="*/ 3500 h 59793"/>
                <a:gd name="connsiteX4" fmla="*/ 56269 w 59769"/>
                <a:gd name="connsiteY4" fmla="*/ 3500 h 59793"/>
                <a:gd name="connsiteX5" fmla="*/ 56269 w 59769"/>
                <a:gd name="connsiteY5" fmla="*/ 20360 h 59793"/>
                <a:gd name="connsiteX6" fmla="*/ 20360 w 59769"/>
                <a:gd name="connsiteY6" fmla="*/ 56269 h 59793"/>
                <a:gd name="connsiteX7" fmla="*/ 11978 w 59769"/>
                <a:gd name="connsiteY7" fmla="*/ 59793 h 5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69" h="59793">
                  <a:moveTo>
                    <a:pt x="11882" y="59793"/>
                  </a:moveTo>
                  <a:cubicBezTo>
                    <a:pt x="8834" y="59793"/>
                    <a:pt x="5786" y="58650"/>
                    <a:pt x="3500" y="56269"/>
                  </a:cubicBezTo>
                  <a:cubicBezTo>
                    <a:pt x="-1167" y="51602"/>
                    <a:pt x="-1167" y="44077"/>
                    <a:pt x="3500" y="39410"/>
                  </a:cubicBezTo>
                  <a:lnTo>
                    <a:pt x="39410" y="3500"/>
                  </a:lnTo>
                  <a:cubicBezTo>
                    <a:pt x="44077" y="-1167"/>
                    <a:pt x="51602" y="-1167"/>
                    <a:pt x="56269" y="3500"/>
                  </a:cubicBezTo>
                  <a:cubicBezTo>
                    <a:pt x="60936" y="8168"/>
                    <a:pt x="60936" y="15692"/>
                    <a:pt x="56269" y="20360"/>
                  </a:cubicBezTo>
                  <a:lnTo>
                    <a:pt x="20360" y="56269"/>
                  </a:lnTo>
                  <a:cubicBezTo>
                    <a:pt x="18074" y="58555"/>
                    <a:pt x="15026" y="59793"/>
                    <a:pt x="11978" y="597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AD424E26-F292-BCA6-7A88-7B6F9898D2EB}"/>
                </a:ext>
              </a:extLst>
            </p:cNvPr>
            <p:cNvSpPr/>
            <p:nvPr/>
          </p:nvSpPr>
          <p:spPr>
            <a:xfrm>
              <a:off x="12724622" y="2703400"/>
              <a:ext cx="59769" cy="59793"/>
            </a:xfrm>
            <a:custGeom>
              <a:avLst/>
              <a:gdLst>
                <a:gd name="connsiteX0" fmla="*/ 47792 w 59769"/>
                <a:gd name="connsiteY0" fmla="*/ 59793 h 59793"/>
                <a:gd name="connsiteX1" fmla="*/ 39410 w 59769"/>
                <a:gd name="connsiteY1" fmla="*/ 56269 h 59793"/>
                <a:gd name="connsiteX2" fmla="*/ 3500 w 59769"/>
                <a:gd name="connsiteY2" fmla="*/ 20360 h 59793"/>
                <a:gd name="connsiteX3" fmla="*/ 3500 w 59769"/>
                <a:gd name="connsiteY3" fmla="*/ 3500 h 59793"/>
                <a:gd name="connsiteX4" fmla="*/ 20360 w 59769"/>
                <a:gd name="connsiteY4" fmla="*/ 3500 h 59793"/>
                <a:gd name="connsiteX5" fmla="*/ 56269 w 59769"/>
                <a:gd name="connsiteY5" fmla="*/ 39410 h 59793"/>
                <a:gd name="connsiteX6" fmla="*/ 56269 w 59769"/>
                <a:gd name="connsiteY6" fmla="*/ 56269 h 59793"/>
                <a:gd name="connsiteX7" fmla="*/ 47887 w 59769"/>
                <a:gd name="connsiteY7" fmla="*/ 59793 h 5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69" h="59793">
                  <a:moveTo>
                    <a:pt x="47792" y="59793"/>
                  </a:moveTo>
                  <a:cubicBezTo>
                    <a:pt x="44744" y="59793"/>
                    <a:pt x="41696" y="58650"/>
                    <a:pt x="39410" y="56269"/>
                  </a:cubicBezTo>
                  <a:lnTo>
                    <a:pt x="3500" y="20360"/>
                  </a:lnTo>
                  <a:cubicBezTo>
                    <a:pt x="-1167" y="15692"/>
                    <a:pt x="-1167" y="8168"/>
                    <a:pt x="3500" y="3500"/>
                  </a:cubicBezTo>
                  <a:cubicBezTo>
                    <a:pt x="8168" y="-1167"/>
                    <a:pt x="15692" y="-1167"/>
                    <a:pt x="20360" y="3500"/>
                  </a:cubicBezTo>
                  <a:lnTo>
                    <a:pt x="56269" y="39410"/>
                  </a:lnTo>
                  <a:cubicBezTo>
                    <a:pt x="60936" y="44077"/>
                    <a:pt x="60936" y="51602"/>
                    <a:pt x="56269" y="56269"/>
                  </a:cubicBezTo>
                  <a:cubicBezTo>
                    <a:pt x="53983" y="58555"/>
                    <a:pt x="50935" y="59793"/>
                    <a:pt x="47887" y="597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A5A79963-EEA5-5CA0-B5F4-2A1CB3620D81}"/>
                </a:ext>
              </a:extLst>
            </p:cNvPr>
            <p:cNvSpPr/>
            <p:nvPr/>
          </p:nvSpPr>
          <p:spPr>
            <a:xfrm>
              <a:off x="13035994" y="3017725"/>
              <a:ext cx="59769" cy="59793"/>
            </a:xfrm>
            <a:custGeom>
              <a:avLst/>
              <a:gdLst>
                <a:gd name="connsiteX0" fmla="*/ 47792 w 59769"/>
                <a:gd name="connsiteY0" fmla="*/ 59793 h 59793"/>
                <a:gd name="connsiteX1" fmla="*/ 39410 w 59769"/>
                <a:gd name="connsiteY1" fmla="*/ 56269 h 59793"/>
                <a:gd name="connsiteX2" fmla="*/ 3500 w 59769"/>
                <a:gd name="connsiteY2" fmla="*/ 20360 h 59793"/>
                <a:gd name="connsiteX3" fmla="*/ 3500 w 59769"/>
                <a:gd name="connsiteY3" fmla="*/ 3500 h 59793"/>
                <a:gd name="connsiteX4" fmla="*/ 20360 w 59769"/>
                <a:gd name="connsiteY4" fmla="*/ 3500 h 59793"/>
                <a:gd name="connsiteX5" fmla="*/ 56269 w 59769"/>
                <a:gd name="connsiteY5" fmla="*/ 39410 h 59793"/>
                <a:gd name="connsiteX6" fmla="*/ 56269 w 59769"/>
                <a:gd name="connsiteY6" fmla="*/ 56269 h 59793"/>
                <a:gd name="connsiteX7" fmla="*/ 47887 w 59769"/>
                <a:gd name="connsiteY7" fmla="*/ 59793 h 5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69" h="59793">
                  <a:moveTo>
                    <a:pt x="47792" y="59793"/>
                  </a:moveTo>
                  <a:cubicBezTo>
                    <a:pt x="44744" y="59793"/>
                    <a:pt x="41696" y="58650"/>
                    <a:pt x="39410" y="56269"/>
                  </a:cubicBezTo>
                  <a:lnTo>
                    <a:pt x="3500" y="20360"/>
                  </a:lnTo>
                  <a:cubicBezTo>
                    <a:pt x="-1167" y="15692"/>
                    <a:pt x="-1167" y="8168"/>
                    <a:pt x="3500" y="3500"/>
                  </a:cubicBezTo>
                  <a:cubicBezTo>
                    <a:pt x="8168" y="-1167"/>
                    <a:pt x="15692" y="-1167"/>
                    <a:pt x="20360" y="3500"/>
                  </a:cubicBezTo>
                  <a:lnTo>
                    <a:pt x="56269" y="39410"/>
                  </a:lnTo>
                  <a:cubicBezTo>
                    <a:pt x="60936" y="44077"/>
                    <a:pt x="60936" y="51602"/>
                    <a:pt x="56269" y="56269"/>
                  </a:cubicBezTo>
                  <a:cubicBezTo>
                    <a:pt x="53983" y="58555"/>
                    <a:pt x="50935" y="59793"/>
                    <a:pt x="47887" y="597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FB67CCE2-4AA2-BFE4-A44F-CD06A607EAF2}"/>
                </a:ext>
              </a:extLst>
            </p:cNvPr>
            <p:cNvSpPr/>
            <p:nvPr/>
          </p:nvSpPr>
          <p:spPr>
            <a:xfrm>
              <a:off x="12724622" y="3017725"/>
              <a:ext cx="59769" cy="59793"/>
            </a:xfrm>
            <a:custGeom>
              <a:avLst/>
              <a:gdLst>
                <a:gd name="connsiteX0" fmla="*/ 11882 w 59769"/>
                <a:gd name="connsiteY0" fmla="*/ 59793 h 59793"/>
                <a:gd name="connsiteX1" fmla="*/ 3500 w 59769"/>
                <a:gd name="connsiteY1" fmla="*/ 56269 h 59793"/>
                <a:gd name="connsiteX2" fmla="*/ 3500 w 59769"/>
                <a:gd name="connsiteY2" fmla="*/ 39410 h 59793"/>
                <a:gd name="connsiteX3" fmla="*/ 39410 w 59769"/>
                <a:gd name="connsiteY3" fmla="*/ 3500 h 59793"/>
                <a:gd name="connsiteX4" fmla="*/ 56269 w 59769"/>
                <a:gd name="connsiteY4" fmla="*/ 3500 h 59793"/>
                <a:gd name="connsiteX5" fmla="*/ 56269 w 59769"/>
                <a:gd name="connsiteY5" fmla="*/ 20360 h 59793"/>
                <a:gd name="connsiteX6" fmla="*/ 20360 w 59769"/>
                <a:gd name="connsiteY6" fmla="*/ 56269 h 59793"/>
                <a:gd name="connsiteX7" fmla="*/ 11978 w 59769"/>
                <a:gd name="connsiteY7" fmla="*/ 59793 h 5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769" h="59793">
                  <a:moveTo>
                    <a:pt x="11882" y="59793"/>
                  </a:moveTo>
                  <a:cubicBezTo>
                    <a:pt x="8834" y="59793"/>
                    <a:pt x="5786" y="58650"/>
                    <a:pt x="3500" y="56269"/>
                  </a:cubicBezTo>
                  <a:cubicBezTo>
                    <a:pt x="-1167" y="51602"/>
                    <a:pt x="-1167" y="44077"/>
                    <a:pt x="3500" y="39410"/>
                  </a:cubicBezTo>
                  <a:lnTo>
                    <a:pt x="39410" y="3500"/>
                  </a:lnTo>
                  <a:cubicBezTo>
                    <a:pt x="44077" y="-1167"/>
                    <a:pt x="51602" y="-1167"/>
                    <a:pt x="56269" y="3500"/>
                  </a:cubicBezTo>
                  <a:cubicBezTo>
                    <a:pt x="60936" y="8168"/>
                    <a:pt x="60936" y="15692"/>
                    <a:pt x="56269" y="20360"/>
                  </a:cubicBezTo>
                  <a:lnTo>
                    <a:pt x="20360" y="56269"/>
                  </a:lnTo>
                  <a:cubicBezTo>
                    <a:pt x="18074" y="58555"/>
                    <a:pt x="15026" y="59793"/>
                    <a:pt x="11978" y="5979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43906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hink-cell data - do not delete" hidden="1">
            <a:extLst>
              <a:ext uri="{FF2B5EF4-FFF2-40B4-BE49-F238E27FC236}">
                <a16:creationId xmlns:a16="http://schemas.microsoft.com/office/drawing/2014/main" id="{FF650070-03D6-1214-83B5-3D3845F187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2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650070-03D6-1214-83B5-3D3845F18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62" name="Picture 14" descr="World premiere of the new battery electric Freightliner eCascadia | Daimler">
            <a:extLst>
              <a:ext uri="{FF2B5EF4-FFF2-40B4-BE49-F238E27FC236}">
                <a16:creationId xmlns:a16="http://schemas.microsoft.com/office/drawing/2014/main" id="{E58C1DB3-0A84-93AA-4599-129D100DE9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18" b="17146"/>
          <a:stretch/>
        </p:blipFill>
        <p:spPr bwMode="auto">
          <a:xfrm>
            <a:off x="-5332" y="-5"/>
            <a:ext cx="12197332" cy="6858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ight Triangle 8">
            <a:extLst>
              <a:ext uri="{FF2B5EF4-FFF2-40B4-BE49-F238E27FC236}">
                <a16:creationId xmlns:a16="http://schemas.microsoft.com/office/drawing/2014/main" id="{AED7DB22-B51A-423F-D4D8-DBF9F4D52C19}"/>
              </a:ext>
            </a:extLst>
          </p:cNvPr>
          <p:cNvSpPr/>
          <p:nvPr/>
        </p:nvSpPr>
        <p:spPr>
          <a:xfrm flipV="1">
            <a:off x="-1732" y="-2"/>
            <a:ext cx="12192000" cy="6858001"/>
          </a:xfrm>
          <a:prstGeom prst="rtTriangle">
            <a:avLst/>
          </a:prstGeom>
          <a:solidFill>
            <a:schemeClr val="tx2">
              <a:alpha val="71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7E60512D-E8D4-2C14-4282-F0857E60115F}"/>
              </a:ext>
            </a:extLst>
          </p:cNvPr>
          <p:cNvSpPr/>
          <p:nvPr/>
        </p:nvSpPr>
        <p:spPr>
          <a:xfrm flipH="1">
            <a:off x="0" y="-1"/>
            <a:ext cx="12192000" cy="6858001"/>
          </a:xfrm>
          <a:prstGeom prst="rtTriangle">
            <a:avLst/>
          </a:prstGeom>
          <a:solidFill>
            <a:schemeClr val="accent4">
              <a:alpha val="75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F2715E-FE58-E372-C28A-92812B6EAB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68F7A9D-AD44-BA8C-B42B-689643DBB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F7BE86-8587-EC27-8B7B-00FDF8FFE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4D780BD-A73A-569C-2299-C393542304D0}"/>
              </a:ext>
            </a:extLst>
          </p:cNvPr>
          <p:cNvSpPr txBox="1"/>
          <p:nvPr/>
        </p:nvSpPr>
        <p:spPr>
          <a:xfrm>
            <a:off x="1870788" y="2489987"/>
            <a:ext cx="3564379" cy="7638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2000" b="1">
                <a:solidFill>
                  <a:schemeClr val="bg1"/>
                </a:solidFill>
              </a:rPr>
              <a:t>Thermal</a:t>
            </a:r>
            <a:r>
              <a:rPr lang="en-US" sz="2000" b="1">
                <a:solidFill>
                  <a:schemeClr val="bg1"/>
                </a:solidFill>
                <a:latin typeface="+mn-lt"/>
              </a:rPr>
              <a:t> </a:t>
            </a:r>
            <a:r>
              <a:rPr lang="en-US" sz="2000" b="1">
                <a:solidFill>
                  <a:schemeClr val="bg1"/>
                </a:solidFill>
              </a:rPr>
              <a:t>Management system</a:t>
            </a:r>
            <a:endParaRPr lang="en-US" sz="2000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535631421">
            <a:extLst>
              <a:ext uri="{FF2B5EF4-FFF2-40B4-BE49-F238E27FC236}">
                <a16:creationId xmlns:a16="http://schemas.microsoft.com/office/drawing/2014/main" id="{670D8F60-1E37-7767-13F6-3A76F114E161}"/>
              </a:ext>
            </a:extLst>
          </p:cNvPr>
          <p:cNvSpPr txBox="1"/>
          <p:nvPr/>
        </p:nvSpPr>
        <p:spPr>
          <a:xfrm>
            <a:off x="555806" y="2543278"/>
            <a:ext cx="1181761" cy="492443"/>
          </a:xfrm>
          <a:prstGeom prst="roundRect">
            <a:avLst>
              <a:gd name="adj" fmla="val 1626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05A4688-3362-4CA9-107B-4321E751E21A}"/>
              </a:ext>
            </a:extLst>
          </p:cNvPr>
          <p:cNvSpPr txBox="1"/>
          <p:nvPr/>
        </p:nvSpPr>
        <p:spPr>
          <a:xfrm>
            <a:off x="672505" y="2562540"/>
            <a:ext cx="948363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3200" b="1">
                <a:solidFill>
                  <a:schemeClr val="tx2"/>
                </a:solidFill>
                <a:latin typeface="+mn-lt"/>
              </a:rPr>
              <a:t>BEV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EE14BBF-60C8-77C0-85DC-64AED80D4163}"/>
              </a:ext>
            </a:extLst>
          </p:cNvPr>
          <p:cNvSpPr txBox="1"/>
          <p:nvPr/>
        </p:nvSpPr>
        <p:spPr>
          <a:xfrm>
            <a:off x="8625889" y="4519825"/>
            <a:ext cx="3564379" cy="76389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2000" b="1">
                <a:solidFill>
                  <a:schemeClr val="bg1"/>
                </a:solidFill>
              </a:rPr>
              <a:t>Thermal</a:t>
            </a:r>
            <a:r>
              <a:rPr lang="en-US" sz="2000" b="1">
                <a:solidFill>
                  <a:schemeClr val="bg1"/>
                </a:solidFill>
                <a:latin typeface="+mn-lt"/>
              </a:rPr>
              <a:t> </a:t>
            </a:r>
            <a:r>
              <a:rPr lang="en-US" sz="2000" b="1">
                <a:solidFill>
                  <a:schemeClr val="bg1"/>
                </a:solidFill>
              </a:rPr>
              <a:t>Management system</a:t>
            </a:r>
            <a:endParaRPr lang="en-US" sz="2000" b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Box535631421">
            <a:extLst>
              <a:ext uri="{FF2B5EF4-FFF2-40B4-BE49-F238E27FC236}">
                <a16:creationId xmlns:a16="http://schemas.microsoft.com/office/drawing/2014/main" id="{E2006CFB-F336-A2D0-FA0D-F32C421D5EC9}"/>
              </a:ext>
            </a:extLst>
          </p:cNvPr>
          <p:cNvSpPr txBox="1"/>
          <p:nvPr/>
        </p:nvSpPr>
        <p:spPr>
          <a:xfrm>
            <a:off x="7310907" y="4573116"/>
            <a:ext cx="1181761" cy="492443"/>
          </a:xfrm>
          <a:prstGeom prst="roundRect">
            <a:avLst>
              <a:gd name="adj" fmla="val 1626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96DA7BF-E364-938D-3995-621A2B4270CD}"/>
              </a:ext>
            </a:extLst>
          </p:cNvPr>
          <p:cNvSpPr txBox="1"/>
          <p:nvPr/>
        </p:nvSpPr>
        <p:spPr>
          <a:xfrm>
            <a:off x="7310907" y="4592378"/>
            <a:ext cx="118176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3200" b="1">
                <a:solidFill>
                  <a:schemeClr val="accent4"/>
                </a:solidFill>
                <a:latin typeface="+mn-lt"/>
              </a:rPr>
              <a:t>FCEV</a:t>
            </a:r>
          </a:p>
        </p:txBody>
      </p:sp>
      <p:sp>
        <p:nvSpPr>
          <p:cNvPr id="13" name="TextBox535631421">
            <a:extLst>
              <a:ext uri="{FF2B5EF4-FFF2-40B4-BE49-F238E27FC236}">
                <a16:creationId xmlns:a16="http://schemas.microsoft.com/office/drawing/2014/main" id="{A0945AD8-D9B0-9270-DF95-932439CF1006}"/>
              </a:ext>
            </a:extLst>
          </p:cNvPr>
          <p:cNvSpPr txBox="1"/>
          <p:nvPr/>
        </p:nvSpPr>
        <p:spPr>
          <a:xfrm>
            <a:off x="5296613" y="2631745"/>
            <a:ext cx="1579725" cy="1575461"/>
          </a:xfrm>
          <a:prstGeom prst="ellipse">
            <a:avLst/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DC2B314-1B85-EACF-F5B5-D193BF156E96}"/>
              </a:ext>
            </a:extLst>
          </p:cNvPr>
          <p:cNvCxnSpPr>
            <a:cxnSpLocks/>
          </p:cNvCxnSpPr>
          <p:nvPr/>
        </p:nvCxnSpPr>
        <p:spPr>
          <a:xfrm flipV="1">
            <a:off x="5400486" y="3035721"/>
            <a:ext cx="1378980" cy="780628"/>
          </a:xfrm>
          <a:prstGeom prst="line">
            <a:avLst/>
          </a:prstGeom>
          <a:ln w="6350">
            <a:solidFill>
              <a:schemeClr val="accent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24C60D0-0AA9-2A16-DD18-55D10BDE2F60}"/>
              </a:ext>
            </a:extLst>
          </p:cNvPr>
          <p:cNvGrpSpPr/>
          <p:nvPr/>
        </p:nvGrpSpPr>
        <p:grpSpPr>
          <a:xfrm>
            <a:off x="5908925" y="3605615"/>
            <a:ext cx="653046" cy="389121"/>
            <a:chOff x="12285628" y="3612111"/>
            <a:chExt cx="1172527" cy="698658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78FF218-4EC4-09C0-C65E-73958D7015BF}"/>
                </a:ext>
              </a:extLst>
            </p:cNvPr>
            <p:cNvSpPr/>
            <p:nvPr/>
          </p:nvSpPr>
          <p:spPr>
            <a:xfrm>
              <a:off x="12414406" y="3612111"/>
              <a:ext cx="156686" cy="186404"/>
            </a:xfrm>
            <a:custGeom>
              <a:avLst/>
              <a:gdLst>
                <a:gd name="connsiteX0" fmla="*/ 23813 w 156686"/>
                <a:gd name="connsiteY0" fmla="*/ 186404 h 186404"/>
                <a:gd name="connsiteX1" fmla="*/ 23813 w 156686"/>
                <a:gd name="connsiteY1" fmla="*/ 84296 h 186404"/>
                <a:gd name="connsiteX2" fmla="*/ 84296 w 156686"/>
                <a:gd name="connsiteY2" fmla="*/ 23813 h 186404"/>
                <a:gd name="connsiteX3" fmla="*/ 156686 w 156686"/>
                <a:gd name="connsiteY3" fmla="*/ 23813 h 186404"/>
                <a:gd name="connsiteX4" fmla="*/ 156686 w 156686"/>
                <a:gd name="connsiteY4" fmla="*/ 0 h 186404"/>
                <a:gd name="connsiteX5" fmla="*/ 84296 w 156686"/>
                <a:gd name="connsiteY5" fmla="*/ 0 h 186404"/>
                <a:gd name="connsiteX6" fmla="*/ 0 w 156686"/>
                <a:gd name="connsiteY6" fmla="*/ 84296 h 186404"/>
                <a:gd name="connsiteX7" fmla="*/ 0 w 156686"/>
                <a:gd name="connsiteY7" fmla="*/ 186404 h 186404"/>
                <a:gd name="connsiteX8" fmla="*/ 23813 w 156686"/>
                <a:gd name="connsiteY8" fmla="*/ 186404 h 18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6686" h="186404">
                  <a:moveTo>
                    <a:pt x="23813" y="186404"/>
                  </a:moveTo>
                  <a:lnTo>
                    <a:pt x="23813" y="84296"/>
                  </a:lnTo>
                  <a:cubicBezTo>
                    <a:pt x="23813" y="50959"/>
                    <a:pt x="50959" y="23813"/>
                    <a:pt x="84296" y="23813"/>
                  </a:cubicBezTo>
                  <a:lnTo>
                    <a:pt x="156686" y="23813"/>
                  </a:lnTo>
                  <a:lnTo>
                    <a:pt x="156686" y="0"/>
                  </a:lnTo>
                  <a:lnTo>
                    <a:pt x="84296" y="0"/>
                  </a:lnTo>
                  <a:cubicBezTo>
                    <a:pt x="37814" y="0"/>
                    <a:pt x="0" y="37814"/>
                    <a:pt x="0" y="84296"/>
                  </a:cubicBezTo>
                  <a:lnTo>
                    <a:pt x="0" y="186404"/>
                  </a:lnTo>
                  <a:lnTo>
                    <a:pt x="23813" y="186404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29865E6-B129-EF84-405C-50598A85C008}"/>
                </a:ext>
              </a:extLst>
            </p:cNvPr>
            <p:cNvSpPr/>
            <p:nvPr/>
          </p:nvSpPr>
          <p:spPr>
            <a:xfrm>
              <a:off x="12414406" y="3612111"/>
              <a:ext cx="917447" cy="698658"/>
            </a:xfrm>
            <a:custGeom>
              <a:avLst/>
              <a:gdLst>
                <a:gd name="connsiteX0" fmla="*/ 833152 w 917447"/>
                <a:gd name="connsiteY0" fmla="*/ 0 h 698658"/>
                <a:gd name="connsiteX1" fmla="*/ 178403 w 917447"/>
                <a:gd name="connsiteY1" fmla="*/ 0 h 698658"/>
                <a:gd name="connsiteX2" fmla="*/ 178403 w 917447"/>
                <a:gd name="connsiteY2" fmla="*/ 23813 h 698658"/>
                <a:gd name="connsiteX3" fmla="*/ 833152 w 917447"/>
                <a:gd name="connsiteY3" fmla="*/ 23813 h 698658"/>
                <a:gd name="connsiteX4" fmla="*/ 893636 w 917447"/>
                <a:gd name="connsiteY4" fmla="*/ 84296 h 698658"/>
                <a:gd name="connsiteX5" fmla="*/ 893636 w 917447"/>
                <a:gd name="connsiteY5" fmla="*/ 614363 h 698658"/>
                <a:gd name="connsiteX6" fmla="*/ 833152 w 917447"/>
                <a:gd name="connsiteY6" fmla="*/ 674846 h 698658"/>
                <a:gd name="connsiteX7" fmla="*/ 84296 w 917447"/>
                <a:gd name="connsiteY7" fmla="*/ 674846 h 698658"/>
                <a:gd name="connsiteX8" fmla="*/ 23813 w 917447"/>
                <a:gd name="connsiteY8" fmla="*/ 614363 h 698658"/>
                <a:gd name="connsiteX9" fmla="*/ 23813 w 917447"/>
                <a:gd name="connsiteY9" fmla="*/ 217646 h 698658"/>
                <a:gd name="connsiteX10" fmla="*/ 0 w 917447"/>
                <a:gd name="connsiteY10" fmla="*/ 217646 h 698658"/>
                <a:gd name="connsiteX11" fmla="*/ 0 w 917447"/>
                <a:gd name="connsiteY11" fmla="*/ 614363 h 698658"/>
                <a:gd name="connsiteX12" fmla="*/ 84296 w 917447"/>
                <a:gd name="connsiteY12" fmla="*/ 698659 h 698658"/>
                <a:gd name="connsiteX13" fmla="*/ 833152 w 917447"/>
                <a:gd name="connsiteY13" fmla="*/ 698659 h 698658"/>
                <a:gd name="connsiteX14" fmla="*/ 917448 w 917447"/>
                <a:gd name="connsiteY14" fmla="*/ 614363 h 698658"/>
                <a:gd name="connsiteX15" fmla="*/ 917448 w 917447"/>
                <a:gd name="connsiteY15" fmla="*/ 84296 h 698658"/>
                <a:gd name="connsiteX16" fmla="*/ 833152 w 917447"/>
                <a:gd name="connsiteY16" fmla="*/ 0 h 698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17447" h="698658">
                  <a:moveTo>
                    <a:pt x="833152" y="0"/>
                  </a:moveTo>
                  <a:lnTo>
                    <a:pt x="178403" y="0"/>
                  </a:lnTo>
                  <a:lnTo>
                    <a:pt x="178403" y="23813"/>
                  </a:lnTo>
                  <a:lnTo>
                    <a:pt x="833152" y="23813"/>
                  </a:lnTo>
                  <a:cubicBezTo>
                    <a:pt x="866489" y="23813"/>
                    <a:pt x="893636" y="50959"/>
                    <a:pt x="893636" y="84296"/>
                  </a:cubicBezTo>
                  <a:lnTo>
                    <a:pt x="893636" y="614363"/>
                  </a:lnTo>
                  <a:cubicBezTo>
                    <a:pt x="893636" y="647700"/>
                    <a:pt x="866489" y="674846"/>
                    <a:pt x="833152" y="674846"/>
                  </a:cubicBezTo>
                  <a:lnTo>
                    <a:pt x="84296" y="674846"/>
                  </a:lnTo>
                  <a:cubicBezTo>
                    <a:pt x="50959" y="674846"/>
                    <a:pt x="23813" y="647700"/>
                    <a:pt x="23813" y="614363"/>
                  </a:cubicBezTo>
                  <a:lnTo>
                    <a:pt x="23813" y="217646"/>
                  </a:lnTo>
                  <a:lnTo>
                    <a:pt x="0" y="217646"/>
                  </a:lnTo>
                  <a:lnTo>
                    <a:pt x="0" y="614363"/>
                  </a:lnTo>
                  <a:cubicBezTo>
                    <a:pt x="0" y="660845"/>
                    <a:pt x="37814" y="698659"/>
                    <a:pt x="84296" y="698659"/>
                  </a:cubicBezTo>
                  <a:lnTo>
                    <a:pt x="833152" y="698659"/>
                  </a:lnTo>
                  <a:cubicBezTo>
                    <a:pt x="879634" y="698659"/>
                    <a:pt x="917448" y="660845"/>
                    <a:pt x="917448" y="614363"/>
                  </a:cubicBezTo>
                  <a:lnTo>
                    <a:pt x="917448" y="84296"/>
                  </a:lnTo>
                  <a:cubicBezTo>
                    <a:pt x="917448" y="37814"/>
                    <a:pt x="879634" y="0"/>
                    <a:pt x="833152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C90E136-859A-77B7-E2FC-25461B2BC38A}"/>
                </a:ext>
              </a:extLst>
            </p:cNvPr>
            <p:cNvSpPr/>
            <p:nvPr/>
          </p:nvSpPr>
          <p:spPr>
            <a:xfrm>
              <a:off x="12666819" y="3727078"/>
              <a:ext cx="23812" cy="468820"/>
            </a:xfrm>
            <a:custGeom>
              <a:avLst/>
              <a:gdLst>
                <a:gd name="connsiteX0" fmla="*/ 11906 w 23812"/>
                <a:gd name="connsiteY0" fmla="*/ 468821 h 468820"/>
                <a:gd name="connsiteX1" fmla="*/ 0 w 23812"/>
                <a:gd name="connsiteY1" fmla="*/ 456914 h 468820"/>
                <a:gd name="connsiteX2" fmla="*/ 0 w 23812"/>
                <a:gd name="connsiteY2" fmla="*/ 11906 h 468820"/>
                <a:gd name="connsiteX3" fmla="*/ 11906 w 23812"/>
                <a:gd name="connsiteY3" fmla="*/ 0 h 468820"/>
                <a:gd name="connsiteX4" fmla="*/ 23813 w 23812"/>
                <a:gd name="connsiteY4" fmla="*/ 11906 h 468820"/>
                <a:gd name="connsiteX5" fmla="*/ 23813 w 23812"/>
                <a:gd name="connsiteY5" fmla="*/ 456914 h 468820"/>
                <a:gd name="connsiteX6" fmla="*/ 11906 w 23812"/>
                <a:gd name="connsiteY6" fmla="*/ 468821 h 46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468820">
                  <a:moveTo>
                    <a:pt x="11906" y="468821"/>
                  </a:moveTo>
                  <a:cubicBezTo>
                    <a:pt x="5334" y="468821"/>
                    <a:pt x="0" y="463487"/>
                    <a:pt x="0" y="456914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8" y="0"/>
                    <a:pt x="23813" y="5334"/>
                    <a:pt x="23813" y="11906"/>
                  </a:cubicBezTo>
                  <a:lnTo>
                    <a:pt x="23813" y="456914"/>
                  </a:lnTo>
                  <a:cubicBezTo>
                    <a:pt x="23813" y="463487"/>
                    <a:pt x="18478" y="468821"/>
                    <a:pt x="11906" y="46882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433EF89-C52B-ED13-732B-5DAC96BC44B8}"/>
                </a:ext>
              </a:extLst>
            </p:cNvPr>
            <p:cNvSpPr/>
            <p:nvPr/>
          </p:nvSpPr>
          <p:spPr>
            <a:xfrm>
              <a:off x="12857319" y="3727078"/>
              <a:ext cx="23812" cy="468820"/>
            </a:xfrm>
            <a:custGeom>
              <a:avLst/>
              <a:gdLst>
                <a:gd name="connsiteX0" fmla="*/ 11906 w 23812"/>
                <a:gd name="connsiteY0" fmla="*/ 468821 h 468820"/>
                <a:gd name="connsiteX1" fmla="*/ 0 w 23812"/>
                <a:gd name="connsiteY1" fmla="*/ 456914 h 468820"/>
                <a:gd name="connsiteX2" fmla="*/ 0 w 23812"/>
                <a:gd name="connsiteY2" fmla="*/ 11906 h 468820"/>
                <a:gd name="connsiteX3" fmla="*/ 11906 w 23812"/>
                <a:gd name="connsiteY3" fmla="*/ 0 h 468820"/>
                <a:gd name="connsiteX4" fmla="*/ 23813 w 23812"/>
                <a:gd name="connsiteY4" fmla="*/ 11906 h 468820"/>
                <a:gd name="connsiteX5" fmla="*/ 23813 w 23812"/>
                <a:gd name="connsiteY5" fmla="*/ 456914 h 468820"/>
                <a:gd name="connsiteX6" fmla="*/ 11906 w 23812"/>
                <a:gd name="connsiteY6" fmla="*/ 468821 h 46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468820">
                  <a:moveTo>
                    <a:pt x="11906" y="468821"/>
                  </a:moveTo>
                  <a:cubicBezTo>
                    <a:pt x="5334" y="468821"/>
                    <a:pt x="0" y="463487"/>
                    <a:pt x="0" y="456914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9" y="0"/>
                    <a:pt x="23813" y="5334"/>
                    <a:pt x="23813" y="11906"/>
                  </a:cubicBezTo>
                  <a:lnTo>
                    <a:pt x="23813" y="456914"/>
                  </a:lnTo>
                  <a:cubicBezTo>
                    <a:pt x="23813" y="463487"/>
                    <a:pt x="18479" y="468821"/>
                    <a:pt x="11906" y="46882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F5C72EE-E673-BBE3-1F98-4E2DAC78A267}"/>
                </a:ext>
              </a:extLst>
            </p:cNvPr>
            <p:cNvSpPr/>
            <p:nvPr/>
          </p:nvSpPr>
          <p:spPr>
            <a:xfrm>
              <a:off x="13047819" y="3727078"/>
              <a:ext cx="23812" cy="468820"/>
            </a:xfrm>
            <a:custGeom>
              <a:avLst/>
              <a:gdLst>
                <a:gd name="connsiteX0" fmla="*/ 11906 w 23812"/>
                <a:gd name="connsiteY0" fmla="*/ 468821 h 468820"/>
                <a:gd name="connsiteX1" fmla="*/ 0 w 23812"/>
                <a:gd name="connsiteY1" fmla="*/ 456914 h 468820"/>
                <a:gd name="connsiteX2" fmla="*/ 0 w 23812"/>
                <a:gd name="connsiteY2" fmla="*/ 11906 h 468820"/>
                <a:gd name="connsiteX3" fmla="*/ 11906 w 23812"/>
                <a:gd name="connsiteY3" fmla="*/ 0 h 468820"/>
                <a:gd name="connsiteX4" fmla="*/ 23813 w 23812"/>
                <a:gd name="connsiteY4" fmla="*/ 11906 h 468820"/>
                <a:gd name="connsiteX5" fmla="*/ 23813 w 23812"/>
                <a:gd name="connsiteY5" fmla="*/ 456914 h 468820"/>
                <a:gd name="connsiteX6" fmla="*/ 11906 w 23812"/>
                <a:gd name="connsiteY6" fmla="*/ 468821 h 46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812" h="468820">
                  <a:moveTo>
                    <a:pt x="11906" y="468821"/>
                  </a:moveTo>
                  <a:cubicBezTo>
                    <a:pt x="5334" y="468821"/>
                    <a:pt x="0" y="463487"/>
                    <a:pt x="0" y="456914"/>
                  </a:cubicBezTo>
                  <a:lnTo>
                    <a:pt x="0" y="11906"/>
                  </a:lnTo>
                  <a:cubicBezTo>
                    <a:pt x="0" y="5334"/>
                    <a:pt x="5334" y="0"/>
                    <a:pt x="11906" y="0"/>
                  </a:cubicBezTo>
                  <a:cubicBezTo>
                    <a:pt x="18479" y="0"/>
                    <a:pt x="23813" y="5334"/>
                    <a:pt x="23813" y="11906"/>
                  </a:cubicBezTo>
                  <a:lnTo>
                    <a:pt x="23813" y="456914"/>
                  </a:lnTo>
                  <a:cubicBezTo>
                    <a:pt x="23813" y="463487"/>
                    <a:pt x="18479" y="468821"/>
                    <a:pt x="11906" y="46882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3BA3EB4-90DB-6EDE-AF1C-8939A28777E2}"/>
                </a:ext>
              </a:extLst>
            </p:cNvPr>
            <p:cNvSpPr/>
            <p:nvPr/>
          </p:nvSpPr>
          <p:spPr>
            <a:xfrm>
              <a:off x="12285628" y="3820804"/>
              <a:ext cx="281368" cy="281368"/>
            </a:xfrm>
            <a:custGeom>
              <a:avLst/>
              <a:gdLst>
                <a:gd name="connsiteX0" fmla="*/ 281369 w 281368"/>
                <a:gd name="connsiteY0" fmla="*/ 140684 h 281368"/>
                <a:gd name="connsiteX1" fmla="*/ 140684 w 281368"/>
                <a:gd name="connsiteY1" fmla="*/ 281368 h 281368"/>
                <a:gd name="connsiteX2" fmla="*/ 0 w 281368"/>
                <a:gd name="connsiteY2" fmla="*/ 140684 h 281368"/>
                <a:gd name="connsiteX3" fmla="*/ 140684 w 281368"/>
                <a:gd name="connsiteY3" fmla="*/ 0 h 281368"/>
                <a:gd name="connsiteX4" fmla="*/ 281369 w 281368"/>
                <a:gd name="connsiteY4" fmla="*/ 140684 h 28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1368" h="281368">
                  <a:moveTo>
                    <a:pt x="281369" y="140684"/>
                  </a:moveTo>
                  <a:cubicBezTo>
                    <a:pt x="281369" y="218382"/>
                    <a:pt x="218382" y="281368"/>
                    <a:pt x="140684" y="281368"/>
                  </a:cubicBezTo>
                  <a:cubicBezTo>
                    <a:pt x="62986" y="281368"/>
                    <a:pt x="0" y="218382"/>
                    <a:pt x="0" y="140684"/>
                  </a:cubicBezTo>
                  <a:cubicBezTo>
                    <a:pt x="0" y="62986"/>
                    <a:pt x="62986" y="0"/>
                    <a:pt x="140684" y="0"/>
                  </a:cubicBezTo>
                  <a:cubicBezTo>
                    <a:pt x="218382" y="0"/>
                    <a:pt x="281369" y="62986"/>
                    <a:pt x="281369" y="14068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6AB3A843-2101-9019-E39A-B46F50EF8D94}"/>
                </a:ext>
              </a:extLst>
            </p:cNvPr>
            <p:cNvSpPr/>
            <p:nvPr/>
          </p:nvSpPr>
          <p:spPr>
            <a:xfrm>
              <a:off x="13176787" y="3820804"/>
              <a:ext cx="281368" cy="281368"/>
            </a:xfrm>
            <a:custGeom>
              <a:avLst/>
              <a:gdLst>
                <a:gd name="connsiteX0" fmla="*/ 281368 w 281368"/>
                <a:gd name="connsiteY0" fmla="*/ 140684 h 281368"/>
                <a:gd name="connsiteX1" fmla="*/ 140684 w 281368"/>
                <a:gd name="connsiteY1" fmla="*/ 281368 h 281368"/>
                <a:gd name="connsiteX2" fmla="*/ 0 w 281368"/>
                <a:gd name="connsiteY2" fmla="*/ 140684 h 281368"/>
                <a:gd name="connsiteX3" fmla="*/ 140684 w 281368"/>
                <a:gd name="connsiteY3" fmla="*/ 0 h 281368"/>
                <a:gd name="connsiteX4" fmla="*/ 281368 w 281368"/>
                <a:gd name="connsiteY4" fmla="*/ 140684 h 28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1368" h="281368">
                  <a:moveTo>
                    <a:pt x="281368" y="140684"/>
                  </a:moveTo>
                  <a:cubicBezTo>
                    <a:pt x="281368" y="218382"/>
                    <a:pt x="218382" y="281368"/>
                    <a:pt x="140684" y="281368"/>
                  </a:cubicBezTo>
                  <a:cubicBezTo>
                    <a:pt x="62986" y="281368"/>
                    <a:pt x="0" y="218382"/>
                    <a:pt x="0" y="140684"/>
                  </a:cubicBezTo>
                  <a:cubicBezTo>
                    <a:pt x="0" y="62986"/>
                    <a:pt x="62987" y="0"/>
                    <a:pt x="140684" y="0"/>
                  </a:cubicBezTo>
                  <a:cubicBezTo>
                    <a:pt x="218382" y="0"/>
                    <a:pt x="281368" y="62986"/>
                    <a:pt x="281368" y="14068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0" name="631 fuel cell">
              <a:extLst>
                <a:ext uri="{FF2B5EF4-FFF2-40B4-BE49-F238E27FC236}">
                  <a16:creationId xmlns:a16="http://schemas.microsoft.com/office/drawing/2014/main" id="{EFAD1B98-DEBA-2105-A91D-91FFB7B5E8FB}"/>
                </a:ext>
              </a:extLst>
            </p:cNvPr>
            <p:cNvGrpSpPr/>
            <p:nvPr/>
          </p:nvGrpSpPr>
          <p:grpSpPr>
            <a:xfrm>
              <a:off x="12349446" y="3900052"/>
              <a:ext cx="161353" cy="140684"/>
              <a:chOff x="12349446" y="3900052"/>
              <a:chExt cx="161353" cy="140684"/>
            </a:xfrm>
            <a:solidFill>
              <a:srgbClr val="FFFFFF"/>
            </a:solidFill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1E59F3B3-2C3E-6A24-08B9-FB071FDE98C0}"/>
                  </a:ext>
                </a:extLst>
              </p:cNvPr>
              <p:cNvSpPr/>
              <p:nvPr/>
            </p:nvSpPr>
            <p:spPr>
              <a:xfrm>
                <a:off x="12349446" y="3900052"/>
                <a:ext cx="93725" cy="113061"/>
              </a:xfrm>
              <a:custGeom>
                <a:avLst/>
                <a:gdLst>
                  <a:gd name="connsiteX0" fmla="*/ 93726 w 93725"/>
                  <a:gd name="connsiteY0" fmla="*/ 0 h 113061"/>
                  <a:gd name="connsiteX1" fmla="*/ 93726 w 93725"/>
                  <a:gd name="connsiteY1" fmla="*/ 113062 h 113061"/>
                  <a:gd name="connsiteX2" fmla="*/ 71057 w 93725"/>
                  <a:gd name="connsiteY2" fmla="*/ 113062 h 113061"/>
                  <a:gd name="connsiteX3" fmla="*/ 71057 w 93725"/>
                  <a:gd name="connsiteY3" fmla="*/ 64961 h 113061"/>
                  <a:gd name="connsiteX4" fmla="*/ 22670 w 93725"/>
                  <a:gd name="connsiteY4" fmla="*/ 64961 h 113061"/>
                  <a:gd name="connsiteX5" fmla="*/ 22670 w 93725"/>
                  <a:gd name="connsiteY5" fmla="*/ 113062 h 113061"/>
                  <a:gd name="connsiteX6" fmla="*/ 0 w 93725"/>
                  <a:gd name="connsiteY6" fmla="*/ 113062 h 113061"/>
                  <a:gd name="connsiteX7" fmla="*/ 0 w 93725"/>
                  <a:gd name="connsiteY7" fmla="*/ 0 h 113061"/>
                  <a:gd name="connsiteX8" fmla="*/ 22670 w 93725"/>
                  <a:gd name="connsiteY8" fmla="*/ 0 h 113061"/>
                  <a:gd name="connsiteX9" fmla="*/ 22670 w 93725"/>
                  <a:gd name="connsiteY9" fmla="*/ 46482 h 113061"/>
                  <a:gd name="connsiteX10" fmla="*/ 71057 w 93725"/>
                  <a:gd name="connsiteY10" fmla="*/ 46482 h 113061"/>
                  <a:gd name="connsiteX11" fmla="*/ 71057 w 93725"/>
                  <a:gd name="connsiteY11" fmla="*/ 0 h 113061"/>
                  <a:gd name="connsiteX12" fmla="*/ 93726 w 93725"/>
                  <a:gd name="connsiteY12" fmla="*/ 0 h 11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3725" h="113061">
                    <a:moveTo>
                      <a:pt x="93726" y="0"/>
                    </a:moveTo>
                    <a:lnTo>
                      <a:pt x="93726" y="113062"/>
                    </a:lnTo>
                    <a:lnTo>
                      <a:pt x="71057" y="113062"/>
                    </a:lnTo>
                    <a:lnTo>
                      <a:pt x="71057" y="64961"/>
                    </a:lnTo>
                    <a:lnTo>
                      <a:pt x="22670" y="64961"/>
                    </a:lnTo>
                    <a:lnTo>
                      <a:pt x="22670" y="113062"/>
                    </a:lnTo>
                    <a:lnTo>
                      <a:pt x="0" y="113062"/>
                    </a:lnTo>
                    <a:lnTo>
                      <a:pt x="0" y="0"/>
                    </a:lnTo>
                    <a:lnTo>
                      <a:pt x="22670" y="0"/>
                    </a:lnTo>
                    <a:lnTo>
                      <a:pt x="22670" y="46482"/>
                    </a:lnTo>
                    <a:lnTo>
                      <a:pt x="71057" y="46482"/>
                    </a:lnTo>
                    <a:lnTo>
                      <a:pt x="71057" y="0"/>
                    </a:lnTo>
                    <a:lnTo>
                      <a:pt x="93726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357465DD-367E-AACE-E4AD-04A1BF525A24}"/>
                  </a:ext>
                </a:extLst>
              </p:cNvPr>
              <p:cNvSpPr/>
              <p:nvPr/>
            </p:nvSpPr>
            <p:spPr>
              <a:xfrm>
                <a:off x="12458888" y="3963679"/>
                <a:ext cx="51911" cy="77057"/>
              </a:xfrm>
              <a:custGeom>
                <a:avLst/>
                <a:gdLst>
                  <a:gd name="connsiteX0" fmla="*/ 5620 w 51911"/>
                  <a:gd name="connsiteY0" fmla="*/ 61436 h 77057"/>
                  <a:gd name="connsiteX1" fmla="*/ 21622 w 51911"/>
                  <a:gd name="connsiteY1" fmla="*/ 47434 h 77057"/>
                  <a:gd name="connsiteX2" fmla="*/ 31528 w 51911"/>
                  <a:gd name="connsiteY2" fmla="*/ 35719 h 77057"/>
                  <a:gd name="connsiteX3" fmla="*/ 35528 w 51911"/>
                  <a:gd name="connsiteY3" fmla="*/ 23813 h 77057"/>
                  <a:gd name="connsiteX4" fmla="*/ 33052 w 51911"/>
                  <a:gd name="connsiteY4" fmla="*/ 15430 h 77057"/>
                  <a:gd name="connsiteX5" fmla="*/ 25337 w 51911"/>
                  <a:gd name="connsiteY5" fmla="*/ 12382 h 77057"/>
                  <a:gd name="connsiteX6" fmla="*/ 17240 w 51911"/>
                  <a:gd name="connsiteY6" fmla="*/ 15907 h 77057"/>
                  <a:gd name="connsiteX7" fmla="*/ 14288 w 51911"/>
                  <a:gd name="connsiteY7" fmla="*/ 25527 h 77057"/>
                  <a:gd name="connsiteX8" fmla="*/ 0 w 51911"/>
                  <a:gd name="connsiteY8" fmla="*/ 25527 h 77057"/>
                  <a:gd name="connsiteX9" fmla="*/ 7525 w 51911"/>
                  <a:gd name="connsiteY9" fmla="*/ 6477 h 77057"/>
                  <a:gd name="connsiteX10" fmla="*/ 25527 w 51911"/>
                  <a:gd name="connsiteY10" fmla="*/ 0 h 77057"/>
                  <a:gd name="connsiteX11" fmla="*/ 43815 w 51911"/>
                  <a:gd name="connsiteY11" fmla="*/ 6382 h 77057"/>
                  <a:gd name="connsiteX12" fmla="*/ 50197 w 51911"/>
                  <a:gd name="connsiteY12" fmla="*/ 23050 h 77057"/>
                  <a:gd name="connsiteX13" fmla="*/ 45815 w 51911"/>
                  <a:gd name="connsiteY13" fmla="*/ 38671 h 77057"/>
                  <a:gd name="connsiteX14" fmla="*/ 35719 w 51911"/>
                  <a:gd name="connsiteY14" fmla="*/ 51625 h 77057"/>
                  <a:gd name="connsiteX15" fmla="*/ 20955 w 51911"/>
                  <a:gd name="connsiteY15" fmla="*/ 64865 h 77057"/>
                  <a:gd name="connsiteX16" fmla="*/ 51911 w 51911"/>
                  <a:gd name="connsiteY16" fmla="*/ 64865 h 77057"/>
                  <a:gd name="connsiteX17" fmla="*/ 51911 w 51911"/>
                  <a:gd name="connsiteY17" fmla="*/ 77057 h 77057"/>
                  <a:gd name="connsiteX18" fmla="*/ 191 w 51911"/>
                  <a:gd name="connsiteY18" fmla="*/ 77057 h 77057"/>
                  <a:gd name="connsiteX19" fmla="*/ 191 w 51911"/>
                  <a:gd name="connsiteY19" fmla="*/ 66199 h 77057"/>
                  <a:gd name="connsiteX20" fmla="*/ 5620 w 51911"/>
                  <a:gd name="connsiteY20" fmla="*/ 61627 h 7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1911" h="77057">
                    <a:moveTo>
                      <a:pt x="5620" y="61436"/>
                    </a:moveTo>
                    <a:cubicBezTo>
                      <a:pt x="12383" y="55816"/>
                      <a:pt x="17717" y="51149"/>
                      <a:pt x="21622" y="47434"/>
                    </a:cubicBezTo>
                    <a:cubicBezTo>
                      <a:pt x="25622" y="43720"/>
                      <a:pt x="28956" y="39815"/>
                      <a:pt x="31528" y="35719"/>
                    </a:cubicBezTo>
                    <a:cubicBezTo>
                      <a:pt x="34195" y="31623"/>
                      <a:pt x="35528" y="27718"/>
                      <a:pt x="35528" y="23813"/>
                    </a:cubicBezTo>
                    <a:cubicBezTo>
                      <a:pt x="35528" y="20193"/>
                      <a:pt x="34671" y="17431"/>
                      <a:pt x="33052" y="15430"/>
                    </a:cubicBezTo>
                    <a:cubicBezTo>
                      <a:pt x="31433" y="13430"/>
                      <a:pt x="28766" y="12382"/>
                      <a:pt x="25337" y="12382"/>
                    </a:cubicBezTo>
                    <a:cubicBezTo>
                      <a:pt x="21908" y="12382"/>
                      <a:pt x="19145" y="13525"/>
                      <a:pt x="17240" y="15907"/>
                    </a:cubicBezTo>
                    <a:cubicBezTo>
                      <a:pt x="15335" y="18288"/>
                      <a:pt x="14383" y="21431"/>
                      <a:pt x="14288" y="25527"/>
                    </a:cubicBezTo>
                    <a:lnTo>
                      <a:pt x="0" y="25527"/>
                    </a:lnTo>
                    <a:cubicBezTo>
                      <a:pt x="286" y="17145"/>
                      <a:pt x="2762" y="10763"/>
                      <a:pt x="7525" y="6477"/>
                    </a:cubicBezTo>
                    <a:cubicBezTo>
                      <a:pt x="12287" y="2095"/>
                      <a:pt x="18193" y="0"/>
                      <a:pt x="25527" y="0"/>
                    </a:cubicBezTo>
                    <a:cubicBezTo>
                      <a:pt x="33528" y="0"/>
                      <a:pt x="39624" y="2095"/>
                      <a:pt x="43815" y="6382"/>
                    </a:cubicBezTo>
                    <a:cubicBezTo>
                      <a:pt x="48006" y="10668"/>
                      <a:pt x="50197" y="16192"/>
                      <a:pt x="50197" y="23050"/>
                    </a:cubicBezTo>
                    <a:cubicBezTo>
                      <a:pt x="50197" y="28480"/>
                      <a:pt x="48768" y="33718"/>
                      <a:pt x="45815" y="38671"/>
                    </a:cubicBezTo>
                    <a:cubicBezTo>
                      <a:pt x="42863" y="43624"/>
                      <a:pt x="39529" y="47911"/>
                      <a:pt x="35719" y="51625"/>
                    </a:cubicBezTo>
                    <a:cubicBezTo>
                      <a:pt x="31909" y="55245"/>
                      <a:pt x="27051" y="59722"/>
                      <a:pt x="20955" y="64865"/>
                    </a:cubicBezTo>
                    <a:lnTo>
                      <a:pt x="51911" y="64865"/>
                    </a:lnTo>
                    <a:lnTo>
                      <a:pt x="51911" y="77057"/>
                    </a:lnTo>
                    <a:lnTo>
                      <a:pt x="191" y="77057"/>
                    </a:lnTo>
                    <a:lnTo>
                      <a:pt x="191" y="66199"/>
                    </a:lnTo>
                    <a:lnTo>
                      <a:pt x="5620" y="6162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43" name="631 fuel cell">
              <a:extLst>
                <a:ext uri="{FF2B5EF4-FFF2-40B4-BE49-F238E27FC236}">
                  <a16:creationId xmlns:a16="http://schemas.microsoft.com/office/drawing/2014/main" id="{C7AA0F8A-0CFC-C189-05B5-722C965CC99A}"/>
                </a:ext>
              </a:extLst>
            </p:cNvPr>
            <p:cNvGrpSpPr/>
            <p:nvPr/>
          </p:nvGrpSpPr>
          <p:grpSpPr>
            <a:xfrm>
              <a:off x="13231651" y="3898433"/>
              <a:ext cx="178022" cy="142303"/>
              <a:chOff x="13231651" y="3898433"/>
              <a:chExt cx="178022" cy="142303"/>
            </a:xfrm>
            <a:solidFill>
              <a:srgbClr val="FFFFFF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1286F6E3-3295-6684-3ECC-6FB6AA1102BA}"/>
                  </a:ext>
                </a:extLst>
              </p:cNvPr>
              <p:cNvSpPr/>
              <p:nvPr/>
            </p:nvSpPr>
            <p:spPr>
              <a:xfrm>
                <a:off x="13231651" y="3898433"/>
                <a:ext cx="115824" cy="115823"/>
              </a:xfrm>
              <a:custGeom>
                <a:avLst/>
                <a:gdLst>
                  <a:gd name="connsiteX0" fmla="*/ 28861 w 115824"/>
                  <a:gd name="connsiteY0" fmla="*/ 108395 h 115823"/>
                  <a:gd name="connsiteX1" fmla="*/ 7811 w 115824"/>
                  <a:gd name="connsiteY1" fmla="*/ 87725 h 115823"/>
                  <a:gd name="connsiteX2" fmla="*/ 0 w 115824"/>
                  <a:gd name="connsiteY2" fmla="*/ 57817 h 115823"/>
                  <a:gd name="connsiteX3" fmla="*/ 7811 w 115824"/>
                  <a:gd name="connsiteY3" fmla="*/ 28099 h 115823"/>
                  <a:gd name="connsiteX4" fmla="*/ 28861 w 115824"/>
                  <a:gd name="connsiteY4" fmla="*/ 7430 h 115823"/>
                  <a:gd name="connsiteX5" fmla="*/ 58007 w 115824"/>
                  <a:gd name="connsiteY5" fmla="*/ 0 h 115823"/>
                  <a:gd name="connsiteX6" fmla="*/ 87249 w 115824"/>
                  <a:gd name="connsiteY6" fmla="*/ 7430 h 115823"/>
                  <a:gd name="connsiteX7" fmla="*/ 108109 w 115824"/>
                  <a:gd name="connsiteY7" fmla="*/ 28099 h 115823"/>
                  <a:gd name="connsiteX8" fmla="*/ 115824 w 115824"/>
                  <a:gd name="connsiteY8" fmla="*/ 57817 h 115823"/>
                  <a:gd name="connsiteX9" fmla="*/ 108109 w 115824"/>
                  <a:gd name="connsiteY9" fmla="*/ 87725 h 115823"/>
                  <a:gd name="connsiteX10" fmla="*/ 87154 w 115824"/>
                  <a:gd name="connsiteY10" fmla="*/ 108395 h 115823"/>
                  <a:gd name="connsiteX11" fmla="*/ 58007 w 115824"/>
                  <a:gd name="connsiteY11" fmla="*/ 115824 h 115823"/>
                  <a:gd name="connsiteX12" fmla="*/ 28861 w 115824"/>
                  <a:gd name="connsiteY12" fmla="*/ 108395 h 115823"/>
                  <a:gd name="connsiteX13" fmla="*/ 76010 w 115824"/>
                  <a:gd name="connsiteY13" fmla="*/ 90964 h 115823"/>
                  <a:gd name="connsiteX14" fmla="*/ 88202 w 115824"/>
                  <a:gd name="connsiteY14" fmla="*/ 77819 h 115823"/>
                  <a:gd name="connsiteX15" fmla="*/ 92583 w 115824"/>
                  <a:gd name="connsiteY15" fmla="*/ 57912 h 115823"/>
                  <a:gd name="connsiteX16" fmla="*/ 88202 w 115824"/>
                  <a:gd name="connsiteY16" fmla="*/ 38100 h 115823"/>
                  <a:gd name="connsiteX17" fmla="*/ 76010 w 115824"/>
                  <a:gd name="connsiteY17" fmla="*/ 25051 h 115823"/>
                  <a:gd name="connsiteX18" fmla="*/ 58007 w 115824"/>
                  <a:gd name="connsiteY18" fmla="*/ 20574 h 115823"/>
                  <a:gd name="connsiteX19" fmla="*/ 39910 w 115824"/>
                  <a:gd name="connsiteY19" fmla="*/ 25051 h 115823"/>
                  <a:gd name="connsiteX20" fmla="*/ 27718 w 115824"/>
                  <a:gd name="connsiteY20" fmla="*/ 38100 h 115823"/>
                  <a:gd name="connsiteX21" fmla="*/ 23336 w 115824"/>
                  <a:gd name="connsiteY21" fmla="*/ 57912 h 115823"/>
                  <a:gd name="connsiteX22" fmla="*/ 27718 w 115824"/>
                  <a:gd name="connsiteY22" fmla="*/ 77819 h 115823"/>
                  <a:gd name="connsiteX23" fmla="*/ 39910 w 115824"/>
                  <a:gd name="connsiteY23" fmla="*/ 90964 h 115823"/>
                  <a:gd name="connsiteX24" fmla="*/ 58007 w 115824"/>
                  <a:gd name="connsiteY24" fmla="*/ 95536 h 115823"/>
                  <a:gd name="connsiteX25" fmla="*/ 76010 w 115824"/>
                  <a:gd name="connsiteY25" fmla="*/ 90964 h 115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15824" h="115823">
                    <a:moveTo>
                      <a:pt x="28861" y="108395"/>
                    </a:moveTo>
                    <a:cubicBezTo>
                      <a:pt x="20003" y="103441"/>
                      <a:pt x="12954" y="96583"/>
                      <a:pt x="7811" y="87725"/>
                    </a:cubicBezTo>
                    <a:cubicBezTo>
                      <a:pt x="2667" y="78962"/>
                      <a:pt x="0" y="68961"/>
                      <a:pt x="0" y="57817"/>
                    </a:cubicBezTo>
                    <a:cubicBezTo>
                      <a:pt x="0" y="46672"/>
                      <a:pt x="2572" y="36862"/>
                      <a:pt x="7811" y="28099"/>
                    </a:cubicBezTo>
                    <a:cubicBezTo>
                      <a:pt x="12954" y="19336"/>
                      <a:pt x="20003" y="12382"/>
                      <a:pt x="28861" y="7430"/>
                    </a:cubicBezTo>
                    <a:cubicBezTo>
                      <a:pt x="37719" y="2476"/>
                      <a:pt x="47435" y="0"/>
                      <a:pt x="58007" y="0"/>
                    </a:cubicBezTo>
                    <a:cubicBezTo>
                      <a:pt x="68580" y="0"/>
                      <a:pt x="78391" y="2476"/>
                      <a:pt x="87249" y="7430"/>
                    </a:cubicBezTo>
                    <a:cubicBezTo>
                      <a:pt x="96107" y="12382"/>
                      <a:pt x="102965" y="19241"/>
                      <a:pt x="108109" y="28099"/>
                    </a:cubicBezTo>
                    <a:cubicBezTo>
                      <a:pt x="113252" y="36862"/>
                      <a:pt x="115824" y="46768"/>
                      <a:pt x="115824" y="57817"/>
                    </a:cubicBezTo>
                    <a:cubicBezTo>
                      <a:pt x="115824" y="68866"/>
                      <a:pt x="113252" y="78867"/>
                      <a:pt x="108109" y="87725"/>
                    </a:cubicBezTo>
                    <a:cubicBezTo>
                      <a:pt x="102965" y="96488"/>
                      <a:pt x="96012" y="103441"/>
                      <a:pt x="87154" y="108395"/>
                    </a:cubicBezTo>
                    <a:cubicBezTo>
                      <a:pt x="78296" y="113347"/>
                      <a:pt x="68580" y="115824"/>
                      <a:pt x="58007" y="115824"/>
                    </a:cubicBezTo>
                    <a:cubicBezTo>
                      <a:pt x="47435" y="115824"/>
                      <a:pt x="37719" y="113347"/>
                      <a:pt x="28861" y="108395"/>
                    </a:cubicBezTo>
                    <a:close/>
                    <a:moveTo>
                      <a:pt x="76010" y="90964"/>
                    </a:moveTo>
                    <a:cubicBezTo>
                      <a:pt x="81153" y="87916"/>
                      <a:pt x="85249" y="83439"/>
                      <a:pt x="88202" y="77819"/>
                    </a:cubicBezTo>
                    <a:cubicBezTo>
                      <a:pt x="91154" y="72104"/>
                      <a:pt x="92583" y="65437"/>
                      <a:pt x="92583" y="57912"/>
                    </a:cubicBezTo>
                    <a:cubicBezTo>
                      <a:pt x="92583" y="50387"/>
                      <a:pt x="91154" y="43720"/>
                      <a:pt x="88202" y="38100"/>
                    </a:cubicBezTo>
                    <a:cubicBezTo>
                      <a:pt x="85249" y="32385"/>
                      <a:pt x="81248" y="28099"/>
                      <a:pt x="76010" y="25051"/>
                    </a:cubicBezTo>
                    <a:cubicBezTo>
                      <a:pt x="70866" y="22003"/>
                      <a:pt x="64865" y="20574"/>
                      <a:pt x="58007" y="20574"/>
                    </a:cubicBezTo>
                    <a:cubicBezTo>
                      <a:pt x="51149" y="20574"/>
                      <a:pt x="45149" y="22098"/>
                      <a:pt x="39910" y="25051"/>
                    </a:cubicBezTo>
                    <a:cubicBezTo>
                      <a:pt x="34671" y="28099"/>
                      <a:pt x="30575" y="32385"/>
                      <a:pt x="27718" y="38100"/>
                    </a:cubicBezTo>
                    <a:cubicBezTo>
                      <a:pt x="24765" y="43815"/>
                      <a:pt x="23336" y="50387"/>
                      <a:pt x="23336" y="57912"/>
                    </a:cubicBezTo>
                    <a:cubicBezTo>
                      <a:pt x="23336" y="65437"/>
                      <a:pt x="24765" y="72104"/>
                      <a:pt x="27718" y="77819"/>
                    </a:cubicBezTo>
                    <a:cubicBezTo>
                      <a:pt x="30671" y="83534"/>
                      <a:pt x="34671" y="87916"/>
                      <a:pt x="39910" y="90964"/>
                    </a:cubicBezTo>
                    <a:cubicBezTo>
                      <a:pt x="45149" y="94012"/>
                      <a:pt x="51149" y="95536"/>
                      <a:pt x="58007" y="95536"/>
                    </a:cubicBezTo>
                    <a:cubicBezTo>
                      <a:pt x="64865" y="95536"/>
                      <a:pt x="70771" y="94012"/>
                      <a:pt x="76010" y="9096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9CC0E1FD-DB05-1069-6D3E-FCB28DCB10EF}"/>
                  </a:ext>
                </a:extLst>
              </p:cNvPr>
              <p:cNvSpPr/>
              <p:nvPr/>
            </p:nvSpPr>
            <p:spPr>
              <a:xfrm>
                <a:off x="13357667" y="3963679"/>
                <a:ext cx="52006" cy="77057"/>
              </a:xfrm>
              <a:custGeom>
                <a:avLst/>
                <a:gdLst>
                  <a:gd name="connsiteX0" fmla="*/ 5620 w 52006"/>
                  <a:gd name="connsiteY0" fmla="*/ 61436 h 77057"/>
                  <a:gd name="connsiteX1" fmla="*/ 21622 w 52006"/>
                  <a:gd name="connsiteY1" fmla="*/ 47434 h 77057"/>
                  <a:gd name="connsiteX2" fmla="*/ 31528 w 52006"/>
                  <a:gd name="connsiteY2" fmla="*/ 35719 h 77057"/>
                  <a:gd name="connsiteX3" fmla="*/ 35528 w 52006"/>
                  <a:gd name="connsiteY3" fmla="*/ 23813 h 77057"/>
                  <a:gd name="connsiteX4" fmla="*/ 33052 w 52006"/>
                  <a:gd name="connsiteY4" fmla="*/ 15430 h 77057"/>
                  <a:gd name="connsiteX5" fmla="*/ 25337 w 52006"/>
                  <a:gd name="connsiteY5" fmla="*/ 12382 h 77057"/>
                  <a:gd name="connsiteX6" fmla="*/ 17240 w 52006"/>
                  <a:gd name="connsiteY6" fmla="*/ 15907 h 77057"/>
                  <a:gd name="connsiteX7" fmla="*/ 14288 w 52006"/>
                  <a:gd name="connsiteY7" fmla="*/ 25527 h 77057"/>
                  <a:gd name="connsiteX8" fmla="*/ 0 w 52006"/>
                  <a:gd name="connsiteY8" fmla="*/ 25527 h 77057"/>
                  <a:gd name="connsiteX9" fmla="*/ 7525 w 52006"/>
                  <a:gd name="connsiteY9" fmla="*/ 6477 h 77057"/>
                  <a:gd name="connsiteX10" fmla="*/ 25527 w 52006"/>
                  <a:gd name="connsiteY10" fmla="*/ 0 h 77057"/>
                  <a:gd name="connsiteX11" fmla="*/ 43910 w 52006"/>
                  <a:gd name="connsiteY11" fmla="*/ 6382 h 77057"/>
                  <a:gd name="connsiteX12" fmla="*/ 50292 w 52006"/>
                  <a:gd name="connsiteY12" fmla="*/ 23050 h 77057"/>
                  <a:gd name="connsiteX13" fmla="*/ 45910 w 52006"/>
                  <a:gd name="connsiteY13" fmla="*/ 38671 h 77057"/>
                  <a:gd name="connsiteX14" fmla="*/ 35814 w 52006"/>
                  <a:gd name="connsiteY14" fmla="*/ 51625 h 77057"/>
                  <a:gd name="connsiteX15" fmla="*/ 21050 w 52006"/>
                  <a:gd name="connsiteY15" fmla="*/ 64865 h 77057"/>
                  <a:gd name="connsiteX16" fmla="*/ 52006 w 52006"/>
                  <a:gd name="connsiteY16" fmla="*/ 64865 h 77057"/>
                  <a:gd name="connsiteX17" fmla="*/ 52006 w 52006"/>
                  <a:gd name="connsiteY17" fmla="*/ 77057 h 77057"/>
                  <a:gd name="connsiteX18" fmla="*/ 286 w 52006"/>
                  <a:gd name="connsiteY18" fmla="*/ 77057 h 77057"/>
                  <a:gd name="connsiteX19" fmla="*/ 286 w 52006"/>
                  <a:gd name="connsiteY19" fmla="*/ 66199 h 77057"/>
                  <a:gd name="connsiteX20" fmla="*/ 5715 w 52006"/>
                  <a:gd name="connsiteY20" fmla="*/ 61627 h 7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2006" h="77057">
                    <a:moveTo>
                      <a:pt x="5620" y="61436"/>
                    </a:moveTo>
                    <a:cubicBezTo>
                      <a:pt x="12287" y="55816"/>
                      <a:pt x="17717" y="51149"/>
                      <a:pt x="21622" y="47434"/>
                    </a:cubicBezTo>
                    <a:cubicBezTo>
                      <a:pt x="25622" y="43720"/>
                      <a:pt x="28956" y="39815"/>
                      <a:pt x="31528" y="35719"/>
                    </a:cubicBezTo>
                    <a:cubicBezTo>
                      <a:pt x="34195" y="31623"/>
                      <a:pt x="35528" y="27718"/>
                      <a:pt x="35528" y="23813"/>
                    </a:cubicBezTo>
                    <a:cubicBezTo>
                      <a:pt x="35528" y="20193"/>
                      <a:pt x="34671" y="17431"/>
                      <a:pt x="33052" y="15430"/>
                    </a:cubicBezTo>
                    <a:cubicBezTo>
                      <a:pt x="31337" y="13430"/>
                      <a:pt x="28765" y="12382"/>
                      <a:pt x="25337" y="12382"/>
                    </a:cubicBezTo>
                    <a:cubicBezTo>
                      <a:pt x="21908" y="12382"/>
                      <a:pt x="19145" y="13525"/>
                      <a:pt x="17240" y="15907"/>
                    </a:cubicBezTo>
                    <a:cubicBezTo>
                      <a:pt x="15335" y="18288"/>
                      <a:pt x="14383" y="21431"/>
                      <a:pt x="14288" y="25527"/>
                    </a:cubicBezTo>
                    <a:lnTo>
                      <a:pt x="0" y="25527"/>
                    </a:lnTo>
                    <a:cubicBezTo>
                      <a:pt x="286" y="17145"/>
                      <a:pt x="2762" y="10763"/>
                      <a:pt x="7525" y="6477"/>
                    </a:cubicBezTo>
                    <a:cubicBezTo>
                      <a:pt x="12287" y="2095"/>
                      <a:pt x="18193" y="0"/>
                      <a:pt x="25527" y="0"/>
                    </a:cubicBezTo>
                    <a:cubicBezTo>
                      <a:pt x="33528" y="0"/>
                      <a:pt x="39624" y="2095"/>
                      <a:pt x="43910" y="6382"/>
                    </a:cubicBezTo>
                    <a:cubicBezTo>
                      <a:pt x="48196" y="10668"/>
                      <a:pt x="50292" y="16192"/>
                      <a:pt x="50292" y="23050"/>
                    </a:cubicBezTo>
                    <a:cubicBezTo>
                      <a:pt x="50292" y="28480"/>
                      <a:pt x="48863" y="33718"/>
                      <a:pt x="45910" y="38671"/>
                    </a:cubicBezTo>
                    <a:cubicBezTo>
                      <a:pt x="42958" y="43624"/>
                      <a:pt x="39624" y="47911"/>
                      <a:pt x="35814" y="51625"/>
                    </a:cubicBezTo>
                    <a:cubicBezTo>
                      <a:pt x="32004" y="55340"/>
                      <a:pt x="27146" y="59722"/>
                      <a:pt x="21050" y="64865"/>
                    </a:cubicBezTo>
                    <a:lnTo>
                      <a:pt x="52006" y="64865"/>
                    </a:lnTo>
                    <a:lnTo>
                      <a:pt x="52006" y="77057"/>
                    </a:lnTo>
                    <a:lnTo>
                      <a:pt x="286" y="77057"/>
                    </a:lnTo>
                    <a:lnTo>
                      <a:pt x="286" y="66199"/>
                    </a:lnTo>
                    <a:lnTo>
                      <a:pt x="5715" y="6162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47" name="137 battery full (red)">
            <a:extLst>
              <a:ext uri="{FF2B5EF4-FFF2-40B4-BE49-F238E27FC236}">
                <a16:creationId xmlns:a16="http://schemas.microsoft.com/office/drawing/2014/main" id="{1400277D-A4A1-FB04-BBCA-B34D32146DC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469848" y="2685512"/>
            <a:ext cx="851490" cy="851490"/>
          </a:xfrm>
          <a:prstGeom prst="rect">
            <a:avLst/>
          </a:prstGeom>
        </p:spPr>
      </p:pic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82E43BF3-EBEE-8D70-705B-D5F925895410}"/>
              </a:ext>
            </a:extLst>
          </p:cNvPr>
          <p:cNvSpPr/>
          <p:nvPr/>
        </p:nvSpPr>
        <p:spPr>
          <a:xfrm rot="10800000" flipH="1">
            <a:off x="-14984" y="-3"/>
            <a:ext cx="12192000" cy="6858001"/>
          </a:xfrm>
          <a:prstGeom prst="rtTriangle">
            <a:avLst/>
          </a:prstGeom>
          <a:solidFill>
            <a:schemeClr val="accent2">
              <a:alpha val="92000"/>
            </a:schemeClr>
          </a:solidFill>
          <a:ln w="6350"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FEV Consulting Logo white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83855D04-08AD-1F58-20E2-F531A568C707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10654270" y="759898"/>
            <a:ext cx="986867" cy="375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208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854CE0-2000-5EFC-9840-85F14EDFAE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9A4327BD-655D-2709-7AA4-3FF3D6F2B9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3" imgH="396" progId="TCLayout.ActiveDocument.1">
                  <p:embed/>
                </p:oleObj>
              </mc:Choice>
              <mc:Fallback>
                <p:oleObj name="think-cell Slide" r:id="rId17" imgW="393" imgH="396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4327BD-655D-2709-7AA4-3FF3D6F2B9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3839AED-95F1-D870-0F0C-31BB277523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Fuel cell powertrain CLUSTE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81E580-BAF2-5CCB-0F63-C25778AFEB4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1384" y="6529464"/>
            <a:ext cx="580287" cy="123111"/>
          </a:xfrm>
        </p:spPr>
        <p:txBody>
          <a:bodyPr/>
          <a:lstStyle/>
          <a:p>
            <a:r>
              <a:rPr lang="en-US"/>
              <a:t>Source: FEV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25F0A54-39F0-2EED-D5CB-0D8AFACD5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uel cell vehicles can be clustered in range-extender, mid-power and full-hybrid depending on the relevance ratio between fuel cell and battery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7A6FE7-D044-44B7-8B18-04E905A09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EA921-C7A1-469A-90E3-373BB5A02BFA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4" name="TextBox1683547890">
            <a:extLst>
              <a:ext uri="{FF2B5EF4-FFF2-40B4-BE49-F238E27FC236}">
                <a16:creationId xmlns:a16="http://schemas.microsoft.com/office/drawing/2014/main" id="{DE36C17E-84D7-35B4-F9EF-A032A9448106}"/>
              </a:ext>
            </a:extLst>
          </p:cNvPr>
          <p:cNvSpPr txBox="1"/>
          <p:nvPr/>
        </p:nvSpPr>
        <p:spPr>
          <a:xfrm>
            <a:off x="4348154" y="1708671"/>
            <a:ext cx="3493960" cy="4600054"/>
          </a:xfrm>
          <a:prstGeom prst="roundRect">
            <a:avLst>
              <a:gd name="adj" fmla="val 1454"/>
            </a:avLst>
          </a:prstGeom>
          <a:solidFill>
            <a:schemeClr val="accent1"/>
          </a:solidFill>
          <a:ln w="6350">
            <a:noFill/>
          </a:ln>
        </p:spPr>
        <p:txBody>
          <a:bodyPr rtlCol="0" anchor="ctr"/>
          <a:lstStyle>
            <a:defPPr>
              <a:defRPr lang="de-DE"/>
            </a:defPPr>
            <a:lvl1pPr algn="ctr">
              <a:defRPr>
                <a:solidFill>
                  <a:schemeClr val="accent1"/>
                </a:solidFill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AA7959-0C89-1D38-08B7-77A1D9F3169C}"/>
              </a:ext>
            </a:extLst>
          </p:cNvPr>
          <p:cNvSpPr txBox="1"/>
          <p:nvPr/>
        </p:nvSpPr>
        <p:spPr>
          <a:xfrm>
            <a:off x="4699167" y="1849507"/>
            <a:ext cx="2791934" cy="41366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2000" b="1">
                <a:latin typeface="+mn-lt"/>
              </a:rPr>
              <a:t>MID-POWER FCEV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8BBC4AC-006F-F267-28B7-860CD476D2C1}"/>
              </a:ext>
            </a:extLst>
          </p:cNvPr>
          <p:cNvGrpSpPr/>
          <p:nvPr/>
        </p:nvGrpSpPr>
        <p:grpSpPr>
          <a:xfrm>
            <a:off x="4754635" y="2264973"/>
            <a:ext cx="2513408" cy="1233667"/>
            <a:chOff x="4527472" y="2172646"/>
            <a:chExt cx="2967442" cy="1456522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B2AC2CC6-AE22-800A-6936-FF7866C257A5}"/>
                </a:ext>
              </a:extLst>
            </p:cNvPr>
            <p:cNvGrpSpPr/>
            <p:nvPr/>
          </p:nvGrpSpPr>
          <p:grpSpPr>
            <a:xfrm>
              <a:off x="6322387" y="2551578"/>
              <a:ext cx="1172527" cy="698658"/>
              <a:chOff x="3834234" y="7894512"/>
              <a:chExt cx="1172527" cy="698658"/>
            </a:xfrm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AB0AEDE-2EAD-C299-0140-DF39B1D40DD2}"/>
                  </a:ext>
                </a:extLst>
              </p:cNvPr>
              <p:cNvSpPr/>
              <p:nvPr/>
            </p:nvSpPr>
            <p:spPr>
              <a:xfrm>
                <a:off x="3963012" y="7894512"/>
                <a:ext cx="156686" cy="186404"/>
              </a:xfrm>
              <a:custGeom>
                <a:avLst/>
                <a:gdLst>
                  <a:gd name="connsiteX0" fmla="*/ 23813 w 156686"/>
                  <a:gd name="connsiteY0" fmla="*/ 186404 h 186404"/>
                  <a:gd name="connsiteX1" fmla="*/ 23813 w 156686"/>
                  <a:gd name="connsiteY1" fmla="*/ 84296 h 186404"/>
                  <a:gd name="connsiteX2" fmla="*/ 84296 w 156686"/>
                  <a:gd name="connsiteY2" fmla="*/ 23813 h 186404"/>
                  <a:gd name="connsiteX3" fmla="*/ 156686 w 156686"/>
                  <a:gd name="connsiteY3" fmla="*/ 23813 h 186404"/>
                  <a:gd name="connsiteX4" fmla="*/ 156686 w 156686"/>
                  <a:gd name="connsiteY4" fmla="*/ 0 h 186404"/>
                  <a:gd name="connsiteX5" fmla="*/ 84296 w 156686"/>
                  <a:gd name="connsiteY5" fmla="*/ 0 h 186404"/>
                  <a:gd name="connsiteX6" fmla="*/ 0 w 156686"/>
                  <a:gd name="connsiteY6" fmla="*/ 84296 h 186404"/>
                  <a:gd name="connsiteX7" fmla="*/ 0 w 156686"/>
                  <a:gd name="connsiteY7" fmla="*/ 186404 h 186404"/>
                  <a:gd name="connsiteX8" fmla="*/ 23813 w 156686"/>
                  <a:gd name="connsiteY8" fmla="*/ 186404 h 186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6686" h="186404">
                    <a:moveTo>
                      <a:pt x="23813" y="186404"/>
                    </a:moveTo>
                    <a:lnTo>
                      <a:pt x="23813" y="84296"/>
                    </a:lnTo>
                    <a:cubicBezTo>
                      <a:pt x="23813" y="50959"/>
                      <a:pt x="50959" y="23813"/>
                      <a:pt x="84296" y="23813"/>
                    </a:cubicBezTo>
                    <a:lnTo>
                      <a:pt x="156686" y="23813"/>
                    </a:lnTo>
                    <a:lnTo>
                      <a:pt x="156686" y="0"/>
                    </a:lnTo>
                    <a:lnTo>
                      <a:pt x="84296" y="0"/>
                    </a:lnTo>
                    <a:cubicBezTo>
                      <a:pt x="37814" y="0"/>
                      <a:pt x="0" y="37814"/>
                      <a:pt x="0" y="84296"/>
                    </a:cubicBezTo>
                    <a:lnTo>
                      <a:pt x="0" y="186404"/>
                    </a:lnTo>
                    <a:lnTo>
                      <a:pt x="23813" y="186404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A46012F4-789D-4E74-5949-0EBEC966C597}"/>
                  </a:ext>
                </a:extLst>
              </p:cNvPr>
              <p:cNvSpPr/>
              <p:nvPr/>
            </p:nvSpPr>
            <p:spPr>
              <a:xfrm>
                <a:off x="3963012" y="7894512"/>
                <a:ext cx="917447" cy="698658"/>
              </a:xfrm>
              <a:custGeom>
                <a:avLst/>
                <a:gdLst>
                  <a:gd name="connsiteX0" fmla="*/ 833152 w 917447"/>
                  <a:gd name="connsiteY0" fmla="*/ 0 h 698658"/>
                  <a:gd name="connsiteX1" fmla="*/ 178403 w 917447"/>
                  <a:gd name="connsiteY1" fmla="*/ 0 h 698658"/>
                  <a:gd name="connsiteX2" fmla="*/ 178403 w 917447"/>
                  <a:gd name="connsiteY2" fmla="*/ 23813 h 698658"/>
                  <a:gd name="connsiteX3" fmla="*/ 833152 w 917447"/>
                  <a:gd name="connsiteY3" fmla="*/ 23813 h 698658"/>
                  <a:gd name="connsiteX4" fmla="*/ 893636 w 917447"/>
                  <a:gd name="connsiteY4" fmla="*/ 84296 h 698658"/>
                  <a:gd name="connsiteX5" fmla="*/ 893636 w 917447"/>
                  <a:gd name="connsiteY5" fmla="*/ 614363 h 698658"/>
                  <a:gd name="connsiteX6" fmla="*/ 833152 w 917447"/>
                  <a:gd name="connsiteY6" fmla="*/ 674846 h 698658"/>
                  <a:gd name="connsiteX7" fmla="*/ 84296 w 917447"/>
                  <a:gd name="connsiteY7" fmla="*/ 674846 h 698658"/>
                  <a:gd name="connsiteX8" fmla="*/ 23813 w 917447"/>
                  <a:gd name="connsiteY8" fmla="*/ 614363 h 698658"/>
                  <a:gd name="connsiteX9" fmla="*/ 23813 w 917447"/>
                  <a:gd name="connsiteY9" fmla="*/ 217646 h 698658"/>
                  <a:gd name="connsiteX10" fmla="*/ 0 w 917447"/>
                  <a:gd name="connsiteY10" fmla="*/ 217646 h 698658"/>
                  <a:gd name="connsiteX11" fmla="*/ 0 w 917447"/>
                  <a:gd name="connsiteY11" fmla="*/ 614363 h 698658"/>
                  <a:gd name="connsiteX12" fmla="*/ 84296 w 917447"/>
                  <a:gd name="connsiteY12" fmla="*/ 698659 h 698658"/>
                  <a:gd name="connsiteX13" fmla="*/ 833152 w 917447"/>
                  <a:gd name="connsiteY13" fmla="*/ 698659 h 698658"/>
                  <a:gd name="connsiteX14" fmla="*/ 917448 w 917447"/>
                  <a:gd name="connsiteY14" fmla="*/ 614363 h 698658"/>
                  <a:gd name="connsiteX15" fmla="*/ 917448 w 917447"/>
                  <a:gd name="connsiteY15" fmla="*/ 84296 h 698658"/>
                  <a:gd name="connsiteX16" fmla="*/ 833152 w 917447"/>
                  <a:gd name="connsiteY16" fmla="*/ 0 h 698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17447" h="698658">
                    <a:moveTo>
                      <a:pt x="833152" y="0"/>
                    </a:moveTo>
                    <a:lnTo>
                      <a:pt x="178403" y="0"/>
                    </a:lnTo>
                    <a:lnTo>
                      <a:pt x="178403" y="23813"/>
                    </a:lnTo>
                    <a:lnTo>
                      <a:pt x="833152" y="23813"/>
                    </a:lnTo>
                    <a:cubicBezTo>
                      <a:pt x="866489" y="23813"/>
                      <a:pt x="893636" y="50959"/>
                      <a:pt x="893636" y="84296"/>
                    </a:cubicBezTo>
                    <a:lnTo>
                      <a:pt x="893636" y="614363"/>
                    </a:lnTo>
                    <a:cubicBezTo>
                      <a:pt x="893636" y="647700"/>
                      <a:pt x="866489" y="674846"/>
                      <a:pt x="833152" y="674846"/>
                    </a:cubicBezTo>
                    <a:lnTo>
                      <a:pt x="84296" y="674846"/>
                    </a:lnTo>
                    <a:cubicBezTo>
                      <a:pt x="50959" y="674846"/>
                      <a:pt x="23813" y="647700"/>
                      <a:pt x="23813" y="614363"/>
                    </a:cubicBezTo>
                    <a:lnTo>
                      <a:pt x="23813" y="217646"/>
                    </a:lnTo>
                    <a:lnTo>
                      <a:pt x="0" y="217646"/>
                    </a:lnTo>
                    <a:lnTo>
                      <a:pt x="0" y="614363"/>
                    </a:lnTo>
                    <a:cubicBezTo>
                      <a:pt x="0" y="660845"/>
                      <a:pt x="37814" y="698659"/>
                      <a:pt x="84296" y="698659"/>
                    </a:cubicBezTo>
                    <a:lnTo>
                      <a:pt x="833152" y="698659"/>
                    </a:lnTo>
                    <a:cubicBezTo>
                      <a:pt x="879634" y="698659"/>
                      <a:pt x="917448" y="660845"/>
                      <a:pt x="917448" y="614363"/>
                    </a:cubicBezTo>
                    <a:lnTo>
                      <a:pt x="917448" y="84296"/>
                    </a:lnTo>
                    <a:cubicBezTo>
                      <a:pt x="917448" y="37814"/>
                      <a:pt x="879634" y="0"/>
                      <a:pt x="833152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A07F9835-30EA-E95A-7CE1-15DBBBDCCDDF}"/>
                  </a:ext>
                </a:extLst>
              </p:cNvPr>
              <p:cNvSpPr/>
              <p:nvPr/>
            </p:nvSpPr>
            <p:spPr>
              <a:xfrm>
                <a:off x="4215425" y="8009479"/>
                <a:ext cx="23812" cy="468820"/>
              </a:xfrm>
              <a:custGeom>
                <a:avLst/>
                <a:gdLst>
                  <a:gd name="connsiteX0" fmla="*/ 11906 w 23812"/>
                  <a:gd name="connsiteY0" fmla="*/ 468821 h 468820"/>
                  <a:gd name="connsiteX1" fmla="*/ 0 w 23812"/>
                  <a:gd name="connsiteY1" fmla="*/ 456914 h 468820"/>
                  <a:gd name="connsiteX2" fmla="*/ 0 w 23812"/>
                  <a:gd name="connsiteY2" fmla="*/ 11906 h 468820"/>
                  <a:gd name="connsiteX3" fmla="*/ 11906 w 23812"/>
                  <a:gd name="connsiteY3" fmla="*/ 0 h 468820"/>
                  <a:gd name="connsiteX4" fmla="*/ 23813 w 23812"/>
                  <a:gd name="connsiteY4" fmla="*/ 11906 h 468820"/>
                  <a:gd name="connsiteX5" fmla="*/ 23813 w 23812"/>
                  <a:gd name="connsiteY5" fmla="*/ 456914 h 468820"/>
                  <a:gd name="connsiteX6" fmla="*/ 11906 w 23812"/>
                  <a:gd name="connsiteY6" fmla="*/ 468821 h 468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812" h="468820">
                    <a:moveTo>
                      <a:pt x="11906" y="468821"/>
                    </a:moveTo>
                    <a:cubicBezTo>
                      <a:pt x="5334" y="468821"/>
                      <a:pt x="0" y="463487"/>
                      <a:pt x="0" y="456914"/>
                    </a:cubicBezTo>
                    <a:lnTo>
                      <a:pt x="0" y="11906"/>
                    </a:lnTo>
                    <a:cubicBezTo>
                      <a:pt x="0" y="5334"/>
                      <a:pt x="5334" y="0"/>
                      <a:pt x="11906" y="0"/>
                    </a:cubicBezTo>
                    <a:cubicBezTo>
                      <a:pt x="18478" y="0"/>
                      <a:pt x="23813" y="5334"/>
                      <a:pt x="23813" y="11906"/>
                    </a:cubicBezTo>
                    <a:lnTo>
                      <a:pt x="23813" y="456914"/>
                    </a:lnTo>
                    <a:cubicBezTo>
                      <a:pt x="23813" y="463487"/>
                      <a:pt x="18478" y="468821"/>
                      <a:pt x="11906" y="468821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BC97FE22-F719-274C-CBAE-1C0226F3CE34}"/>
                  </a:ext>
                </a:extLst>
              </p:cNvPr>
              <p:cNvSpPr/>
              <p:nvPr/>
            </p:nvSpPr>
            <p:spPr>
              <a:xfrm>
                <a:off x="4405925" y="8009479"/>
                <a:ext cx="23812" cy="468820"/>
              </a:xfrm>
              <a:custGeom>
                <a:avLst/>
                <a:gdLst>
                  <a:gd name="connsiteX0" fmla="*/ 11906 w 23812"/>
                  <a:gd name="connsiteY0" fmla="*/ 468821 h 468820"/>
                  <a:gd name="connsiteX1" fmla="*/ 0 w 23812"/>
                  <a:gd name="connsiteY1" fmla="*/ 456914 h 468820"/>
                  <a:gd name="connsiteX2" fmla="*/ 0 w 23812"/>
                  <a:gd name="connsiteY2" fmla="*/ 11906 h 468820"/>
                  <a:gd name="connsiteX3" fmla="*/ 11906 w 23812"/>
                  <a:gd name="connsiteY3" fmla="*/ 0 h 468820"/>
                  <a:gd name="connsiteX4" fmla="*/ 23813 w 23812"/>
                  <a:gd name="connsiteY4" fmla="*/ 11906 h 468820"/>
                  <a:gd name="connsiteX5" fmla="*/ 23813 w 23812"/>
                  <a:gd name="connsiteY5" fmla="*/ 456914 h 468820"/>
                  <a:gd name="connsiteX6" fmla="*/ 11906 w 23812"/>
                  <a:gd name="connsiteY6" fmla="*/ 468821 h 468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812" h="468820">
                    <a:moveTo>
                      <a:pt x="11906" y="468821"/>
                    </a:moveTo>
                    <a:cubicBezTo>
                      <a:pt x="5334" y="468821"/>
                      <a:pt x="0" y="463487"/>
                      <a:pt x="0" y="456914"/>
                    </a:cubicBezTo>
                    <a:lnTo>
                      <a:pt x="0" y="11906"/>
                    </a:lnTo>
                    <a:cubicBezTo>
                      <a:pt x="0" y="5334"/>
                      <a:pt x="5334" y="0"/>
                      <a:pt x="11906" y="0"/>
                    </a:cubicBezTo>
                    <a:cubicBezTo>
                      <a:pt x="18479" y="0"/>
                      <a:pt x="23813" y="5334"/>
                      <a:pt x="23813" y="11906"/>
                    </a:cubicBezTo>
                    <a:lnTo>
                      <a:pt x="23813" y="456914"/>
                    </a:lnTo>
                    <a:cubicBezTo>
                      <a:pt x="23813" y="463487"/>
                      <a:pt x="18479" y="468821"/>
                      <a:pt x="11906" y="468821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93E838C5-8FFC-13B9-654E-A9E1109EBD85}"/>
                  </a:ext>
                </a:extLst>
              </p:cNvPr>
              <p:cNvSpPr/>
              <p:nvPr/>
            </p:nvSpPr>
            <p:spPr>
              <a:xfrm>
                <a:off x="4596425" y="8009479"/>
                <a:ext cx="23812" cy="468820"/>
              </a:xfrm>
              <a:custGeom>
                <a:avLst/>
                <a:gdLst>
                  <a:gd name="connsiteX0" fmla="*/ 11906 w 23812"/>
                  <a:gd name="connsiteY0" fmla="*/ 468821 h 468820"/>
                  <a:gd name="connsiteX1" fmla="*/ 0 w 23812"/>
                  <a:gd name="connsiteY1" fmla="*/ 456914 h 468820"/>
                  <a:gd name="connsiteX2" fmla="*/ 0 w 23812"/>
                  <a:gd name="connsiteY2" fmla="*/ 11906 h 468820"/>
                  <a:gd name="connsiteX3" fmla="*/ 11906 w 23812"/>
                  <a:gd name="connsiteY3" fmla="*/ 0 h 468820"/>
                  <a:gd name="connsiteX4" fmla="*/ 23813 w 23812"/>
                  <a:gd name="connsiteY4" fmla="*/ 11906 h 468820"/>
                  <a:gd name="connsiteX5" fmla="*/ 23813 w 23812"/>
                  <a:gd name="connsiteY5" fmla="*/ 456914 h 468820"/>
                  <a:gd name="connsiteX6" fmla="*/ 11906 w 23812"/>
                  <a:gd name="connsiteY6" fmla="*/ 468821 h 468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812" h="468820">
                    <a:moveTo>
                      <a:pt x="11906" y="468821"/>
                    </a:moveTo>
                    <a:cubicBezTo>
                      <a:pt x="5334" y="468821"/>
                      <a:pt x="0" y="463487"/>
                      <a:pt x="0" y="456914"/>
                    </a:cubicBezTo>
                    <a:lnTo>
                      <a:pt x="0" y="11906"/>
                    </a:lnTo>
                    <a:cubicBezTo>
                      <a:pt x="0" y="5334"/>
                      <a:pt x="5334" y="0"/>
                      <a:pt x="11906" y="0"/>
                    </a:cubicBezTo>
                    <a:cubicBezTo>
                      <a:pt x="18479" y="0"/>
                      <a:pt x="23813" y="5334"/>
                      <a:pt x="23813" y="11906"/>
                    </a:cubicBezTo>
                    <a:lnTo>
                      <a:pt x="23813" y="456914"/>
                    </a:lnTo>
                    <a:cubicBezTo>
                      <a:pt x="23813" y="463487"/>
                      <a:pt x="18479" y="468821"/>
                      <a:pt x="11906" y="468821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A8D78A1D-7108-38F7-119D-5B1A3293BF98}"/>
                  </a:ext>
                </a:extLst>
              </p:cNvPr>
              <p:cNvSpPr/>
              <p:nvPr/>
            </p:nvSpPr>
            <p:spPr>
              <a:xfrm>
                <a:off x="3834234" y="8103205"/>
                <a:ext cx="281368" cy="281368"/>
              </a:xfrm>
              <a:custGeom>
                <a:avLst/>
                <a:gdLst>
                  <a:gd name="connsiteX0" fmla="*/ 281369 w 281368"/>
                  <a:gd name="connsiteY0" fmla="*/ 140684 h 281368"/>
                  <a:gd name="connsiteX1" fmla="*/ 140684 w 281368"/>
                  <a:gd name="connsiteY1" fmla="*/ 281368 h 281368"/>
                  <a:gd name="connsiteX2" fmla="*/ 0 w 281368"/>
                  <a:gd name="connsiteY2" fmla="*/ 140684 h 281368"/>
                  <a:gd name="connsiteX3" fmla="*/ 140684 w 281368"/>
                  <a:gd name="connsiteY3" fmla="*/ 0 h 281368"/>
                  <a:gd name="connsiteX4" fmla="*/ 281369 w 281368"/>
                  <a:gd name="connsiteY4" fmla="*/ 140684 h 281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1368" h="281368">
                    <a:moveTo>
                      <a:pt x="281369" y="140684"/>
                    </a:moveTo>
                    <a:cubicBezTo>
                      <a:pt x="281369" y="218382"/>
                      <a:pt x="218382" y="281368"/>
                      <a:pt x="140684" y="281368"/>
                    </a:cubicBezTo>
                    <a:cubicBezTo>
                      <a:pt x="62986" y="281368"/>
                      <a:pt x="0" y="218382"/>
                      <a:pt x="0" y="140684"/>
                    </a:cubicBezTo>
                    <a:cubicBezTo>
                      <a:pt x="0" y="62986"/>
                      <a:pt x="62986" y="0"/>
                      <a:pt x="140684" y="0"/>
                    </a:cubicBezTo>
                    <a:cubicBezTo>
                      <a:pt x="218382" y="0"/>
                      <a:pt x="281369" y="62986"/>
                      <a:pt x="281369" y="140684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B366E0F4-FB8F-BA36-18E0-82F216935305}"/>
                  </a:ext>
                </a:extLst>
              </p:cNvPr>
              <p:cNvSpPr/>
              <p:nvPr/>
            </p:nvSpPr>
            <p:spPr>
              <a:xfrm>
                <a:off x="4725393" y="8103205"/>
                <a:ext cx="281368" cy="281368"/>
              </a:xfrm>
              <a:custGeom>
                <a:avLst/>
                <a:gdLst>
                  <a:gd name="connsiteX0" fmla="*/ 281368 w 281368"/>
                  <a:gd name="connsiteY0" fmla="*/ 140684 h 281368"/>
                  <a:gd name="connsiteX1" fmla="*/ 140684 w 281368"/>
                  <a:gd name="connsiteY1" fmla="*/ 281368 h 281368"/>
                  <a:gd name="connsiteX2" fmla="*/ 0 w 281368"/>
                  <a:gd name="connsiteY2" fmla="*/ 140684 h 281368"/>
                  <a:gd name="connsiteX3" fmla="*/ 140684 w 281368"/>
                  <a:gd name="connsiteY3" fmla="*/ 0 h 281368"/>
                  <a:gd name="connsiteX4" fmla="*/ 281368 w 281368"/>
                  <a:gd name="connsiteY4" fmla="*/ 140684 h 281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1368" h="281368">
                    <a:moveTo>
                      <a:pt x="281368" y="140684"/>
                    </a:moveTo>
                    <a:cubicBezTo>
                      <a:pt x="281368" y="218382"/>
                      <a:pt x="218382" y="281368"/>
                      <a:pt x="140684" y="281368"/>
                    </a:cubicBezTo>
                    <a:cubicBezTo>
                      <a:pt x="62986" y="281368"/>
                      <a:pt x="0" y="218382"/>
                      <a:pt x="0" y="140684"/>
                    </a:cubicBezTo>
                    <a:cubicBezTo>
                      <a:pt x="0" y="62986"/>
                      <a:pt x="62987" y="0"/>
                      <a:pt x="140684" y="0"/>
                    </a:cubicBezTo>
                    <a:cubicBezTo>
                      <a:pt x="218382" y="0"/>
                      <a:pt x="281368" y="62986"/>
                      <a:pt x="281368" y="140684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43" name="631 fuel cell">
                <a:extLst>
                  <a:ext uri="{FF2B5EF4-FFF2-40B4-BE49-F238E27FC236}">
                    <a16:creationId xmlns:a16="http://schemas.microsoft.com/office/drawing/2014/main" id="{ECF80350-53A7-F5D7-EDC4-6F041EEC08FD}"/>
                  </a:ext>
                </a:extLst>
              </p:cNvPr>
              <p:cNvGrpSpPr/>
              <p:nvPr/>
            </p:nvGrpSpPr>
            <p:grpSpPr>
              <a:xfrm>
                <a:off x="3898052" y="8182453"/>
                <a:ext cx="161353" cy="140684"/>
                <a:chOff x="3898052" y="8182453"/>
                <a:chExt cx="161353" cy="140684"/>
              </a:xfrm>
              <a:solidFill>
                <a:srgbClr val="FFFFFF"/>
              </a:solidFill>
            </p:grpSpPr>
            <p:sp>
              <p:nvSpPr>
                <p:cNvPr id="44" name="Freeform: Shape 43">
                  <a:extLst>
                    <a:ext uri="{FF2B5EF4-FFF2-40B4-BE49-F238E27FC236}">
                      <a16:creationId xmlns:a16="http://schemas.microsoft.com/office/drawing/2014/main" id="{108715B4-A37F-CB22-5F6A-6210BE419ACF}"/>
                    </a:ext>
                  </a:extLst>
                </p:cNvPr>
                <p:cNvSpPr/>
                <p:nvPr/>
              </p:nvSpPr>
              <p:spPr>
                <a:xfrm>
                  <a:off x="3898052" y="8182453"/>
                  <a:ext cx="93725" cy="113061"/>
                </a:xfrm>
                <a:custGeom>
                  <a:avLst/>
                  <a:gdLst>
                    <a:gd name="connsiteX0" fmla="*/ 93726 w 93725"/>
                    <a:gd name="connsiteY0" fmla="*/ 0 h 113061"/>
                    <a:gd name="connsiteX1" fmla="*/ 93726 w 93725"/>
                    <a:gd name="connsiteY1" fmla="*/ 113062 h 113061"/>
                    <a:gd name="connsiteX2" fmla="*/ 71057 w 93725"/>
                    <a:gd name="connsiteY2" fmla="*/ 113062 h 113061"/>
                    <a:gd name="connsiteX3" fmla="*/ 71057 w 93725"/>
                    <a:gd name="connsiteY3" fmla="*/ 64961 h 113061"/>
                    <a:gd name="connsiteX4" fmla="*/ 22670 w 93725"/>
                    <a:gd name="connsiteY4" fmla="*/ 64961 h 113061"/>
                    <a:gd name="connsiteX5" fmla="*/ 22670 w 93725"/>
                    <a:gd name="connsiteY5" fmla="*/ 113062 h 113061"/>
                    <a:gd name="connsiteX6" fmla="*/ 0 w 93725"/>
                    <a:gd name="connsiteY6" fmla="*/ 113062 h 113061"/>
                    <a:gd name="connsiteX7" fmla="*/ 0 w 93725"/>
                    <a:gd name="connsiteY7" fmla="*/ 0 h 113061"/>
                    <a:gd name="connsiteX8" fmla="*/ 22670 w 93725"/>
                    <a:gd name="connsiteY8" fmla="*/ 0 h 113061"/>
                    <a:gd name="connsiteX9" fmla="*/ 22670 w 93725"/>
                    <a:gd name="connsiteY9" fmla="*/ 46482 h 113061"/>
                    <a:gd name="connsiteX10" fmla="*/ 71057 w 93725"/>
                    <a:gd name="connsiteY10" fmla="*/ 46482 h 113061"/>
                    <a:gd name="connsiteX11" fmla="*/ 71057 w 93725"/>
                    <a:gd name="connsiteY11" fmla="*/ 0 h 113061"/>
                    <a:gd name="connsiteX12" fmla="*/ 93726 w 93725"/>
                    <a:gd name="connsiteY12" fmla="*/ 0 h 11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3725" h="113061">
                      <a:moveTo>
                        <a:pt x="93726" y="0"/>
                      </a:moveTo>
                      <a:lnTo>
                        <a:pt x="93726" y="113062"/>
                      </a:lnTo>
                      <a:lnTo>
                        <a:pt x="71057" y="113062"/>
                      </a:lnTo>
                      <a:lnTo>
                        <a:pt x="71057" y="64961"/>
                      </a:lnTo>
                      <a:lnTo>
                        <a:pt x="22670" y="64961"/>
                      </a:lnTo>
                      <a:lnTo>
                        <a:pt x="22670" y="113062"/>
                      </a:lnTo>
                      <a:lnTo>
                        <a:pt x="0" y="113062"/>
                      </a:lnTo>
                      <a:lnTo>
                        <a:pt x="0" y="0"/>
                      </a:lnTo>
                      <a:lnTo>
                        <a:pt x="22670" y="0"/>
                      </a:lnTo>
                      <a:lnTo>
                        <a:pt x="22670" y="46482"/>
                      </a:lnTo>
                      <a:lnTo>
                        <a:pt x="71057" y="46482"/>
                      </a:lnTo>
                      <a:lnTo>
                        <a:pt x="71057" y="0"/>
                      </a:lnTo>
                      <a:lnTo>
                        <a:pt x="9372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89935662-D21E-F49E-CFA2-A5F7A2B2E892}"/>
                    </a:ext>
                  </a:extLst>
                </p:cNvPr>
                <p:cNvSpPr/>
                <p:nvPr/>
              </p:nvSpPr>
              <p:spPr>
                <a:xfrm>
                  <a:off x="4007494" y="8246080"/>
                  <a:ext cx="51911" cy="77057"/>
                </a:xfrm>
                <a:custGeom>
                  <a:avLst/>
                  <a:gdLst>
                    <a:gd name="connsiteX0" fmla="*/ 5620 w 51911"/>
                    <a:gd name="connsiteY0" fmla="*/ 61436 h 77057"/>
                    <a:gd name="connsiteX1" fmla="*/ 21622 w 51911"/>
                    <a:gd name="connsiteY1" fmla="*/ 47434 h 77057"/>
                    <a:gd name="connsiteX2" fmla="*/ 31528 w 51911"/>
                    <a:gd name="connsiteY2" fmla="*/ 35719 h 77057"/>
                    <a:gd name="connsiteX3" fmla="*/ 35528 w 51911"/>
                    <a:gd name="connsiteY3" fmla="*/ 23813 h 77057"/>
                    <a:gd name="connsiteX4" fmla="*/ 33052 w 51911"/>
                    <a:gd name="connsiteY4" fmla="*/ 15430 h 77057"/>
                    <a:gd name="connsiteX5" fmla="*/ 25337 w 51911"/>
                    <a:gd name="connsiteY5" fmla="*/ 12382 h 77057"/>
                    <a:gd name="connsiteX6" fmla="*/ 17240 w 51911"/>
                    <a:gd name="connsiteY6" fmla="*/ 15907 h 77057"/>
                    <a:gd name="connsiteX7" fmla="*/ 14288 w 51911"/>
                    <a:gd name="connsiteY7" fmla="*/ 25527 h 77057"/>
                    <a:gd name="connsiteX8" fmla="*/ 0 w 51911"/>
                    <a:gd name="connsiteY8" fmla="*/ 25527 h 77057"/>
                    <a:gd name="connsiteX9" fmla="*/ 7525 w 51911"/>
                    <a:gd name="connsiteY9" fmla="*/ 6477 h 77057"/>
                    <a:gd name="connsiteX10" fmla="*/ 25527 w 51911"/>
                    <a:gd name="connsiteY10" fmla="*/ 0 h 77057"/>
                    <a:gd name="connsiteX11" fmla="*/ 43815 w 51911"/>
                    <a:gd name="connsiteY11" fmla="*/ 6382 h 77057"/>
                    <a:gd name="connsiteX12" fmla="*/ 50197 w 51911"/>
                    <a:gd name="connsiteY12" fmla="*/ 23050 h 77057"/>
                    <a:gd name="connsiteX13" fmla="*/ 45815 w 51911"/>
                    <a:gd name="connsiteY13" fmla="*/ 38671 h 77057"/>
                    <a:gd name="connsiteX14" fmla="*/ 35719 w 51911"/>
                    <a:gd name="connsiteY14" fmla="*/ 51625 h 77057"/>
                    <a:gd name="connsiteX15" fmla="*/ 20955 w 51911"/>
                    <a:gd name="connsiteY15" fmla="*/ 64865 h 77057"/>
                    <a:gd name="connsiteX16" fmla="*/ 51911 w 51911"/>
                    <a:gd name="connsiteY16" fmla="*/ 64865 h 77057"/>
                    <a:gd name="connsiteX17" fmla="*/ 51911 w 51911"/>
                    <a:gd name="connsiteY17" fmla="*/ 77057 h 77057"/>
                    <a:gd name="connsiteX18" fmla="*/ 191 w 51911"/>
                    <a:gd name="connsiteY18" fmla="*/ 77057 h 77057"/>
                    <a:gd name="connsiteX19" fmla="*/ 191 w 51911"/>
                    <a:gd name="connsiteY19" fmla="*/ 66199 h 77057"/>
                    <a:gd name="connsiteX20" fmla="*/ 5620 w 51911"/>
                    <a:gd name="connsiteY20" fmla="*/ 61627 h 77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51911" h="77057">
                      <a:moveTo>
                        <a:pt x="5620" y="61436"/>
                      </a:moveTo>
                      <a:cubicBezTo>
                        <a:pt x="12383" y="55816"/>
                        <a:pt x="17717" y="51149"/>
                        <a:pt x="21622" y="47434"/>
                      </a:cubicBezTo>
                      <a:cubicBezTo>
                        <a:pt x="25622" y="43720"/>
                        <a:pt x="28956" y="39815"/>
                        <a:pt x="31528" y="35719"/>
                      </a:cubicBezTo>
                      <a:cubicBezTo>
                        <a:pt x="34195" y="31623"/>
                        <a:pt x="35528" y="27718"/>
                        <a:pt x="35528" y="23813"/>
                      </a:cubicBezTo>
                      <a:cubicBezTo>
                        <a:pt x="35528" y="20193"/>
                        <a:pt x="34671" y="17431"/>
                        <a:pt x="33052" y="15430"/>
                      </a:cubicBezTo>
                      <a:cubicBezTo>
                        <a:pt x="31433" y="13430"/>
                        <a:pt x="28766" y="12382"/>
                        <a:pt x="25337" y="12382"/>
                      </a:cubicBezTo>
                      <a:cubicBezTo>
                        <a:pt x="21908" y="12382"/>
                        <a:pt x="19145" y="13525"/>
                        <a:pt x="17240" y="15907"/>
                      </a:cubicBezTo>
                      <a:cubicBezTo>
                        <a:pt x="15335" y="18288"/>
                        <a:pt x="14383" y="21431"/>
                        <a:pt x="14288" y="25527"/>
                      </a:cubicBezTo>
                      <a:lnTo>
                        <a:pt x="0" y="25527"/>
                      </a:lnTo>
                      <a:cubicBezTo>
                        <a:pt x="286" y="17145"/>
                        <a:pt x="2762" y="10763"/>
                        <a:pt x="7525" y="6477"/>
                      </a:cubicBezTo>
                      <a:cubicBezTo>
                        <a:pt x="12287" y="2095"/>
                        <a:pt x="18193" y="0"/>
                        <a:pt x="25527" y="0"/>
                      </a:cubicBezTo>
                      <a:cubicBezTo>
                        <a:pt x="33528" y="0"/>
                        <a:pt x="39624" y="2095"/>
                        <a:pt x="43815" y="6382"/>
                      </a:cubicBezTo>
                      <a:cubicBezTo>
                        <a:pt x="48006" y="10668"/>
                        <a:pt x="50197" y="16192"/>
                        <a:pt x="50197" y="23050"/>
                      </a:cubicBezTo>
                      <a:cubicBezTo>
                        <a:pt x="50197" y="28480"/>
                        <a:pt x="48768" y="33718"/>
                        <a:pt x="45815" y="38671"/>
                      </a:cubicBezTo>
                      <a:cubicBezTo>
                        <a:pt x="42863" y="43624"/>
                        <a:pt x="39529" y="47911"/>
                        <a:pt x="35719" y="51625"/>
                      </a:cubicBezTo>
                      <a:cubicBezTo>
                        <a:pt x="31909" y="55245"/>
                        <a:pt x="27051" y="59722"/>
                        <a:pt x="20955" y="64865"/>
                      </a:cubicBezTo>
                      <a:lnTo>
                        <a:pt x="51911" y="64865"/>
                      </a:lnTo>
                      <a:lnTo>
                        <a:pt x="51911" y="77057"/>
                      </a:lnTo>
                      <a:lnTo>
                        <a:pt x="191" y="77057"/>
                      </a:lnTo>
                      <a:lnTo>
                        <a:pt x="191" y="66199"/>
                      </a:lnTo>
                      <a:lnTo>
                        <a:pt x="5620" y="616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46" name="631 fuel cell">
                <a:extLst>
                  <a:ext uri="{FF2B5EF4-FFF2-40B4-BE49-F238E27FC236}">
                    <a16:creationId xmlns:a16="http://schemas.microsoft.com/office/drawing/2014/main" id="{AB563CCA-8531-1C71-1DEB-2005D6F3AD7F}"/>
                  </a:ext>
                </a:extLst>
              </p:cNvPr>
              <p:cNvGrpSpPr/>
              <p:nvPr/>
            </p:nvGrpSpPr>
            <p:grpSpPr>
              <a:xfrm>
                <a:off x="4780257" y="8180834"/>
                <a:ext cx="178022" cy="142303"/>
                <a:chOff x="4780257" y="8180834"/>
                <a:chExt cx="178022" cy="142303"/>
              </a:xfrm>
              <a:solidFill>
                <a:srgbClr val="FFFFFF"/>
              </a:solidFill>
            </p:grpSpPr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9BD32791-F0AA-A5C4-1F36-18044A7F4C3C}"/>
                    </a:ext>
                  </a:extLst>
                </p:cNvPr>
                <p:cNvSpPr/>
                <p:nvPr/>
              </p:nvSpPr>
              <p:spPr>
                <a:xfrm>
                  <a:off x="4780257" y="8180834"/>
                  <a:ext cx="115824" cy="115823"/>
                </a:xfrm>
                <a:custGeom>
                  <a:avLst/>
                  <a:gdLst>
                    <a:gd name="connsiteX0" fmla="*/ 28861 w 115824"/>
                    <a:gd name="connsiteY0" fmla="*/ 108395 h 115823"/>
                    <a:gd name="connsiteX1" fmla="*/ 7811 w 115824"/>
                    <a:gd name="connsiteY1" fmla="*/ 87725 h 115823"/>
                    <a:gd name="connsiteX2" fmla="*/ 0 w 115824"/>
                    <a:gd name="connsiteY2" fmla="*/ 57817 h 115823"/>
                    <a:gd name="connsiteX3" fmla="*/ 7811 w 115824"/>
                    <a:gd name="connsiteY3" fmla="*/ 28099 h 115823"/>
                    <a:gd name="connsiteX4" fmla="*/ 28861 w 115824"/>
                    <a:gd name="connsiteY4" fmla="*/ 7430 h 115823"/>
                    <a:gd name="connsiteX5" fmla="*/ 58007 w 115824"/>
                    <a:gd name="connsiteY5" fmla="*/ 0 h 115823"/>
                    <a:gd name="connsiteX6" fmla="*/ 87249 w 115824"/>
                    <a:gd name="connsiteY6" fmla="*/ 7430 h 115823"/>
                    <a:gd name="connsiteX7" fmla="*/ 108109 w 115824"/>
                    <a:gd name="connsiteY7" fmla="*/ 28099 h 115823"/>
                    <a:gd name="connsiteX8" fmla="*/ 115824 w 115824"/>
                    <a:gd name="connsiteY8" fmla="*/ 57817 h 115823"/>
                    <a:gd name="connsiteX9" fmla="*/ 108109 w 115824"/>
                    <a:gd name="connsiteY9" fmla="*/ 87725 h 115823"/>
                    <a:gd name="connsiteX10" fmla="*/ 87154 w 115824"/>
                    <a:gd name="connsiteY10" fmla="*/ 108395 h 115823"/>
                    <a:gd name="connsiteX11" fmla="*/ 58007 w 115824"/>
                    <a:gd name="connsiteY11" fmla="*/ 115824 h 115823"/>
                    <a:gd name="connsiteX12" fmla="*/ 28861 w 115824"/>
                    <a:gd name="connsiteY12" fmla="*/ 108395 h 115823"/>
                    <a:gd name="connsiteX13" fmla="*/ 76010 w 115824"/>
                    <a:gd name="connsiteY13" fmla="*/ 90964 h 115823"/>
                    <a:gd name="connsiteX14" fmla="*/ 88202 w 115824"/>
                    <a:gd name="connsiteY14" fmla="*/ 77819 h 115823"/>
                    <a:gd name="connsiteX15" fmla="*/ 92583 w 115824"/>
                    <a:gd name="connsiteY15" fmla="*/ 57912 h 115823"/>
                    <a:gd name="connsiteX16" fmla="*/ 88202 w 115824"/>
                    <a:gd name="connsiteY16" fmla="*/ 38100 h 115823"/>
                    <a:gd name="connsiteX17" fmla="*/ 76010 w 115824"/>
                    <a:gd name="connsiteY17" fmla="*/ 25051 h 115823"/>
                    <a:gd name="connsiteX18" fmla="*/ 58007 w 115824"/>
                    <a:gd name="connsiteY18" fmla="*/ 20574 h 115823"/>
                    <a:gd name="connsiteX19" fmla="*/ 39910 w 115824"/>
                    <a:gd name="connsiteY19" fmla="*/ 25051 h 115823"/>
                    <a:gd name="connsiteX20" fmla="*/ 27718 w 115824"/>
                    <a:gd name="connsiteY20" fmla="*/ 38100 h 115823"/>
                    <a:gd name="connsiteX21" fmla="*/ 23336 w 115824"/>
                    <a:gd name="connsiteY21" fmla="*/ 57912 h 115823"/>
                    <a:gd name="connsiteX22" fmla="*/ 27718 w 115824"/>
                    <a:gd name="connsiteY22" fmla="*/ 77819 h 115823"/>
                    <a:gd name="connsiteX23" fmla="*/ 39910 w 115824"/>
                    <a:gd name="connsiteY23" fmla="*/ 90964 h 115823"/>
                    <a:gd name="connsiteX24" fmla="*/ 58007 w 115824"/>
                    <a:gd name="connsiteY24" fmla="*/ 95536 h 115823"/>
                    <a:gd name="connsiteX25" fmla="*/ 76010 w 115824"/>
                    <a:gd name="connsiteY25" fmla="*/ 90964 h 115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15824" h="115823">
                      <a:moveTo>
                        <a:pt x="28861" y="108395"/>
                      </a:moveTo>
                      <a:cubicBezTo>
                        <a:pt x="20003" y="103441"/>
                        <a:pt x="12954" y="96583"/>
                        <a:pt x="7811" y="87725"/>
                      </a:cubicBezTo>
                      <a:cubicBezTo>
                        <a:pt x="2667" y="78962"/>
                        <a:pt x="0" y="68961"/>
                        <a:pt x="0" y="57817"/>
                      </a:cubicBezTo>
                      <a:cubicBezTo>
                        <a:pt x="0" y="46672"/>
                        <a:pt x="2572" y="36862"/>
                        <a:pt x="7811" y="28099"/>
                      </a:cubicBezTo>
                      <a:cubicBezTo>
                        <a:pt x="12954" y="19336"/>
                        <a:pt x="20003" y="12382"/>
                        <a:pt x="28861" y="7430"/>
                      </a:cubicBezTo>
                      <a:cubicBezTo>
                        <a:pt x="37719" y="2476"/>
                        <a:pt x="47435" y="0"/>
                        <a:pt x="58007" y="0"/>
                      </a:cubicBezTo>
                      <a:cubicBezTo>
                        <a:pt x="68580" y="0"/>
                        <a:pt x="78391" y="2476"/>
                        <a:pt x="87249" y="7430"/>
                      </a:cubicBezTo>
                      <a:cubicBezTo>
                        <a:pt x="96107" y="12382"/>
                        <a:pt x="102965" y="19241"/>
                        <a:pt x="108109" y="28099"/>
                      </a:cubicBezTo>
                      <a:cubicBezTo>
                        <a:pt x="113252" y="36862"/>
                        <a:pt x="115824" y="46768"/>
                        <a:pt x="115824" y="57817"/>
                      </a:cubicBezTo>
                      <a:cubicBezTo>
                        <a:pt x="115824" y="68866"/>
                        <a:pt x="113252" y="78867"/>
                        <a:pt x="108109" y="87725"/>
                      </a:cubicBezTo>
                      <a:cubicBezTo>
                        <a:pt x="102965" y="96488"/>
                        <a:pt x="96012" y="103441"/>
                        <a:pt x="87154" y="108395"/>
                      </a:cubicBezTo>
                      <a:cubicBezTo>
                        <a:pt x="78296" y="113347"/>
                        <a:pt x="68580" y="115824"/>
                        <a:pt x="58007" y="115824"/>
                      </a:cubicBezTo>
                      <a:cubicBezTo>
                        <a:pt x="47435" y="115824"/>
                        <a:pt x="37719" y="113347"/>
                        <a:pt x="28861" y="108395"/>
                      </a:cubicBezTo>
                      <a:close/>
                      <a:moveTo>
                        <a:pt x="76010" y="90964"/>
                      </a:moveTo>
                      <a:cubicBezTo>
                        <a:pt x="81153" y="87916"/>
                        <a:pt x="85249" y="83439"/>
                        <a:pt x="88202" y="77819"/>
                      </a:cubicBezTo>
                      <a:cubicBezTo>
                        <a:pt x="91154" y="72104"/>
                        <a:pt x="92583" y="65437"/>
                        <a:pt x="92583" y="57912"/>
                      </a:cubicBezTo>
                      <a:cubicBezTo>
                        <a:pt x="92583" y="50387"/>
                        <a:pt x="91154" y="43720"/>
                        <a:pt x="88202" y="38100"/>
                      </a:cubicBezTo>
                      <a:cubicBezTo>
                        <a:pt x="85249" y="32385"/>
                        <a:pt x="81248" y="28099"/>
                        <a:pt x="76010" y="25051"/>
                      </a:cubicBezTo>
                      <a:cubicBezTo>
                        <a:pt x="70866" y="22003"/>
                        <a:pt x="64865" y="20574"/>
                        <a:pt x="58007" y="20574"/>
                      </a:cubicBezTo>
                      <a:cubicBezTo>
                        <a:pt x="51149" y="20574"/>
                        <a:pt x="45149" y="22098"/>
                        <a:pt x="39910" y="25051"/>
                      </a:cubicBezTo>
                      <a:cubicBezTo>
                        <a:pt x="34671" y="28099"/>
                        <a:pt x="30575" y="32385"/>
                        <a:pt x="27718" y="38100"/>
                      </a:cubicBezTo>
                      <a:cubicBezTo>
                        <a:pt x="24765" y="43815"/>
                        <a:pt x="23336" y="50387"/>
                        <a:pt x="23336" y="57912"/>
                      </a:cubicBezTo>
                      <a:cubicBezTo>
                        <a:pt x="23336" y="65437"/>
                        <a:pt x="24765" y="72104"/>
                        <a:pt x="27718" y="77819"/>
                      </a:cubicBezTo>
                      <a:cubicBezTo>
                        <a:pt x="30671" y="83534"/>
                        <a:pt x="34671" y="87916"/>
                        <a:pt x="39910" y="90964"/>
                      </a:cubicBezTo>
                      <a:cubicBezTo>
                        <a:pt x="45149" y="94012"/>
                        <a:pt x="51149" y="95536"/>
                        <a:pt x="58007" y="95536"/>
                      </a:cubicBezTo>
                      <a:cubicBezTo>
                        <a:pt x="64865" y="95536"/>
                        <a:pt x="70771" y="94012"/>
                        <a:pt x="76010" y="9096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2C161AE9-CAA4-C4B6-2915-4E22E1252D4A}"/>
                    </a:ext>
                  </a:extLst>
                </p:cNvPr>
                <p:cNvSpPr/>
                <p:nvPr/>
              </p:nvSpPr>
              <p:spPr>
                <a:xfrm>
                  <a:off x="4906273" y="8246080"/>
                  <a:ext cx="52006" cy="77057"/>
                </a:xfrm>
                <a:custGeom>
                  <a:avLst/>
                  <a:gdLst>
                    <a:gd name="connsiteX0" fmla="*/ 5620 w 52006"/>
                    <a:gd name="connsiteY0" fmla="*/ 61436 h 77057"/>
                    <a:gd name="connsiteX1" fmla="*/ 21622 w 52006"/>
                    <a:gd name="connsiteY1" fmla="*/ 47434 h 77057"/>
                    <a:gd name="connsiteX2" fmla="*/ 31528 w 52006"/>
                    <a:gd name="connsiteY2" fmla="*/ 35719 h 77057"/>
                    <a:gd name="connsiteX3" fmla="*/ 35528 w 52006"/>
                    <a:gd name="connsiteY3" fmla="*/ 23813 h 77057"/>
                    <a:gd name="connsiteX4" fmla="*/ 33052 w 52006"/>
                    <a:gd name="connsiteY4" fmla="*/ 15430 h 77057"/>
                    <a:gd name="connsiteX5" fmla="*/ 25337 w 52006"/>
                    <a:gd name="connsiteY5" fmla="*/ 12382 h 77057"/>
                    <a:gd name="connsiteX6" fmla="*/ 17240 w 52006"/>
                    <a:gd name="connsiteY6" fmla="*/ 15907 h 77057"/>
                    <a:gd name="connsiteX7" fmla="*/ 14288 w 52006"/>
                    <a:gd name="connsiteY7" fmla="*/ 25527 h 77057"/>
                    <a:gd name="connsiteX8" fmla="*/ 0 w 52006"/>
                    <a:gd name="connsiteY8" fmla="*/ 25527 h 77057"/>
                    <a:gd name="connsiteX9" fmla="*/ 7525 w 52006"/>
                    <a:gd name="connsiteY9" fmla="*/ 6477 h 77057"/>
                    <a:gd name="connsiteX10" fmla="*/ 25527 w 52006"/>
                    <a:gd name="connsiteY10" fmla="*/ 0 h 77057"/>
                    <a:gd name="connsiteX11" fmla="*/ 43910 w 52006"/>
                    <a:gd name="connsiteY11" fmla="*/ 6382 h 77057"/>
                    <a:gd name="connsiteX12" fmla="*/ 50292 w 52006"/>
                    <a:gd name="connsiteY12" fmla="*/ 23050 h 77057"/>
                    <a:gd name="connsiteX13" fmla="*/ 45910 w 52006"/>
                    <a:gd name="connsiteY13" fmla="*/ 38671 h 77057"/>
                    <a:gd name="connsiteX14" fmla="*/ 35814 w 52006"/>
                    <a:gd name="connsiteY14" fmla="*/ 51625 h 77057"/>
                    <a:gd name="connsiteX15" fmla="*/ 21050 w 52006"/>
                    <a:gd name="connsiteY15" fmla="*/ 64865 h 77057"/>
                    <a:gd name="connsiteX16" fmla="*/ 52006 w 52006"/>
                    <a:gd name="connsiteY16" fmla="*/ 64865 h 77057"/>
                    <a:gd name="connsiteX17" fmla="*/ 52006 w 52006"/>
                    <a:gd name="connsiteY17" fmla="*/ 77057 h 77057"/>
                    <a:gd name="connsiteX18" fmla="*/ 286 w 52006"/>
                    <a:gd name="connsiteY18" fmla="*/ 77057 h 77057"/>
                    <a:gd name="connsiteX19" fmla="*/ 286 w 52006"/>
                    <a:gd name="connsiteY19" fmla="*/ 66199 h 77057"/>
                    <a:gd name="connsiteX20" fmla="*/ 5715 w 52006"/>
                    <a:gd name="connsiteY20" fmla="*/ 61627 h 77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52006" h="77057">
                      <a:moveTo>
                        <a:pt x="5620" y="61436"/>
                      </a:moveTo>
                      <a:cubicBezTo>
                        <a:pt x="12287" y="55816"/>
                        <a:pt x="17717" y="51149"/>
                        <a:pt x="21622" y="47434"/>
                      </a:cubicBezTo>
                      <a:cubicBezTo>
                        <a:pt x="25622" y="43720"/>
                        <a:pt x="28956" y="39815"/>
                        <a:pt x="31528" y="35719"/>
                      </a:cubicBezTo>
                      <a:cubicBezTo>
                        <a:pt x="34195" y="31623"/>
                        <a:pt x="35528" y="27718"/>
                        <a:pt x="35528" y="23813"/>
                      </a:cubicBezTo>
                      <a:cubicBezTo>
                        <a:pt x="35528" y="20193"/>
                        <a:pt x="34671" y="17431"/>
                        <a:pt x="33052" y="15430"/>
                      </a:cubicBezTo>
                      <a:cubicBezTo>
                        <a:pt x="31337" y="13430"/>
                        <a:pt x="28765" y="12382"/>
                        <a:pt x="25337" y="12382"/>
                      </a:cubicBezTo>
                      <a:cubicBezTo>
                        <a:pt x="21908" y="12382"/>
                        <a:pt x="19145" y="13525"/>
                        <a:pt x="17240" y="15907"/>
                      </a:cubicBezTo>
                      <a:cubicBezTo>
                        <a:pt x="15335" y="18288"/>
                        <a:pt x="14383" y="21431"/>
                        <a:pt x="14288" y="25527"/>
                      </a:cubicBezTo>
                      <a:lnTo>
                        <a:pt x="0" y="25527"/>
                      </a:lnTo>
                      <a:cubicBezTo>
                        <a:pt x="286" y="17145"/>
                        <a:pt x="2762" y="10763"/>
                        <a:pt x="7525" y="6477"/>
                      </a:cubicBezTo>
                      <a:cubicBezTo>
                        <a:pt x="12287" y="2095"/>
                        <a:pt x="18193" y="0"/>
                        <a:pt x="25527" y="0"/>
                      </a:cubicBezTo>
                      <a:cubicBezTo>
                        <a:pt x="33528" y="0"/>
                        <a:pt x="39624" y="2095"/>
                        <a:pt x="43910" y="6382"/>
                      </a:cubicBezTo>
                      <a:cubicBezTo>
                        <a:pt x="48196" y="10668"/>
                        <a:pt x="50292" y="16192"/>
                        <a:pt x="50292" y="23050"/>
                      </a:cubicBezTo>
                      <a:cubicBezTo>
                        <a:pt x="50292" y="28480"/>
                        <a:pt x="48863" y="33718"/>
                        <a:pt x="45910" y="38671"/>
                      </a:cubicBezTo>
                      <a:cubicBezTo>
                        <a:pt x="42958" y="43624"/>
                        <a:pt x="39624" y="47911"/>
                        <a:pt x="35814" y="51625"/>
                      </a:cubicBezTo>
                      <a:cubicBezTo>
                        <a:pt x="32004" y="55340"/>
                        <a:pt x="27146" y="59722"/>
                        <a:pt x="21050" y="64865"/>
                      </a:cubicBezTo>
                      <a:lnTo>
                        <a:pt x="52006" y="64865"/>
                      </a:lnTo>
                      <a:lnTo>
                        <a:pt x="52006" y="77057"/>
                      </a:lnTo>
                      <a:lnTo>
                        <a:pt x="286" y="77057"/>
                      </a:lnTo>
                      <a:lnTo>
                        <a:pt x="286" y="66199"/>
                      </a:lnTo>
                      <a:lnTo>
                        <a:pt x="5715" y="616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pic>
          <p:nvPicPr>
            <p:cNvPr id="34" name="137 battery full (red)">
              <a:extLst>
                <a:ext uri="{FF2B5EF4-FFF2-40B4-BE49-F238E27FC236}">
                  <a16:creationId xmlns:a16="http://schemas.microsoft.com/office/drawing/2014/main" id="{1E5F05D2-D8B6-0D84-FB12-B12E7CA9FA52}"/>
                </a:ext>
              </a:extLst>
            </p:cNvPr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4527472" y="2172646"/>
              <a:ext cx="1456522" cy="1456522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41A8AEA-2EF2-F3F8-18D0-B7534C9AB844}"/>
                </a:ext>
              </a:extLst>
            </p:cNvPr>
            <p:cNvSpPr txBox="1"/>
            <p:nvPr/>
          </p:nvSpPr>
          <p:spPr>
            <a:xfrm>
              <a:off x="5760177" y="2694074"/>
              <a:ext cx="680246" cy="413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3200" b="1">
                  <a:latin typeface="+mn-lt"/>
                </a:rPr>
                <a:t>+</a:t>
              </a:r>
            </a:p>
          </p:txBody>
        </p:sp>
      </p:grpSp>
      <p:sp>
        <p:nvSpPr>
          <p:cNvPr id="16" name="TextBox1683547890">
            <a:extLst>
              <a:ext uri="{FF2B5EF4-FFF2-40B4-BE49-F238E27FC236}">
                <a16:creationId xmlns:a16="http://schemas.microsoft.com/office/drawing/2014/main" id="{6C01ED20-C93E-C916-EB22-6CB7A831F65A}"/>
              </a:ext>
            </a:extLst>
          </p:cNvPr>
          <p:cNvSpPr txBox="1"/>
          <p:nvPr/>
        </p:nvSpPr>
        <p:spPr>
          <a:xfrm>
            <a:off x="550863" y="1708671"/>
            <a:ext cx="3493960" cy="4600054"/>
          </a:xfrm>
          <a:prstGeom prst="roundRect">
            <a:avLst>
              <a:gd name="adj" fmla="val 1454"/>
            </a:avLst>
          </a:prstGeom>
          <a:solidFill>
            <a:schemeClr val="accent4"/>
          </a:solidFill>
          <a:ln w="6350">
            <a:noFill/>
          </a:ln>
        </p:spPr>
        <p:txBody>
          <a:bodyPr rtlCol="0" anchor="ctr"/>
          <a:lstStyle>
            <a:defPPr>
              <a:defRPr lang="de-DE"/>
            </a:defPPr>
            <a:lvl1pPr algn="ctr"/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3763241-5C30-BE11-435E-F771330BF7AB}"/>
              </a:ext>
            </a:extLst>
          </p:cNvPr>
          <p:cNvSpPr txBox="1"/>
          <p:nvPr/>
        </p:nvSpPr>
        <p:spPr>
          <a:xfrm>
            <a:off x="901876" y="1849507"/>
            <a:ext cx="2791934" cy="41366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n-lt"/>
              </a:rPr>
              <a:t>REFCEV</a:t>
            </a:r>
            <a:r>
              <a:rPr lang="en-US" sz="2000" b="1">
                <a:latin typeface="+mn-lt"/>
              </a:rPr>
              <a:t> </a:t>
            </a:r>
          </a:p>
        </p:txBody>
      </p:sp>
      <p:sp>
        <p:nvSpPr>
          <p:cNvPr id="12" name="TextBox1683547890">
            <a:extLst>
              <a:ext uri="{FF2B5EF4-FFF2-40B4-BE49-F238E27FC236}">
                <a16:creationId xmlns:a16="http://schemas.microsoft.com/office/drawing/2014/main" id="{3C40DD78-7C78-00D9-8E49-81F699740862}"/>
              </a:ext>
            </a:extLst>
          </p:cNvPr>
          <p:cNvSpPr txBox="1"/>
          <p:nvPr/>
        </p:nvSpPr>
        <p:spPr>
          <a:xfrm>
            <a:off x="8145445" y="1708671"/>
            <a:ext cx="3493960" cy="4600054"/>
          </a:xfrm>
          <a:prstGeom prst="roundRect">
            <a:avLst>
              <a:gd name="adj" fmla="val 1454"/>
            </a:avLst>
          </a:prstGeom>
          <a:solidFill>
            <a:schemeClr val="accent2"/>
          </a:solidFill>
          <a:ln w="6350">
            <a:noFill/>
          </a:ln>
        </p:spPr>
        <p:txBody>
          <a:bodyPr rtlCol="0" anchor="ctr"/>
          <a:lstStyle>
            <a:defPPr>
              <a:defRPr lang="de-DE"/>
            </a:defPPr>
            <a:lvl1pPr algn="ctr"/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err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9E91D2E-5260-2796-E89D-3533F4EDAFBC}"/>
              </a:ext>
            </a:extLst>
          </p:cNvPr>
          <p:cNvSpPr txBox="1"/>
          <p:nvPr/>
        </p:nvSpPr>
        <p:spPr>
          <a:xfrm>
            <a:off x="8249643" y="1849507"/>
            <a:ext cx="3285564" cy="41366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+mn-lt"/>
              </a:rPr>
              <a:t>FULL-HYBRID FCEV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D48B014-87BA-A03C-41D1-386BAD23664E}"/>
              </a:ext>
            </a:extLst>
          </p:cNvPr>
          <p:cNvGrpSpPr/>
          <p:nvPr/>
        </p:nvGrpSpPr>
        <p:grpSpPr>
          <a:xfrm>
            <a:off x="8661490" y="2519693"/>
            <a:ext cx="2461870" cy="762428"/>
            <a:chOff x="8772279" y="2519693"/>
            <a:chExt cx="2461870" cy="762428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8BD342E-51F1-D98B-8D9D-D7C2B54FE5C6}"/>
                </a:ext>
              </a:extLst>
            </p:cNvPr>
            <p:cNvGrpSpPr/>
            <p:nvPr/>
          </p:nvGrpSpPr>
          <p:grpSpPr>
            <a:xfrm>
              <a:off x="10061622" y="2551578"/>
              <a:ext cx="1172527" cy="698658"/>
              <a:chOff x="1869395" y="7894512"/>
              <a:chExt cx="1172527" cy="698658"/>
            </a:xfrm>
          </p:grpSpPr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FD2D7115-29E0-9CF0-7CC6-1903CD7928A6}"/>
                  </a:ext>
                </a:extLst>
              </p:cNvPr>
              <p:cNvSpPr/>
              <p:nvPr/>
            </p:nvSpPr>
            <p:spPr>
              <a:xfrm>
                <a:off x="1998173" y="7894512"/>
                <a:ext cx="156686" cy="186404"/>
              </a:xfrm>
              <a:custGeom>
                <a:avLst/>
                <a:gdLst>
                  <a:gd name="connsiteX0" fmla="*/ 23813 w 156686"/>
                  <a:gd name="connsiteY0" fmla="*/ 186404 h 186404"/>
                  <a:gd name="connsiteX1" fmla="*/ 23813 w 156686"/>
                  <a:gd name="connsiteY1" fmla="*/ 84296 h 186404"/>
                  <a:gd name="connsiteX2" fmla="*/ 84296 w 156686"/>
                  <a:gd name="connsiteY2" fmla="*/ 23813 h 186404"/>
                  <a:gd name="connsiteX3" fmla="*/ 156686 w 156686"/>
                  <a:gd name="connsiteY3" fmla="*/ 23813 h 186404"/>
                  <a:gd name="connsiteX4" fmla="*/ 156686 w 156686"/>
                  <a:gd name="connsiteY4" fmla="*/ 0 h 186404"/>
                  <a:gd name="connsiteX5" fmla="*/ 84296 w 156686"/>
                  <a:gd name="connsiteY5" fmla="*/ 0 h 186404"/>
                  <a:gd name="connsiteX6" fmla="*/ 0 w 156686"/>
                  <a:gd name="connsiteY6" fmla="*/ 84296 h 186404"/>
                  <a:gd name="connsiteX7" fmla="*/ 0 w 156686"/>
                  <a:gd name="connsiteY7" fmla="*/ 186404 h 186404"/>
                  <a:gd name="connsiteX8" fmla="*/ 23813 w 156686"/>
                  <a:gd name="connsiteY8" fmla="*/ 186404 h 186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6686" h="186404">
                    <a:moveTo>
                      <a:pt x="23813" y="186404"/>
                    </a:moveTo>
                    <a:lnTo>
                      <a:pt x="23813" y="84296"/>
                    </a:lnTo>
                    <a:cubicBezTo>
                      <a:pt x="23813" y="50959"/>
                      <a:pt x="50959" y="23813"/>
                      <a:pt x="84296" y="23813"/>
                    </a:cubicBezTo>
                    <a:lnTo>
                      <a:pt x="156686" y="23813"/>
                    </a:lnTo>
                    <a:lnTo>
                      <a:pt x="156686" y="0"/>
                    </a:lnTo>
                    <a:lnTo>
                      <a:pt x="84296" y="0"/>
                    </a:lnTo>
                    <a:cubicBezTo>
                      <a:pt x="37814" y="0"/>
                      <a:pt x="0" y="37814"/>
                      <a:pt x="0" y="84296"/>
                    </a:cubicBezTo>
                    <a:lnTo>
                      <a:pt x="0" y="186404"/>
                    </a:lnTo>
                    <a:lnTo>
                      <a:pt x="23813" y="18640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4032DFA4-1044-1D99-C472-9526A09CE439}"/>
                  </a:ext>
                </a:extLst>
              </p:cNvPr>
              <p:cNvSpPr/>
              <p:nvPr/>
            </p:nvSpPr>
            <p:spPr>
              <a:xfrm>
                <a:off x="1998173" y="7894512"/>
                <a:ext cx="917447" cy="698658"/>
              </a:xfrm>
              <a:custGeom>
                <a:avLst/>
                <a:gdLst>
                  <a:gd name="connsiteX0" fmla="*/ 833152 w 917447"/>
                  <a:gd name="connsiteY0" fmla="*/ 0 h 698658"/>
                  <a:gd name="connsiteX1" fmla="*/ 178403 w 917447"/>
                  <a:gd name="connsiteY1" fmla="*/ 0 h 698658"/>
                  <a:gd name="connsiteX2" fmla="*/ 178403 w 917447"/>
                  <a:gd name="connsiteY2" fmla="*/ 23813 h 698658"/>
                  <a:gd name="connsiteX3" fmla="*/ 833152 w 917447"/>
                  <a:gd name="connsiteY3" fmla="*/ 23813 h 698658"/>
                  <a:gd name="connsiteX4" fmla="*/ 893636 w 917447"/>
                  <a:gd name="connsiteY4" fmla="*/ 84296 h 698658"/>
                  <a:gd name="connsiteX5" fmla="*/ 893636 w 917447"/>
                  <a:gd name="connsiteY5" fmla="*/ 614363 h 698658"/>
                  <a:gd name="connsiteX6" fmla="*/ 833152 w 917447"/>
                  <a:gd name="connsiteY6" fmla="*/ 674846 h 698658"/>
                  <a:gd name="connsiteX7" fmla="*/ 84296 w 917447"/>
                  <a:gd name="connsiteY7" fmla="*/ 674846 h 698658"/>
                  <a:gd name="connsiteX8" fmla="*/ 23813 w 917447"/>
                  <a:gd name="connsiteY8" fmla="*/ 614363 h 698658"/>
                  <a:gd name="connsiteX9" fmla="*/ 23813 w 917447"/>
                  <a:gd name="connsiteY9" fmla="*/ 217646 h 698658"/>
                  <a:gd name="connsiteX10" fmla="*/ 0 w 917447"/>
                  <a:gd name="connsiteY10" fmla="*/ 217646 h 698658"/>
                  <a:gd name="connsiteX11" fmla="*/ 0 w 917447"/>
                  <a:gd name="connsiteY11" fmla="*/ 614363 h 698658"/>
                  <a:gd name="connsiteX12" fmla="*/ 84296 w 917447"/>
                  <a:gd name="connsiteY12" fmla="*/ 698659 h 698658"/>
                  <a:gd name="connsiteX13" fmla="*/ 833152 w 917447"/>
                  <a:gd name="connsiteY13" fmla="*/ 698659 h 698658"/>
                  <a:gd name="connsiteX14" fmla="*/ 917448 w 917447"/>
                  <a:gd name="connsiteY14" fmla="*/ 614363 h 698658"/>
                  <a:gd name="connsiteX15" fmla="*/ 917448 w 917447"/>
                  <a:gd name="connsiteY15" fmla="*/ 84296 h 698658"/>
                  <a:gd name="connsiteX16" fmla="*/ 833152 w 917447"/>
                  <a:gd name="connsiteY16" fmla="*/ 0 h 698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17447" h="698658">
                    <a:moveTo>
                      <a:pt x="833152" y="0"/>
                    </a:moveTo>
                    <a:lnTo>
                      <a:pt x="178403" y="0"/>
                    </a:lnTo>
                    <a:lnTo>
                      <a:pt x="178403" y="23813"/>
                    </a:lnTo>
                    <a:lnTo>
                      <a:pt x="833152" y="23813"/>
                    </a:lnTo>
                    <a:cubicBezTo>
                      <a:pt x="866489" y="23813"/>
                      <a:pt x="893636" y="50959"/>
                      <a:pt x="893636" y="84296"/>
                    </a:cubicBezTo>
                    <a:lnTo>
                      <a:pt x="893636" y="614363"/>
                    </a:lnTo>
                    <a:cubicBezTo>
                      <a:pt x="893636" y="647700"/>
                      <a:pt x="866489" y="674846"/>
                      <a:pt x="833152" y="674846"/>
                    </a:cubicBezTo>
                    <a:lnTo>
                      <a:pt x="84296" y="674846"/>
                    </a:lnTo>
                    <a:cubicBezTo>
                      <a:pt x="50959" y="674846"/>
                      <a:pt x="23813" y="647700"/>
                      <a:pt x="23813" y="614363"/>
                    </a:cubicBezTo>
                    <a:lnTo>
                      <a:pt x="23813" y="217646"/>
                    </a:lnTo>
                    <a:lnTo>
                      <a:pt x="0" y="217646"/>
                    </a:lnTo>
                    <a:lnTo>
                      <a:pt x="0" y="614363"/>
                    </a:lnTo>
                    <a:cubicBezTo>
                      <a:pt x="0" y="660845"/>
                      <a:pt x="37814" y="698659"/>
                      <a:pt x="84296" y="698659"/>
                    </a:cubicBezTo>
                    <a:lnTo>
                      <a:pt x="833152" y="698659"/>
                    </a:lnTo>
                    <a:cubicBezTo>
                      <a:pt x="879634" y="698659"/>
                      <a:pt x="917448" y="660845"/>
                      <a:pt x="917448" y="614363"/>
                    </a:cubicBezTo>
                    <a:lnTo>
                      <a:pt x="917448" y="84296"/>
                    </a:lnTo>
                    <a:cubicBezTo>
                      <a:pt x="917448" y="37814"/>
                      <a:pt x="879634" y="0"/>
                      <a:pt x="83315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76629594-B8FF-3578-D386-A783F2B2F4D5}"/>
                  </a:ext>
                </a:extLst>
              </p:cNvPr>
              <p:cNvSpPr/>
              <p:nvPr/>
            </p:nvSpPr>
            <p:spPr>
              <a:xfrm>
                <a:off x="2250586" y="8009479"/>
                <a:ext cx="23812" cy="468820"/>
              </a:xfrm>
              <a:custGeom>
                <a:avLst/>
                <a:gdLst>
                  <a:gd name="connsiteX0" fmla="*/ 11906 w 23812"/>
                  <a:gd name="connsiteY0" fmla="*/ 468821 h 468820"/>
                  <a:gd name="connsiteX1" fmla="*/ 0 w 23812"/>
                  <a:gd name="connsiteY1" fmla="*/ 456914 h 468820"/>
                  <a:gd name="connsiteX2" fmla="*/ 0 w 23812"/>
                  <a:gd name="connsiteY2" fmla="*/ 11906 h 468820"/>
                  <a:gd name="connsiteX3" fmla="*/ 11906 w 23812"/>
                  <a:gd name="connsiteY3" fmla="*/ 0 h 468820"/>
                  <a:gd name="connsiteX4" fmla="*/ 23813 w 23812"/>
                  <a:gd name="connsiteY4" fmla="*/ 11906 h 468820"/>
                  <a:gd name="connsiteX5" fmla="*/ 23813 w 23812"/>
                  <a:gd name="connsiteY5" fmla="*/ 456914 h 468820"/>
                  <a:gd name="connsiteX6" fmla="*/ 11906 w 23812"/>
                  <a:gd name="connsiteY6" fmla="*/ 468821 h 468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812" h="468820">
                    <a:moveTo>
                      <a:pt x="11906" y="468821"/>
                    </a:moveTo>
                    <a:cubicBezTo>
                      <a:pt x="5334" y="468821"/>
                      <a:pt x="0" y="463487"/>
                      <a:pt x="0" y="456914"/>
                    </a:cubicBezTo>
                    <a:lnTo>
                      <a:pt x="0" y="11906"/>
                    </a:lnTo>
                    <a:cubicBezTo>
                      <a:pt x="0" y="5334"/>
                      <a:pt x="5334" y="0"/>
                      <a:pt x="11906" y="0"/>
                    </a:cubicBezTo>
                    <a:cubicBezTo>
                      <a:pt x="18478" y="0"/>
                      <a:pt x="23813" y="5334"/>
                      <a:pt x="23813" y="11906"/>
                    </a:cubicBezTo>
                    <a:lnTo>
                      <a:pt x="23813" y="456914"/>
                    </a:lnTo>
                    <a:cubicBezTo>
                      <a:pt x="23813" y="463487"/>
                      <a:pt x="18478" y="468821"/>
                      <a:pt x="11906" y="46882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1FA38180-A2B0-7122-D8B5-60ED0CEDC25C}"/>
                  </a:ext>
                </a:extLst>
              </p:cNvPr>
              <p:cNvSpPr/>
              <p:nvPr/>
            </p:nvSpPr>
            <p:spPr>
              <a:xfrm>
                <a:off x="2441086" y="8009479"/>
                <a:ext cx="23812" cy="468820"/>
              </a:xfrm>
              <a:custGeom>
                <a:avLst/>
                <a:gdLst>
                  <a:gd name="connsiteX0" fmla="*/ 11906 w 23812"/>
                  <a:gd name="connsiteY0" fmla="*/ 468821 h 468820"/>
                  <a:gd name="connsiteX1" fmla="*/ 0 w 23812"/>
                  <a:gd name="connsiteY1" fmla="*/ 456914 h 468820"/>
                  <a:gd name="connsiteX2" fmla="*/ 0 w 23812"/>
                  <a:gd name="connsiteY2" fmla="*/ 11906 h 468820"/>
                  <a:gd name="connsiteX3" fmla="*/ 11906 w 23812"/>
                  <a:gd name="connsiteY3" fmla="*/ 0 h 468820"/>
                  <a:gd name="connsiteX4" fmla="*/ 23813 w 23812"/>
                  <a:gd name="connsiteY4" fmla="*/ 11906 h 468820"/>
                  <a:gd name="connsiteX5" fmla="*/ 23813 w 23812"/>
                  <a:gd name="connsiteY5" fmla="*/ 456914 h 468820"/>
                  <a:gd name="connsiteX6" fmla="*/ 11906 w 23812"/>
                  <a:gd name="connsiteY6" fmla="*/ 468821 h 468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812" h="468820">
                    <a:moveTo>
                      <a:pt x="11906" y="468821"/>
                    </a:moveTo>
                    <a:cubicBezTo>
                      <a:pt x="5334" y="468821"/>
                      <a:pt x="0" y="463487"/>
                      <a:pt x="0" y="456914"/>
                    </a:cubicBezTo>
                    <a:lnTo>
                      <a:pt x="0" y="11906"/>
                    </a:lnTo>
                    <a:cubicBezTo>
                      <a:pt x="0" y="5334"/>
                      <a:pt x="5334" y="0"/>
                      <a:pt x="11906" y="0"/>
                    </a:cubicBezTo>
                    <a:cubicBezTo>
                      <a:pt x="18479" y="0"/>
                      <a:pt x="23813" y="5334"/>
                      <a:pt x="23813" y="11906"/>
                    </a:cubicBezTo>
                    <a:lnTo>
                      <a:pt x="23813" y="456914"/>
                    </a:lnTo>
                    <a:cubicBezTo>
                      <a:pt x="23813" y="463487"/>
                      <a:pt x="18479" y="468821"/>
                      <a:pt x="11906" y="46882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841D965B-6AAD-5BE5-DB3C-BCBFAB94A939}"/>
                  </a:ext>
                </a:extLst>
              </p:cNvPr>
              <p:cNvSpPr/>
              <p:nvPr/>
            </p:nvSpPr>
            <p:spPr>
              <a:xfrm>
                <a:off x="2631586" y="8009479"/>
                <a:ext cx="23812" cy="468820"/>
              </a:xfrm>
              <a:custGeom>
                <a:avLst/>
                <a:gdLst>
                  <a:gd name="connsiteX0" fmla="*/ 11906 w 23812"/>
                  <a:gd name="connsiteY0" fmla="*/ 468821 h 468820"/>
                  <a:gd name="connsiteX1" fmla="*/ 0 w 23812"/>
                  <a:gd name="connsiteY1" fmla="*/ 456914 h 468820"/>
                  <a:gd name="connsiteX2" fmla="*/ 0 w 23812"/>
                  <a:gd name="connsiteY2" fmla="*/ 11906 h 468820"/>
                  <a:gd name="connsiteX3" fmla="*/ 11906 w 23812"/>
                  <a:gd name="connsiteY3" fmla="*/ 0 h 468820"/>
                  <a:gd name="connsiteX4" fmla="*/ 23813 w 23812"/>
                  <a:gd name="connsiteY4" fmla="*/ 11906 h 468820"/>
                  <a:gd name="connsiteX5" fmla="*/ 23813 w 23812"/>
                  <a:gd name="connsiteY5" fmla="*/ 456914 h 468820"/>
                  <a:gd name="connsiteX6" fmla="*/ 11906 w 23812"/>
                  <a:gd name="connsiteY6" fmla="*/ 468821 h 468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812" h="468820">
                    <a:moveTo>
                      <a:pt x="11906" y="468821"/>
                    </a:moveTo>
                    <a:cubicBezTo>
                      <a:pt x="5334" y="468821"/>
                      <a:pt x="0" y="463487"/>
                      <a:pt x="0" y="456914"/>
                    </a:cubicBezTo>
                    <a:lnTo>
                      <a:pt x="0" y="11906"/>
                    </a:lnTo>
                    <a:cubicBezTo>
                      <a:pt x="0" y="5334"/>
                      <a:pt x="5334" y="0"/>
                      <a:pt x="11906" y="0"/>
                    </a:cubicBezTo>
                    <a:cubicBezTo>
                      <a:pt x="18479" y="0"/>
                      <a:pt x="23813" y="5334"/>
                      <a:pt x="23813" y="11906"/>
                    </a:cubicBezTo>
                    <a:lnTo>
                      <a:pt x="23813" y="456914"/>
                    </a:lnTo>
                    <a:cubicBezTo>
                      <a:pt x="23813" y="463487"/>
                      <a:pt x="18479" y="468821"/>
                      <a:pt x="11906" y="46882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2C58BC2E-C436-1E40-EC4B-4D625D770AFC}"/>
                  </a:ext>
                </a:extLst>
              </p:cNvPr>
              <p:cNvSpPr/>
              <p:nvPr/>
            </p:nvSpPr>
            <p:spPr>
              <a:xfrm>
                <a:off x="1869395" y="8103205"/>
                <a:ext cx="281368" cy="281368"/>
              </a:xfrm>
              <a:custGeom>
                <a:avLst/>
                <a:gdLst>
                  <a:gd name="connsiteX0" fmla="*/ 281369 w 281368"/>
                  <a:gd name="connsiteY0" fmla="*/ 140684 h 281368"/>
                  <a:gd name="connsiteX1" fmla="*/ 140684 w 281368"/>
                  <a:gd name="connsiteY1" fmla="*/ 281368 h 281368"/>
                  <a:gd name="connsiteX2" fmla="*/ 0 w 281368"/>
                  <a:gd name="connsiteY2" fmla="*/ 140684 h 281368"/>
                  <a:gd name="connsiteX3" fmla="*/ 140684 w 281368"/>
                  <a:gd name="connsiteY3" fmla="*/ 0 h 281368"/>
                  <a:gd name="connsiteX4" fmla="*/ 281369 w 281368"/>
                  <a:gd name="connsiteY4" fmla="*/ 140684 h 281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1368" h="281368">
                    <a:moveTo>
                      <a:pt x="281369" y="140684"/>
                    </a:moveTo>
                    <a:cubicBezTo>
                      <a:pt x="281369" y="218382"/>
                      <a:pt x="218382" y="281368"/>
                      <a:pt x="140684" y="281368"/>
                    </a:cubicBezTo>
                    <a:cubicBezTo>
                      <a:pt x="62986" y="281368"/>
                      <a:pt x="0" y="218382"/>
                      <a:pt x="0" y="140684"/>
                    </a:cubicBezTo>
                    <a:cubicBezTo>
                      <a:pt x="0" y="62986"/>
                      <a:pt x="62986" y="0"/>
                      <a:pt x="140684" y="0"/>
                    </a:cubicBezTo>
                    <a:cubicBezTo>
                      <a:pt x="218382" y="0"/>
                      <a:pt x="281369" y="62986"/>
                      <a:pt x="281369" y="14068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D299E81C-B70F-D82B-F755-907E3C4779F8}"/>
                  </a:ext>
                </a:extLst>
              </p:cNvPr>
              <p:cNvSpPr/>
              <p:nvPr/>
            </p:nvSpPr>
            <p:spPr>
              <a:xfrm>
                <a:off x="2760554" y="8103205"/>
                <a:ext cx="281368" cy="281368"/>
              </a:xfrm>
              <a:custGeom>
                <a:avLst/>
                <a:gdLst>
                  <a:gd name="connsiteX0" fmla="*/ 281368 w 281368"/>
                  <a:gd name="connsiteY0" fmla="*/ 140684 h 281368"/>
                  <a:gd name="connsiteX1" fmla="*/ 140684 w 281368"/>
                  <a:gd name="connsiteY1" fmla="*/ 281368 h 281368"/>
                  <a:gd name="connsiteX2" fmla="*/ 0 w 281368"/>
                  <a:gd name="connsiteY2" fmla="*/ 140684 h 281368"/>
                  <a:gd name="connsiteX3" fmla="*/ 140684 w 281368"/>
                  <a:gd name="connsiteY3" fmla="*/ 0 h 281368"/>
                  <a:gd name="connsiteX4" fmla="*/ 281368 w 281368"/>
                  <a:gd name="connsiteY4" fmla="*/ 140684 h 281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1368" h="281368">
                    <a:moveTo>
                      <a:pt x="281368" y="140684"/>
                    </a:moveTo>
                    <a:cubicBezTo>
                      <a:pt x="281368" y="218382"/>
                      <a:pt x="218382" y="281368"/>
                      <a:pt x="140684" y="281368"/>
                    </a:cubicBezTo>
                    <a:cubicBezTo>
                      <a:pt x="62986" y="281368"/>
                      <a:pt x="0" y="218382"/>
                      <a:pt x="0" y="140684"/>
                    </a:cubicBezTo>
                    <a:cubicBezTo>
                      <a:pt x="0" y="62986"/>
                      <a:pt x="62987" y="0"/>
                      <a:pt x="140684" y="0"/>
                    </a:cubicBezTo>
                    <a:cubicBezTo>
                      <a:pt x="218382" y="0"/>
                      <a:pt x="281368" y="62986"/>
                      <a:pt x="281368" y="14068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56" name="631 fuel cell">
                <a:extLst>
                  <a:ext uri="{FF2B5EF4-FFF2-40B4-BE49-F238E27FC236}">
                    <a16:creationId xmlns:a16="http://schemas.microsoft.com/office/drawing/2014/main" id="{3C0665FC-F22F-FF90-49C3-5C3C1BC0C26C}"/>
                  </a:ext>
                </a:extLst>
              </p:cNvPr>
              <p:cNvGrpSpPr/>
              <p:nvPr/>
            </p:nvGrpSpPr>
            <p:grpSpPr>
              <a:xfrm>
                <a:off x="1933213" y="8182453"/>
                <a:ext cx="161353" cy="140684"/>
                <a:chOff x="3898052" y="8182453"/>
                <a:chExt cx="161353" cy="140684"/>
              </a:xfrm>
              <a:solidFill>
                <a:schemeClr val="tx1"/>
              </a:solidFill>
            </p:grpSpPr>
            <p:sp>
              <p:nvSpPr>
                <p:cNvPr id="57" name="Freeform: Shape 56">
                  <a:extLst>
                    <a:ext uri="{FF2B5EF4-FFF2-40B4-BE49-F238E27FC236}">
                      <a16:creationId xmlns:a16="http://schemas.microsoft.com/office/drawing/2014/main" id="{39F626DA-0FFA-037F-A2A7-43B0990E0CAD}"/>
                    </a:ext>
                  </a:extLst>
                </p:cNvPr>
                <p:cNvSpPr/>
                <p:nvPr/>
              </p:nvSpPr>
              <p:spPr>
                <a:xfrm>
                  <a:off x="3898052" y="8182453"/>
                  <a:ext cx="93725" cy="113061"/>
                </a:xfrm>
                <a:custGeom>
                  <a:avLst/>
                  <a:gdLst>
                    <a:gd name="connsiteX0" fmla="*/ 93726 w 93725"/>
                    <a:gd name="connsiteY0" fmla="*/ 0 h 113061"/>
                    <a:gd name="connsiteX1" fmla="*/ 93726 w 93725"/>
                    <a:gd name="connsiteY1" fmla="*/ 113062 h 113061"/>
                    <a:gd name="connsiteX2" fmla="*/ 71057 w 93725"/>
                    <a:gd name="connsiteY2" fmla="*/ 113062 h 113061"/>
                    <a:gd name="connsiteX3" fmla="*/ 71057 w 93725"/>
                    <a:gd name="connsiteY3" fmla="*/ 64961 h 113061"/>
                    <a:gd name="connsiteX4" fmla="*/ 22670 w 93725"/>
                    <a:gd name="connsiteY4" fmla="*/ 64961 h 113061"/>
                    <a:gd name="connsiteX5" fmla="*/ 22670 w 93725"/>
                    <a:gd name="connsiteY5" fmla="*/ 113062 h 113061"/>
                    <a:gd name="connsiteX6" fmla="*/ 0 w 93725"/>
                    <a:gd name="connsiteY6" fmla="*/ 113062 h 113061"/>
                    <a:gd name="connsiteX7" fmla="*/ 0 w 93725"/>
                    <a:gd name="connsiteY7" fmla="*/ 0 h 113061"/>
                    <a:gd name="connsiteX8" fmla="*/ 22670 w 93725"/>
                    <a:gd name="connsiteY8" fmla="*/ 0 h 113061"/>
                    <a:gd name="connsiteX9" fmla="*/ 22670 w 93725"/>
                    <a:gd name="connsiteY9" fmla="*/ 46482 h 113061"/>
                    <a:gd name="connsiteX10" fmla="*/ 71057 w 93725"/>
                    <a:gd name="connsiteY10" fmla="*/ 46482 h 113061"/>
                    <a:gd name="connsiteX11" fmla="*/ 71057 w 93725"/>
                    <a:gd name="connsiteY11" fmla="*/ 0 h 113061"/>
                    <a:gd name="connsiteX12" fmla="*/ 93726 w 93725"/>
                    <a:gd name="connsiteY12" fmla="*/ 0 h 11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3725" h="113061">
                      <a:moveTo>
                        <a:pt x="93726" y="0"/>
                      </a:moveTo>
                      <a:lnTo>
                        <a:pt x="93726" y="113062"/>
                      </a:lnTo>
                      <a:lnTo>
                        <a:pt x="71057" y="113062"/>
                      </a:lnTo>
                      <a:lnTo>
                        <a:pt x="71057" y="64961"/>
                      </a:lnTo>
                      <a:lnTo>
                        <a:pt x="22670" y="64961"/>
                      </a:lnTo>
                      <a:lnTo>
                        <a:pt x="22670" y="113062"/>
                      </a:lnTo>
                      <a:lnTo>
                        <a:pt x="0" y="113062"/>
                      </a:lnTo>
                      <a:lnTo>
                        <a:pt x="0" y="0"/>
                      </a:lnTo>
                      <a:lnTo>
                        <a:pt x="22670" y="0"/>
                      </a:lnTo>
                      <a:lnTo>
                        <a:pt x="22670" y="46482"/>
                      </a:lnTo>
                      <a:lnTo>
                        <a:pt x="71057" y="46482"/>
                      </a:lnTo>
                      <a:lnTo>
                        <a:pt x="71057" y="0"/>
                      </a:lnTo>
                      <a:lnTo>
                        <a:pt x="93726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8" name="Freeform: Shape 57">
                  <a:extLst>
                    <a:ext uri="{FF2B5EF4-FFF2-40B4-BE49-F238E27FC236}">
                      <a16:creationId xmlns:a16="http://schemas.microsoft.com/office/drawing/2014/main" id="{2194A9B5-0966-1F9F-BED1-63DB39421AE4}"/>
                    </a:ext>
                  </a:extLst>
                </p:cNvPr>
                <p:cNvSpPr/>
                <p:nvPr/>
              </p:nvSpPr>
              <p:spPr>
                <a:xfrm>
                  <a:off x="4007494" y="8246080"/>
                  <a:ext cx="51911" cy="77057"/>
                </a:xfrm>
                <a:custGeom>
                  <a:avLst/>
                  <a:gdLst>
                    <a:gd name="connsiteX0" fmla="*/ 5620 w 51911"/>
                    <a:gd name="connsiteY0" fmla="*/ 61436 h 77057"/>
                    <a:gd name="connsiteX1" fmla="*/ 21622 w 51911"/>
                    <a:gd name="connsiteY1" fmla="*/ 47434 h 77057"/>
                    <a:gd name="connsiteX2" fmla="*/ 31528 w 51911"/>
                    <a:gd name="connsiteY2" fmla="*/ 35719 h 77057"/>
                    <a:gd name="connsiteX3" fmla="*/ 35528 w 51911"/>
                    <a:gd name="connsiteY3" fmla="*/ 23813 h 77057"/>
                    <a:gd name="connsiteX4" fmla="*/ 33052 w 51911"/>
                    <a:gd name="connsiteY4" fmla="*/ 15430 h 77057"/>
                    <a:gd name="connsiteX5" fmla="*/ 25337 w 51911"/>
                    <a:gd name="connsiteY5" fmla="*/ 12382 h 77057"/>
                    <a:gd name="connsiteX6" fmla="*/ 17240 w 51911"/>
                    <a:gd name="connsiteY6" fmla="*/ 15907 h 77057"/>
                    <a:gd name="connsiteX7" fmla="*/ 14288 w 51911"/>
                    <a:gd name="connsiteY7" fmla="*/ 25527 h 77057"/>
                    <a:gd name="connsiteX8" fmla="*/ 0 w 51911"/>
                    <a:gd name="connsiteY8" fmla="*/ 25527 h 77057"/>
                    <a:gd name="connsiteX9" fmla="*/ 7525 w 51911"/>
                    <a:gd name="connsiteY9" fmla="*/ 6477 h 77057"/>
                    <a:gd name="connsiteX10" fmla="*/ 25527 w 51911"/>
                    <a:gd name="connsiteY10" fmla="*/ 0 h 77057"/>
                    <a:gd name="connsiteX11" fmla="*/ 43815 w 51911"/>
                    <a:gd name="connsiteY11" fmla="*/ 6382 h 77057"/>
                    <a:gd name="connsiteX12" fmla="*/ 50197 w 51911"/>
                    <a:gd name="connsiteY12" fmla="*/ 23050 h 77057"/>
                    <a:gd name="connsiteX13" fmla="*/ 45815 w 51911"/>
                    <a:gd name="connsiteY13" fmla="*/ 38671 h 77057"/>
                    <a:gd name="connsiteX14" fmla="*/ 35719 w 51911"/>
                    <a:gd name="connsiteY14" fmla="*/ 51625 h 77057"/>
                    <a:gd name="connsiteX15" fmla="*/ 20955 w 51911"/>
                    <a:gd name="connsiteY15" fmla="*/ 64865 h 77057"/>
                    <a:gd name="connsiteX16" fmla="*/ 51911 w 51911"/>
                    <a:gd name="connsiteY16" fmla="*/ 64865 h 77057"/>
                    <a:gd name="connsiteX17" fmla="*/ 51911 w 51911"/>
                    <a:gd name="connsiteY17" fmla="*/ 77057 h 77057"/>
                    <a:gd name="connsiteX18" fmla="*/ 191 w 51911"/>
                    <a:gd name="connsiteY18" fmla="*/ 77057 h 77057"/>
                    <a:gd name="connsiteX19" fmla="*/ 191 w 51911"/>
                    <a:gd name="connsiteY19" fmla="*/ 66199 h 77057"/>
                    <a:gd name="connsiteX20" fmla="*/ 5620 w 51911"/>
                    <a:gd name="connsiteY20" fmla="*/ 61627 h 77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51911" h="77057">
                      <a:moveTo>
                        <a:pt x="5620" y="61436"/>
                      </a:moveTo>
                      <a:cubicBezTo>
                        <a:pt x="12383" y="55816"/>
                        <a:pt x="17717" y="51149"/>
                        <a:pt x="21622" y="47434"/>
                      </a:cubicBezTo>
                      <a:cubicBezTo>
                        <a:pt x="25622" y="43720"/>
                        <a:pt x="28956" y="39815"/>
                        <a:pt x="31528" y="35719"/>
                      </a:cubicBezTo>
                      <a:cubicBezTo>
                        <a:pt x="34195" y="31623"/>
                        <a:pt x="35528" y="27718"/>
                        <a:pt x="35528" y="23813"/>
                      </a:cubicBezTo>
                      <a:cubicBezTo>
                        <a:pt x="35528" y="20193"/>
                        <a:pt x="34671" y="17431"/>
                        <a:pt x="33052" y="15430"/>
                      </a:cubicBezTo>
                      <a:cubicBezTo>
                        <a:pt x="31433" y="13430"/>
                        <a:pt x="28766" y="12382"/>
                        <a:pt x="25337" y="12382"/>
                      </a:cubicBezTo>
                      <a:cubicBezTo>
                        <a:pt x="21908" y="12382"/>
                        <a:pt x="19145" y="13525"/>
                        <a:pt x="17240" y="15907"/>
                      </a:cubicBezTo>
                      <a:cubicBezTo>
                        <a:pt x="15335" y="18288"/>
                        <a:pt x="14383" y="21431"/>
                        <a:pt x="14288" y="25527"/>
                      </a:cubicBezTo>
                      <a:lnTo>
                        <a:pt x="0" y="25527"/>
                      </a:lnTo>
                      <a:cubicBezTo>
                        <a:pt x="286" y="17145"/>
                        <a:pt x="2762" y="10763"/>
                        <a:pt x="7525" y="6477"/>
                      </a:cubicBezTo>
                      <a:cubicBezTo>
                        <a:pt x="12287" y="2095"/>
                        <a:pt x="18193" y="0"/>
                        <a:pt x="25527" y="0"/>
                      </a:cubicBezTo>
                      <a:cubicBezTo>
                        <a:pt x="33528" y="0"/>
                        <a:pt x="39624" y="2095"/>
                        <a:pt x="43815" y="6382"/>
                      </a:cubicBezTo>
                      <a:cubicBezTo>
                        <a:pt x="48006" y="10668"/>
                        <a:pt x="50197" y="16192"/>
                        <a:pt x="50197" y="23050"/>
                      </a:cubicBezTo>
                      <a:cubicBezTo>
                        <a:pt x="50197" y="28480"/>
                        <a:pt x="48768" y="33718"/>
                        <a:pt x="45815" y="38671"/>
                      </a:cubicBezTo>
                      <a:cubicBezTo>
                        <a:pt x="42863" y="43624"/>
                        <a:pt x="39529" y="47911"/>
                        <a:pt x="35719" y="51625"/>
                      </a:cubicBezTo>
                      <a:cubicBezTo>
                        <a:pt x="31909" y="55245"/>
                        <a:pt x="27051" y="59722"/>
                        <a:pt x="20955" y="64865"/>
                      </a:cubicBezTo>
                      <a:lnTo>
                        <a:pt x="51911" y="64865"/>
                      </a:lnTo>
                      <a:lnTo>
                        <a:pt x="51911" y="77057"/>
                      </a:lnTo>
                      <a:lnTo>
                        <a:pt x="191" y="77057"/>
                      </a:lnTo>
                      <a:lnTo>
                        <a:pt x="191" y="66199"/>
                      </a:lnTo>
                      <a:lnTo>
                        <a:pt x="5620" y="61627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9" name="631 fuel cell">
                <a:extLst>
                  <a:ext uri="{FF2B5EF4-FFF2-40B4-BE49-F238E27FC236}">
                    <a16:creationId xmlns:a16="http://schemas.microsoft.com/office/drawing/2014/main" id="{528A9524-6D81-E7BB-A514-964167E3EC6C}"/>
                  </a:ext>
                </a:extLst>
              </p:cNvPr>
              <p:cNvGrpSpPr/>
              <p:nvPr/>
            </p:nvGrpSpPr>
            <p:grpSpPr>
              <a:xfrm>
                <a:off x="2815418" y="8180834"/>
                <a:ext cx="178022" cy="142303"/>
                <a:chOff x="4780257" y="8180834"/>
                <a:chExt cx="178022" cy="142303"/>
              </a:xfrm>
              <a:solidFill>
                <a:schemeClr val="tx1"/>
              </a:solidFill>
            </p:grpSpPr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74769C27-8278-D69A-AF27-0F7F18F4178E}"/>
                    </a:ext>
                  </a:extLst>
                </p:cNvPr>
                <p:cNvSpPr/>
                <p:nvPr/>
              </p:nvSpPr>
              <p:spPr>
                <a:xfrm>
                  <a:off x="4780257" y="8180834"/>
                  <a:ext cx="115824" cy="115823"/>
                </a:xfrm>
                <a:custGeom>
                  <a:avLst/>
                  <a:gdLst>
                    <a:gd name="connsiteX0" fmla="*/ 28861 w 115824"/>
                    <a:gd name="connsiteY0" fmla="*/ 108395 h 115823"/>
                    <a:gd name="connsiteX1" fmla="*/ 7811 w 115824"/>
                    <a:gd name="connsiteY1" fmla="*/ 87725 h 115823"/>
                    <a:gd name="connsiteX2" fmla="*/ 0 w 115824"/>
                    <a:gd name="connsiteY2" fmla="*/ 57817 h 115823"/>
                    <a:gd name="connsiteX3" fmla="*/ 7811 w 115824"/>
                    <a:gd name="connsiteY3" fmla="*/ 28099 h 115823"/>
                    <a:gd name="connsiteX4" fmla="*/ 28861 w 115824"/>
                    <a:gd name="connsiteY4" fmla="*/ 7430 h 115823"/>
                    <a:gd name="connsiteX5" fmla="*/ 58007 w 115824"/>
                    <a:gd name="connsiteY5" fmla="*/ 0 h 115823"/>
                    <a:gd name="connsiteX6" fmla="*/ 87249 w 115824"/>
                    <a:gd name="connsiteY6" fmla="*/ 7430 h 115823"/>
                    <a:gd name="connsiteX7" fmla="*/ 108109 w 115824"/>
                    <a:gd name="connsiteY7" fmla="*/ 28099 h 115823"/>
                    <a:gd name="connsiteX8" fmla="*/ 115824 w 115824"/>
                    <a:gd name="connsiteY8" fmla="*/ 57817 h 115823"/>
                    <a:gd name="connsiteX9" fmla="*/ 108109 w 115824"/>
                    <a:gd name="connsiteY9" fmla="*/ 87725 h 115823"/>
                    <a:gd name="connsiteX10" fmla="*/ 87154 w 115824"/>
                    <a:gd name="connsiteY10" fmla="*/ 108395 h 115823"/>
                    <a:gd name="connsiteX11" fmla="*/ 58007 w 115824"/>
                    <a:gd name="connsiteY11" fmla="*/ 115824 h 115823"/>
                    <a:gd name="connsiteX12" fmla="*/ 28861 w 115824"/>
                    <a:gd name="connsiteY12" fmla="*/ 108395 h 115823"/>
                    <a:gd name="connsiteX13" fmla="*/ 76010 w 115824"/>
                    <a:gd name="connsiteY13" fmla="*/ 90964 h 115823"/>
                    <a:gd name="connsiteX14" fmla="*/ 88202 w 115824"/>
                    <a:gd name="connsiteY14" fmla="*/ 77819 h 115823"/>
                    <a:gd name="connsiteX15" fmla="*/ 92583 w 115824"/>
                    <a:gd name="connsiteY15" fmla="*/ 57912 h 115823"/>
                    <a:gd name="connsiteX16" fmla="*/ 88202 w 115824"/>
                    <a:gd name="connsiteY16" fmla="*/ 38100 h 115823"/>
                    <a:gd name="connsiteX17" fmla="*/ 76010 w 115824"/>
                    <a:gd name="connsiteY17" fmla="*/ 25051 h 115823"/>
                    <a:gd name="connsiteX18" fmla="*/ 58007 w 115824"/>
                    <a:gd name="connsiteY18" fmla="*/ 20574 h 115823"/>
                    <a:gd name="connsiteX19" fmla="*/ 39910 w 115824"/>
                    <a:gd name="connsiteY19" fmla="*/ 25051 h 115823"/>
                    <a:gd name="connsiteX20" fmla="*/ 27718 w 115824"/>
                    <a:gd name="connsiteY20" fmla="*/ 38100 h 115823"/>
                    <a:gd name="connsiteX21" fmla="*/ 23336 w 115824"/>
                    <a:gd name="connsiteY21" fmla="*/ 57912 h 115823"/>
                    <a:gd name="connsiteX22" fmla="*/ 27718 w 115824"/>
                    <a:gd name="connsiteY22" fmla="*/ 77819 h 115823"/>
                    <a:gd name="connsiteX23" fmla="*/ 39910 w 115824"/>
                    <a:gd name="connsiteY23" fmla="*/ 90964 h 115823"/>
                    <a:gd name="connsiteX24" fmla="*/ 58007 w 115824"/>
                    <a:gd name="connsiteY24" fmla="*/ 95536 h 115823"/>
                    <a:gd name="connsiteX25" fmla="*/ 76010 w 115824"/>
                    <a:gd name="connsiteY25" fmla="*/ 90964 h 115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15824" h="115823">
                      <a:moveTo>
                        <a:pt x="28861" y="108395"/>
                      </a:moveTo>
                      <a:cubicBezTo>
                        <a:pt x="20003" y="103441"/>
                        <a:pt x="12954" y="96583"/>
                        <a:pt x="7811" y="87725"/>
                      </a:cubicBezTo>
                      <a:cubicBezTo>
                        <a:pt x="2667" y="78962"/>
                        <a:pt x="0" y="68961"/>
                        <a:pt x="0" y="57817"/>
                      </a:cubicBezTo>
                      <a:cubicBezTo>
                        <a:pt x="0" y="46672"/>
                        <a:pt x="2572" y="36862"/>
                        <a:pt x="7811" y="28099"/>
                      </a:cubicBezTo>
                      <a:cubicBezTo>
                        <a:pt x="12954" y="19336"/>
                        <a:pt x="20003" y="12382"/>
                        <a:pt x="28861" y="7430"/>
                      </a:cubicBezTo>
                      <a:cubicBezTo>
                        <a:pt x="37719" y="2476"/>
                        <a:pt x="47435" y="0"/>
                        <a:pt x="58007" y="0"/>
                      </a:cubicBezTo>
                      <a:cubicBezTo>
                        <a:pt x="68580" y="0"/>
                        <a:pt x="78391" y="2476"/>
                        <a:pt x="87249" y="7430"/>
                      </a:cubicBezTo>
                      <a:cubicBezTo>
                        <a:pt x="96107" y="12382"/>
                        <a:pt x="102965" y="19241"/>
                        <a:pt x="108109" y="28099"/>
                      </a:cubicBezTo>
                      <a:cubicBezTo>
                        <a:pt x="113252" y="36862"/>
                        <a:pt x="115824" y="46768"/>
                        <a:pt x="115824" y="57817"/>
                      </a:cubicBezTo>
                      <a:cubicBezTo>
                        <a:pt x="115824" y="68866"/>
                        <a:pt x="113252" y="78867"/>
                        <a:pt x="108109" y="87725"/>
                      </a:cubicBezTo>
                      <a:cubicBezTo>
                        <a:pt x="102965" y="96488"/>
                        <a:pt x="96012" y="103441"/>
                        <a:pt x="87154" y="108395"/>
                      </a:cubicBezTo>
                      <a:cubicBezTo>
                        <a:pt x="78296" y="113347"/>
                        <a:pt x="68580" y="115824"/>
                        <a:pt x="58007" y="115824"/>
                      </a:cubicBezTo>
                      <a:cubicBezTo>
                        <a:pt x="47435" y="115824"/>
                        <a:pt x="37719" y="113347"/>
                        <a:pt x="28861" y="108395"/>
                      </a:cubicBezTo>
                      <a:close/>
                      <a:moveTo>
                        <a:pt x="76010" y="90964"/>
                      </a:moveTo>
                      <a:cubicBezTo>
                        <a:pt x="81153" y="87916"/>
                        <a:pt x="85249" y="83439"/>
                        <a:pt x="88202" y="77819"/>
                      </a:cubicBezTo>
                      <a:cubicBezTo>
                        <a:pt x="91154" y="72104"/>
                        <a:pt x="92583" y="65437"/>
                        <a:pt x="92583" y="57912"/>
                      </a:cubicBezTo>
                      <a:cubicBezTo>
                        <a:pt x="92583" y="50387"/>
                        <a:pt x="91154" y="43720"/>
                        <a:pt x="88202" y="38100"/>
                      </a:cubicBezTo>
                      <a:cubicBezTo>
                        <a:pt x="85249" y="32385"/>
                        <a:pt x="81248" y="28099"/>
                        <a:pt x="76010" y="25051"/>
                      </a:cubicBezTo>
                      <a:cubicBezTo>
                        <a:pt x="70866" y="22003"/>
                        <a:pt x="64865" y="20574"/>
                        <a:pt x="58007" y="20574"/>
                      </a:cubicBezTo>
                      <a:cubicBezTo>
                        <a:pt x="51149" y="20574"/>
                        <a:pt x="45149" y="22098"/>
                        <a:pt x="39910" y="25051"/>
                      </a:cubicBezTo>
                      <a:cubicBezTo>
                        <a:pt x="34671" y="28099"/>
                        <a:pt x="30575" y="32385"/>
                        <a:pt x="27718" y="38100"/>
                      </a:cubicBezTo>
                      <a:cubicBezTo>
                        <a:pt x="24765" y="43815"/>
                        <a:pt x="23336" y="50387"/>
                        <a:pt x="23336" y="57912"/>
                      </a:cubicBezTo>
                      <a:cubicBezTo>
                        <a:pt x="23336" y="65437"/>
                        <a:pt x="24765" y="72104"/>
                        <a:pt x="27718" y="77819"/>
                      </a:cubicBezTo>
                      <a:cubicBezTo>
                        <a:pt x="30671" y="83534"/>
                        <a:pt x="34671" y="87916"/>
                        <a:pt x="39910" y="90964"/>
                      </a:cubicBezTo>
                      <a:cubicBezTo>
                        <a:pt x="45149" y="94012"/>
                        <a:pt x="51149" y="95536"/>
                        <a:pt x="58007" y="95536"/>
                      </a:cubicBezTo>
                      <a:cubicBezTo>
                        <a:pt x="64865" y="95536"/>
                        <a:pt x="70771" y="94012"/>
                        <a:pt x="76010" y="9096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830B9A26-8018-C4E6-29DD-F06AA73AEEF6}"/>
                    </a:ext>
                  </a:extLst>
                </p:cNvPr>
                <p:cNvSpPr/>
                <p:nvPr/>
              </p:nvSpPr>
              <p:spPr>
                <a:xfrm>
                  <a:off x="4906273" y="8246080"/>
                  <a:ext cx="52006" cy="77057"/>
                </a:xfrm>
                <a:custGeom>
                  <a:avLst/>
                  <a:gdLst>
                    <a:gd name="connsiteX0" fmla="*/ 5620 w 52006"/>
                    <a:gd name="connsiteY0" fmla="*/ 61436 h 77057"/>
                    <a:gd name="connsiteX1" fmla="*/ 21622 w 52006"/>
                    <a:gd name="connsiteY1" fmla="*/ 47434 h 77057"/>
                    <a:gd name="connsiteX2" fmla="*/ 31528 w 52006"/>
                    <a:gd name="connsiteY2" fmla="*/ 35719 h 77057"/>
                    <a:gd name="connsiteX3" fmla="*/ 35528 w 52006"/>
                    <a:gd name="connsiteY3" fmla="*/ 23813 h 77057"/>
                    <a:gd name="connsiteX4" fmla="*/ 33052 w 52006"/>
                    <a:gd name="connsiteY4" fmla="*/ 15430 h 77057"/>
                    <a:gd name="connsiteX5" fmla="*/ 25337 w 52006"/>
                    <a:gd name="connsiteY5" fmla="*/ 12382 h 77057"/>
                    <a:gd name="connsiteX6" fmla="*/ 17240 w 52006"/>
                    <a:gd name="connsiteY6" fmla="*/ 15907 h 77057"/>
                    <a:gd name="connsiteX7" fmla="*/ 14288 w 52006"/>
                    <a:gd name="connsiteY7" fmla="*/ 25527 h 77057"/>
                    <a:gd name="connsiteX8" fmla="*/ 0 w 52006"/>
                    <a:gd name="connsiteY8" fmla="*/ 25527 h 77057"/>
                    <a:gd name="connsiteX9" fmla="*/ 7525 w 52006"/>
                    <a:gd name="connsiteY9" fmla="*/ 6477 h 77057"/>
                    <a:gd name="connsiteX10" fmla="*/ 25527 w 52006"/>
                    <a:gd name="connsiteY10" fmla="*/ 0 h 77057"/>
                    <a:gd name="connsiteX11" fmla="*/ 43910 w 52006"/>
                    <a:gd name="connsiteY11" fmla="*/ 6382 h 77057"/>
                    <a:gd name="connsiteX12" fmla="*/ 50292 w 52006"/>
                    <a:gd name="connsiteY12" fmla="*/ 23050 h 77057"/>
                    <a:gd name="connsiteX13" fmla="*/ 45910 w 52006"/>
                    <a:gd name="connsiteY13" fmla="*/ 38671 h 77057"/>
                    <a:gd name="connsiteX14" fmla="*/ 35814 w 52006"/>
                    <a:gd name="connsiteY14" fmla="*/ 51625 h 77057"/>
                    <a:gd name="connsiteX15" fmla="*/ 21050 w 52006"/>
                    <a:gd name="connsiteY15" fmla="*/ 64865 h 77057"/>
                    <a:gd name="connsiteX16" fmla="*/ 52006 w 52006"/>
                    <a:gd name="connsiteY16" fmla="*/ 64865 h 77057"/>
                    <a:gd name="connsiteX17" fmla="*/ 52006 w 52006"/>
                    <a:gd name="connsiteY17" fmla="*/ 77057 h 77057"/>
                    <a:gd name="connsiteX18" fmla="*/ 286 w 52006"/>
                    <a:gd name="connsiteY18" fmla="*/ 77057 h 77057"/>
                    <a:gd name="connsiteX19" fmla="*/ 286 w 52006"/>
                    <a:gd name="connsiteY19" fmla="*/ 66199 h 77057"/>
                    <a:gd name="connsiteX20" fmla="*/ 5715 w 52006"/>
                    <a:gd name="connsiteY20" fmla="*/ 61627 h 77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52006" h="77057">
                      <a:moveTo>
                        <a:pt x="5620" y="61436"/>
                      </a:moveTo>
                      <a:cubicBezTo>
                        <a:pt x="12287" y="55816"/>
                        <a:pt x="17717" y="51149"/>
                        <a:pt x="21622" y="47434"/>
                      </a:cubicBezTo>
                      <a:cubicBezTo>
                        <a:pt x="25622" y="43720"/>
                        <a:pt x="28956" y="39815"/>
                        <a:pt x="31528" y="35719"/>
                      </a:cubicBezTo>
                      <a:cubicBezTo>
                        <a:pt x="34195" y="31623"/>
                        <a:pt x="35528" y="27718"/>
                        <a:pt x="35528" y="23813"/>
                      </a:cubicBezTo>
                      <a:cubicBezTo>
                        <a:pt x="35528" y="20193"/>
                        <a:pt x="34671" y="17431"/>
                        <a:pt x="33052" y="15430"/>
                      </a:cubicBezTo>
                      <a:cubicBezTo>
                        <a:pt x="31337" y="13430"/>
                        <a:pt x="28765" y="12382"/>
                        <a:pt x="25337" y="12382"/>
                      </a:cubicBezTo>
                      <a:cubicBezTo>
                        <a:pt x="21908" y="12382"/>
                        <a:pt x="19145" y="13525"/>
                        <a:pt x="17240" y="15907"/>
                      </a:cubicBezTo>
                      <a:cubicBezTo>
                        <a:pt x="15335" y="18288"/>
                        <a:pt x="14383" y="21431"/>
                        <a:pt x="14288" y="25527"/>
                      </a:cubicBezTo>
                      <a:lnTo>
                        <a:pt x="0" y="25527"/>
                      </a:lnTo>
                      <a:cubicBezTo>
                        <a:pt x="286" y="17145"/>
                        <a:pt x="2762" y="10763"/>
                        <a:pt x="7525" y="6477"/>
                      </a:cubicBezTo>
                      <a:cubicBezTo>
                        <a:pt x="12287" y="2095"/>
                        <a:pt x="18193" y="0"/>
                        <a:pt x="25527" y="0"/>
                      </a:cubicBezTo>
                      <a:cubicBezTo>
                        <a:pt x="33528" y="0"/>
                        <a:pt x="39624" y="2095"/>
                        <a:pt x="43910" y="6382"/>
                      </a:cubicBezTo>
                      <a:cubicBezTo>
                        <a:pt x="48196" y="10668"/>
                        <a:pt x="50292" y="16192"/>
                        <a:pt x="50292" y="23050"/>
                      </a:cubicBezTo>
                      <a:cubicBezTo>
                        <a:pt x="50292" y="28480"/>
                        <a:pt x="48863" y="33718"/>
                        <a:pt x="45910" y="38671"/>
                      </a:cubicBezTo>
                      <a:cubicBezTo>
                        <a:pt x="42958" y="43624"/>
                        <a:pt x="39624" y="47911"/>
                        <a:pt x="35814" y="51625"/>
                      </a:cubicBezTo>
                      <a:cubicBezTo>
                        <a:pt x="32004" y="55340"/>
                        <a:pt x="27146" y="59722"/>
                        <a:pt x="21050" y="64865"/>
                      </a:cubicBezTo>
                      <a:lnTo>
                        <a:pt x="52006" y="64865"/>
                      </a:lnTo>
                      <a:lnTo>
                        <a:pt x="52006" y="77057"/>
                      </a:lnTo>
                      <a:lnTo>
                        <a:pt x="286" y="77057"/>
                      </a:lnTo>
                      <a:lnTo>
                        <a:pt x="286" y="66199"/>
                      </a:lnTo>
                      <a:lnTo>
                        <a:pt x="5715" y="61627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pic>
          <p:nvPicPr>
            <p:cNvPr id="100" name="137 battery full (red)">
              <a:extLst>
                <a:ext uri="{FF2B5EF4-FFF2-40B4-BE49-F238E27FC236}">
                  <a16:creationId xmlns:a16="http://schemas.microsoft.com/office/drawing/2014/main" id="{CF353D1F-CEAA-E43B-B825-240C05A9846E}"/>
                </a:ext>
              </a:extLst>
            </p:cNvPr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8772279" y="2519693"/>
              <a:ext cx="762428" cy="762428"/>
            </a:xfrm>
            <a:prstGeom prst="rect">
              <a:avLst/>
            </a:prstGeom>
          </p:spPr>
        </p:pic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BBD98F61-E296-395F-45EC-F635374FD6A9}"/>
                </a:ext>
              </a:extLst>
            </p:cNvPr>
            <p:cNvSpPr txBox="1"/>
            <p:nvPr/>
          </p:nvSpPr>
          <p:spPr>
            <a:xfrm>
              <a:off x="9417348" y="2694074"/>
              <a:ext cx="680246" cy="413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3200" b="1">
                  <a:solidFill>
                    <a:schemeClr val="bg1"/>
                  </a:solidFill>
                  <a:latin typeface="+mn-lt"/>
                </a:rPr>
                <a:t>+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86AE765A-915C-12DF-DAC2-3E629B7BB02E}"/>
              </a:ext>
            </a:extLst>
          </p:cNvPr>
          <p:cNvGrpSpPr/>
          <p:nvPr/>
        </p:nvGrpSpPr>
        <p:grpSpPr>
          <a:xfrm>
            <a:off x="1007592" y="2211116"/>
            <a:ext cx="2425998" cy="1341380"/>
            <a:chOff x="793396" y="2211116"/>
            <a:chExt cx="2425998" cy="1341380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84971992-9C2F-6574-0CD1-4E492321047A}"/>
                </a:ext>
              </a:extLst>
            </p:cNvPr>
            <p:cNvGrpSpPr/>
            <p:nvPr/>
          </p:nvGrpSpPr>
          <p:grpSpPr>
            <a:xfrm>
              <a:off x="2539148" y="2679142"/>
              <a:ext cx="680246" cy="405329"/>
              <a:chOff x="1869395" y="7894512"/>
              <a:chExt cx="1172527" cy="698658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6FA2CBA8-A4C8-E3B1-8C6C-4E082E737716}"/>
                  </a:ext>
                </a:extLst>
              </p:cNvPr>
              <p:cNvSpPr/>
              <p:nvPr/>
            </p:nvSpPr>
            <p:spPr>
              <a:xfrm>
                <a:off x="1998173" y="7894512"/>
                <a:ext cx="156686" cy="186404"/>
              </a:xfrm>
              <a:custGeom>
                <a:avLst/>
                <a:gdLst>
                  <a:gd name="connsiteX0" fmla="*/ 23813 w 156686"/>
                  <a:gd name="connsiteY0" fmla="*/ 186404 h 186404"/>
                  <a:gd name="connsiteX1" fmla="*/ 23813 w 156686"/>
                  <a:gd name="connsiteY1" fmla="*/ 84296 h 186404"/>
                  <a:gd name="connsiteX2" fmla="*/ 84296 w 156686"/>
                  <a:gd name="connsiteY2" fmla="*/ 23813 h 186404"/>
                  <a:gd name="connsiteX3" fmla="*/ 156686 w 156686"/>
                  <a:gd name="connsiteY3" fmla="*/ 23813 h 186404"/>
                  <a:gd name="connsiteX4" fmla="*/ 156686 w 156686"/>
                  <a:gd name="connsiteY4" fmla="*/ 0 h 186404"/>
                  <a:gd name="connsiteX5" fmla="*/ 84296 w 156686"/>
                  <a:gd name="connsiteY5" fmla="*/ 0 h 186404"/>
                  <a:gd name="connsiteX6" fmla="*/ 0 w 156686"/>
                  <a:gd name="connsiteY6" fmla="*/ 84296 h 186404"/>
                  <a:gd name="connsiteX7" fmla="*/ 0 w 156686"/>
                  <a:gd name="connsiteY7" fmla="*/ 186404 h 186404"/>
                  <a:gd name="connsiteX8" fmla="*/ 23813 w 156686"/>
                  <a:gd name="connsiteY8" fmla="*/ 186404 h 186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6686" h="186404">
                    <a:moveTo>
                      <a:pt x="23813" y="186404"/>
                    </a:moveTo>
                    <a:lnTo>
                      <a:pt x="23813" y="84296"/>
                    </a:lnTo>
                    <a:cubicBezTo>
                      <a:pt x="23813" y="50959"/>
                      <a:pt x="50959" y="23813"/>
                      <a:pt x="84296" y="23813"/>
                    </a:cubicBezTo>
                    <a:lnTo>
                      <a:pt x="156686" y="23813"/>
                    </a:lnTo>
                    <a:lnTo>
                      <a:pt x="156686" y="0"/>
                    </a:lnTo>
                    <a:lnTo>
                      <a:pt x="84296" y="0"/>
                    </a:lnTo>
                    <a:cubicBezTo>
                      <a:pt x="37814" y="0"/>
                      <a:pt x="0" y="37814"/>
                      <a:pt x="0" y="84296"/>
                    </a:cubicBezTo>
                    <a:lnTo>
                      <a:pt x="0" y="186404"/>
                    </a:lnTo>
                    <a:lnTo>
                      <a:pt x="23813" y="18640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701F356C-95A4-67C2-4E32-3427F8364B2A}"/>
                  </a:ext>
                </a:extLst>
              </p:cNvPr>
              <p:cNvSpPr/>
              <p:nvPr/>
            </p:nvSpPr>
            <p:spPr>
              <a:xfrm>
                <a:off x="1998173" y="7894512"/>
                <a:ext cx="917447" cy="698658"/>
              </a:xfrm>
              <a:custGeom>
                <a:avLst/>
                <a:gdLst>
                  <a:gd name="connsiteX0" fmla="*/ 833152 w 917447"/>
                  <a:gd name="connsiteY0" fmla="*/ 0 h 698658"/>
                  <a:gd name="connsiteX1" fmla="*/ 178403 w 917447"/>
                  <a:gd name="connsiteY1" fmla="*/ 0 h 698658"/>
                  <a:gd name="connsiteX2" fmla="*/ 178403 w 917447"/>
                  <a:gd name="connsiteY2" fmla="*/ 23813 h 698658"/>
                  <a:gd name="connsiteX3" fmla="*/ 833152 w 917447"/>
                  <a:gd name="connsiteY3" fmla="*/ 23813 h 698658"/>
                  <a:gd name="connsiteX4" fmla="*/ 893636 w 917447"/>
                  <a:gd name="connsiteY4" fmla="*/ 84296 h 698658"/>
                  <a:gd name="connsiteX5" fmla="*/ 893636 w 917447"/>
                  <a:gd name="connsiteY5" fmla="*/ 614363 h 698658"/>
                  <a:gd name="connsiteX6" fmla="*/ 833152 w 917447"/>
                  <a:gd name="connsiteY6" fmla="*/ 674846 h 698658"/>
                  <a:gd name="connsiteX7" fmla="*/ 84296 w 917447"/>
                  <a:gd name="connsiteY7" fmla="*/ 674846 h 698658"/>
                  <a:gd name="connsiteX8" fmla="*/ 23813 w 917447"/>
                  <a:gd name="connsiteY8" fmla="*/ 614363 h 698658"/>
                  <a:gd name="connsiteX9" fmla="*/ 23813 w 917447"/>
                  <a:gd name="connsiteY9" fmla="*/ 217646 h 698658"/>
                  <a:gd name="connsiteX10" fmla="*/ 0 w 917447"/>
                  <a:gd name="connsiteY10" fmla="*/ 217646 h 698658"/>
                  <a:gd name="connsiteX11" fmla="*/ 0 w 917447"/>
                  <a:gd name="connsiteY11" fmla="*/ 614363 h 698658"/>
                  <a:gd name="connsiteX12" fmla="*/ 84296 w 917447"/>
                  <a:gd name="connsiteY12" fmla="*/ 698659 h 698658"/>
                  <a:gd name="connsiteX13" fmla="*/ 833152 w 917447"/>
                  <a:gd name="connsiteY13" fmla="*/ 698659 h 698658"/>
                  <a:gd name="connsiteX14" fmla="*/ 917448 w 917447"/>
                  <a:gd name="connsiteY14" fmla="*/ 614363 h 698658"/>
                  <a:gd name="connsiteX15" fmla="*/ 917448 w 917447"/>
                  <a:gd name="connsiteY15" fmla="*/ 84296 h 698658"/>
                  <a:gd name="connsiteX16" fmla="*/ 833152 w 917447"/>
                  <a:gd name="connsiteY16" fmla="*/ 0 h 698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17447" h="698658">
                    <a:moveTo>
                      <a:pt x="833152" y="0"/>
                    </a:moveTo>
                    <a:lnTo>
                      <a:pt x="178403" y="0"/>
                    </a:lnTo>
                    <a:lnTo>
                      <a:pt x="178403" y="23813"/>
                    </a:lnTo>
                    <a:lnTo>
                      <a:pt x="833152" y="23813"/>
                    </a:lnTo>
                    <a:cubicBezTo>
                      <a:pt x="866489" y="23813"/>
                      <a:pt x="893636" y="50959"/>
                      <a:pt x="893636" y="84296"/>
                    </a:cubicBezTo>
                    <a:lnTo>
                      <a:pt x="893636" y="614363"/>
                    </a:lnTo>
                    <a:cubicBezTo>
                      <a:pt x="893636" y="647700"/>
                      <a:pt x="866489" y="674846"/>
                      <a:pt x="833152" y="674846"/>
                    </a:cubicBezTo>
                    <a:lnTo>
                      <a:pt x="84296" y="674846"/>
                    </a:lnTo>
                    <a:cubicBezTo>
                      <a:pt x="50959" y="674846"/>
                      <a:pt x="23813" y="647700"/>
                      <a:pt x="23813" y="614363"/>
                    </a:cubicBezTo>
                    <a:lnTo>
                      <a:pt x="23813" y="217646"/>
                    </a:lnTo>
                    <a:lnTo>
                      <a:pt x="0" y="217646"/>
                    </a:lnTo>
                    <a:lnTo>
                      <a:pt x="0" y="614363"/>
                    </a:lnTo>
                    <a:cubicBezTo>
                      <a:pt x="0" y="660845"/>
                      <a:pt x="37814" y="698659"/>
                      <a:pt x="84296" y="698659"/>
                    </a:cubicBezTo>
                    <a:lnTo>
                      <a:pt x="833152" y="698659"/>
                    </a:lnTo>
                    <a:cubicBezTo>
                      <a:pt x="879634" y="698659"/>
                      <a:pt x="917448" y="660845"/>
                      <a:pt x="917448" y="614363"/>
                    </a:cubicBezTo>
                    <a:lnTo>
                      <a:pt x="917448" y="84296"/>
                    </a:lnTo>
                    <a:cubicBezTo>
                      <a:pt x="917448" y="37814"/>
                      <a:pt x="879634" y="0"/>
                      <a:pt x="83315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CF06FD1F-E50A-FB6D-A0C3-95621DD90997}"/>
                  </a:ext>
                </a:extLst>
              </p:cNvPr>
              <p:cNvSpPr/>
              <p:nvPr/>
            </p:nvSpPr>
            <p:spPr>
              <a:xfrm>
                <a:off x="2250586" y="8009479"/>
                <a:ext cx="23812" cy="468820"/>
              </a:xfrm>
              <a:custGeom>
                <a:avLst/>
                <a:gdLst>
                  <a:gd name="connsiteX0" fmla="*/ 11906 w 23812"/>
                  <a:gd name="connsiteY0" fmla="*/ 468821 h 468820"/>
                  <a:gd name="connsiteX1" fmla="*/ 0 w 23812"/>
                  <a:gd name="connsiteY1" fmla="*/ 456914 h 468820"/>
                  <a:gd name="connsiteX2" fmla="*/ 0 w 23812"/>
                  <a:gd name="connsiteY2" fmla="*/ 11906 h 468820"/>
                  <a:gd name="connsiteX3" fmla="*/ 11906 w 23812"/>
                  <a:gd name="connsiteY3" fmla="*/ 0 h 468820"/>
                  <a:gd name="connsiteX4" fmla="*/ 23813 w 23812"/>
                  <a:gd name="connsiteY4" fmla="*/ 11906 h 468820"/>
                  <a:gd name="connsiteX5" fmla="*/ 23813 w 23812"/>
                  <a:gd name="connsiteY5" fmla="*/ 456914 h 468820"/>
                  <a:gd name="connsiteX6" fmla="*/ 11906 w 23812"/>
                  <a:gd name="connsiteY6" fmla="*/ 468821 h 468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812" h="468820">
                    <a:moveTo>
                      <a:pt x="11906" y="468821"/>
                    </a:moveTo>
                    <a:cubicBezTo>
                      <a:pt x="5334" y="468821"/>
                      <a:pt x="0" y="463487"/>
                      <a:pt x="0" y="456914"/>
                    </a:cubicBezTo>
                    <a:lnTo>
                      <a:pt x="0" y="11906"/>
                    </a:lnTo>
                    <a:cubicBezTo>
                      <a:pt x="0" y="5334"/>
                      <a:pt x="5334" y="0"/>
                      <a:pt x="11906" y="0"/>
                    </a:cubicBezTo>
                    <a:cubicBezTo>
                      <a:pt x="18478" y="0"/>
                      <a:pt x="23813" y="5334"/>
                      <a:pt x="23813" y="11906"/>
                    </a:cubicBezTo>
                    <a:lnTo>
                      <a:pt x="23813" y="456914"/>
                    </a:lnTo>
                    <a:cubicBezTo>
                      <a:pt x="23813" y="463487"/>
                      <a:pt x="18478" y="468821"/>
                      <a:pt x="11906" y="46882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E9BC50C-512D-C82D-6128-866D9F600434}"/>
                  </a:ext>
                </a:extLst>
              </p:cNvPr>
              <p:cNvSpPr/>
              <p:nvPr/>
            </p:nvSpPr>
            <p:spPr>
              <a:xfrm>
                <a:off x="2441086" y="8009479"/>
                <a:ext cx="23812" cy="468820"/>
              </a:xfrm>
              <a:custGeom>
                <a:avLst/>
                <a:gdLst>
                  <a:gd name="connsiteX0" fmla="*/ 11906 w 23812"/>
                  <a:gd name="connsiteY0" fmla="*/ 468821 h 468820"/>
                  <a:gd name="connsiteX1" fmla="*/ 0 w 23812"/>
                  <a:gd name="connsiteY1" fmla="*/ 456914 h 468820"/>
                  <a:gd name="connsiteX2" fmla="*/ 0 w 23812"/>
                  <a:gd name="connsiteY2" fmla="*/ 11906 h 468820"/>
                  <a:gd name="connsiteX3" fmla="*/ 11906 w 23812"/>
                  <a:gd name="connsiteY3" fmla="*/ 0 h 468820"/>
                  <a:gd name="connsiteX4" fmla="*/ 23813 w 23812"/>
                  <a:gd name="connsiteY4" fmla="*/ 11906 h 468820"/>
                  <a:gd name="connsiteX5" fmla="*/ 23813 w 23812"/>
                  <a:gd name="connsiteY5" fmla="*/ 456914 h 468820"/>
                  <a:gd name="connsiteX6" fmla="*/ 11906 w 23812"/>
                  <a:gd name="connsiteY6" fmla="*/ 468821 h 468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812" h="468820">
                    <a:moveTo>
                      <a:pt x="11906" y="468821"/>
                    </a:moveTo>
                    <a:cubicBezTo>
                      <a:pt x="5334" y="468821"/>
                      <a:pt x="0" y="463487"/>
                      <a:pt x="0" y="456914"/>
                    </a:cubicBezTo>
                    <a:lnTo>
                      <a:pt x="0" y="11906"/>
                    </a:lnTo>
                    <a:cubicBezTo>
                      <a:pt x="0" y="5334"/>
                      <a:pt x="5334" y="0"/>
                      <a:pt x="11906" y="0"/>
                    </a:cubicBezTo>
                    <a:cubicBezTo>
                      <a:pt x="18479" y="0"/>
                      <a:pt x="23813" y="5334"/>
                      <a:pt x="23813" y="11906"/>
                    </a:cubicBezTo>
                    <a:lnTo>
                      <a:pt x="23813" y="456914"/>
                    </a:lnTo>
                    <a:cubicBezTo>
                      <a:pt x="23813" y="463487"/>
                      <a:pt x="18479" y="468821"/>
                      <a:pt x="11906" y="46882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9D1DFDF-C354-984D-A068-892B21A23E14}"/>
                  </a:ext>
                </a:extLst>
              </p:cNvPr>
              <p:cNvSpPr/>
              <p:nvPr/>
            </p:nvSpPr>
            <p:spPr>
              <a:xfrm>
                <a:off x="2631586" y="8009479"/>
                <a:ext cx="23812" cy="468820"/>
              </a:xfrm>
              <a:custGeom>
                <a:avLst/>
                <a:gdLst>
                  <a:gd name="connsiteX0" fmla="*/ 11906 w 23812"/>
                  <a:gd name="connsiteY0" fmla="*/ 468821 h 468820"/>
                  <a:gd name="connsiteX1" fmla="*/ 0 w 23812"/>
                  <a:gd name="connsiteY1" fmla="*/ 456914 h 468820"/>
                  <a:gd name="connsiteX2" fmla="*/ 0 w 23812"/>
                  <a:gd name="connsiteY2" fmla="*/ 11906 h 468820"/>
                  <a:gd name="connsiteX3" fmla="*/ 11906 w 23812"/>
                  <a:gd name="connsiteY3" fmla="*/ 0 h 468820"/>
                  <a:gd name="connsiteX4" fmla="*/ 23813 w 23812"/>
                  <a:gd name="connsiteY4" fmla="*/ 11906 h 468820"/>
                  <a:gd name="connsiteX5" fmla="*/ 23813 w 23812"/>
                  <a:gd name="connsiteY5" fmla="*/ 456914 h 468820"/>
                  <a:gd name="connsiteX6" fmla="*/ 11906 w 23812"/>
                  <a:gd name="connsiteY6" fmla="*/ 468821 h 468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812" h="468820">
                    <a:moveTo>
                      <a:pt x="11906" y="468821"/>
                    </a:moveTo>
                    <a:cubicBezTo>
                      <a:pt x="5334" y="468821"/>
                      <a:pt x="0" y="463487"/>
                      <a:pt x="0" y="456914"/>
                    </a:cubicBezTo>
                    <a:lnTo>
                      <a:pt x="0" y="11906"/>
                    </a:lnTo>
                    <a:cubicBezTo>
                      <a:pt x="0" y="5334"/>
                      <a:pt x="5334" y="0"/>
                      <a:pt x="11906" y="0"/>
                    </a:cubicBezTo>
                    <a:cubicBezTo>
                      <a:pt x="18479" y="0"/>
                      <a:pt x="23813" y="5334"/>
                      <a:pt x="23813" y="11906"/>
                    </a:cubicBezTo>
                    <a:lnTo>
                      <a:pt x="23813" y="456914"/>
                    </a:lnTo>
                    <a:cubicBezTo>
                      <a:pt x="23813" y="463487"/>
                      <a:pt x="18479" y="468821"/>
                      <a:pt x="11906" y="46882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E44BEC79-2E9A-391E-A47F-A2F33023B988}"/>
                  </a:ext>
                </a:extLst>
              </p:cNvPr>
              <p:cNvSpPr/>
              <p:nvPr/>
            </p:nvSpPr>
            <p:spPr>
              <a:xfrm>
                <a:off x="1869395" y="8103205"/>
                <a:ext cx="281368" cy="281368"/>
              </a:xfrm>
              <a:custGeom>
                <a:avLst/>
                <a:gdLst>
                  <a:gd name="connsiteX0" fmla="*/ 281369 w 281368"/>
                  <a:gd name="connsiteY0" fmla="*/ 140684 h 281368"/>
                  <a:gd name="connsiteX1" fmla="*/ 140684 w 281368"/>
                  <a:gd name="connsiteY1" fmla="*/ 281368 h 281368"/>
                  <a:gd name="connsiteX2" fmla="*/ 0 w 281368"/>
                  <a:gd name="connsiteY2" fmla="*/ 140684 h 281368"/>
                  <a:gd name="connsiteX3" fmla="*/ 140684 w 281368"/>
                  <a:gd name="connsiteY3" fmla="*/ 0 h 281368"/>
                  <a:gd name="connsiteX4" fmla="*/ 281369 w 281368"/>
                  <a:gd name="connsiteY4" fmla="*/ 140684 h 281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1368" h="281368">
                    <a:moveTo>
                      <a:pt x="281369" y="140684"/>
                    </a:moveTo>
                    <a:cubicBezTo>
                      <a:pt x="281369" y="218382"/>
                      <a:pt x="218382" y="281368"/>
                      <a:pt x="140684" y="281368"/>
                    </a:cubicBezTo>
                    <a:cubicBezTo>
                      <a:pt x="62986" y="281368"/>
                      <a:pt x="0" y="218382"/>
                      <a:pt x="0" y="140684"/>
                    </a:cubicBezTo>
                    <a:cubicBezTo>
                      <a:pt x="0" y="62986"/>
                      <a:pt x="62986" y="0"/>
                      <a:pt x="140684" y="0"/>
                    </a:cubicBezTo>
                    <a:cubicBezTo>
                      <a:pt x="218382" y="0"/>
                      <a:pt x="281369" y="62986"/>
                      <a:pt x="281369" y="14068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26F98466-696A-3F2E-E869-85113395980C}"/>
                  </a:ext>
                </a:extLst>
              </p:cNvPr>
              <p:cNvSpPr/>
              <p:nvPr/>
            </p:nvSpPr>
            <p:spPr>
              <a:xfrm>
                <a:off x="2760554" y="8103205"/>
                <a:ext cx="281368" cy="281368"/>
              </a:xfrm>
              <a:custGeom>
                <a:avLst/>
                <a:gdLst>
                  <a:gd name="connsiteX0" fmla="*/ 281368 w 281368"/>
                  <a:gd name="connsiteY0" fmla="*/ 140684 h 281368"/>
                  <a:gd name="connsiteX1" fmla="*/ 140684 w 281368"/>
                  <a:gd name="connsiteY1" fmla="*/ 281368 h 281368"/>
                  <a:gd name="connsiteX2" fmla="*/ 0 w 281368"/>
                  <a:gd name="connsiteY2" fmla="*/ 140684 h 281368"/>
                  <a:gd name="connsiteX3" fmla="*/ 140684 w 281368"/>
                  <a:gd name="connsiteY3" fmla="*/ 0 h 281368"/>
                  <a:gd name="connsiteX4" fmla="*/ 281368 w 281368"/>
                  <a:gd name="connsiteY4" fmla="*/ 140684 h 281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1368" h="281368">
                    <a:moveTo>
                      <a:pt x="281368" y="140684"/>
                    </a:moveTo>
                    <a:cubicBezTo>
                      <a:pt x="281368" y="218382"/>
                      <a:pt x="218382" y="281368"/>
                      <a:pt x="140684" y="281368"/>
                    </a:cubicBezTo>
                    <a:cubicBezTo>
                      <a:pt x="62986" y="281368"/>
                      <a:pt x="0" y="218382"/>
                      <a:pt x="0" y="140684"/>
                    </a:cubicBezTo>
                    <a:cubicBezTo>
                      <a:pt x="0" y="62986"/>
                      <a:pt x="62987" y="0"/>
                      <a:pt x="140684" y="0"/>
                    </a:cubicBezTo>
                    <a:cubicBezTo>
                      <a:pt x="218382" y="0"/>
                      <a:pt x="281368" y="62986"/>
                      <a:pt x="281368" y="14068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32" name="631 fuel cell">
                <a:extLst>
                  <a:ext uri="{FF2B5EF4-FFF2-40B4-BE49-F238E27FC236}">
                    <a16:creationId xmlns:a16="http://schemas.microsoft.com/office/drawing/2014/main" id="{5043056D-8DB1-EDD1-D5AB-1FF1E99B472E}"/>
                  </a:ext>
                </a:extLst>
              </p:cNvPr>
              <p:cNvGrpSpPr/>
              <p:nvPr/>
            </p:nvGrpSpPr>
            <p:grpSpPr>
              <a:xfrm>
                <a:off x="1933213" y="8182453"/>
                <a:ext cx="161353" cy="140684"/>
                <a:chOff x="3898052" y="8182453"/>
                <a:chExt cx="161353" cy="140684"/>
              </a:xfrm>
              <a:solidFill>
                <a:schemeClr val="tx1"/>
              </a:solidFill>
            </p:grpSpPr>
            <p:sp>
              <p:nvSpPr>
                <p:cNvPr id="66" name="Freeform: Shape 65">
                  <a:extLst>
                    <a:ext uri="{FF2B5EF4-FFF2-40B4-BE49-F238E27FC236}">
                      <a16:creationId xmlns:a16="http://schemas.microsoft.com/office/drawing/2014/main" id="{85757EF7-CB9D-516A-05E2-774882EB3609}"/>
                    </a:ext>
                  </a:extLst>
                </p:cNvPr>
                <p:cNvSpPr/>
                <p:nvPr/>
              </p:nvSpPr>
              <p:spPr>
                <a:xfrm>
                  <a:off x="3898052" y="8182453"/>
                  <a:ext cx="93725" cy="113061"/>
                </a:xfrm>
                <a:custGeom>
                  <a:avLst/>
                  <a:gdLst>
                    <a:gd name="connsiteX0" fmla="*/ 93726 w 93725"/>
                    <a:gd name="connsiteY0" fmla="*/ 0 h 113061"/>
                    <a:gd name="connsiteX1" fmla="*/ 93726 w 93725"/>
                    <a:gd name="connsiteY1" fmla="*/ 113062 h 113061"/>
                    <a:gd name="connsiteX2" fmla="*/ 71057 w 93725"/>
                    <a:gd name="connsiteY2" fmla="*/ 113062 h 113061"/>
                    <a:gd name="connsiteX3" fmla="*/ 71057 w 93725"/>
                    <a:gd name="connsiteY3" fmla="*/ 64961 h 113061"/>
                    <a:gd name="connsiteX4" fmla="*/ 22670 w 93725"/>
                    <a:gd name="connsiteY4" fmla="*/ 64961 h 113061"/>
                    <a:gd name="connsiteX5" fmla="*/ 22670 w 93725"/>
                    <a:gd name="connsiteY5" fmla="*/ 113062 h 113061"/>
                    <a:gd name="connsiteX6" fmla="*/ 0 w 93725"/>
                    <a:gd name="connsiteY6" fmla="*/ 113062 h 113061"/>
                    <a:gd name="connsiteX7" fmla="*/ 0 w 93725"/>
                    <a:gd name="connsiteY7" fmla="*/ 0 h 113061"/>
                    <a:gd name="connsiteX8" fmla="*/ 22670 w 93725"/>
                    <a:gd name="connsiteY8" fmla="*/ 0 h 113061"/>
                    <a:gd name="connsiteX9" fmla="*/ 22670 w 93725"/>
                    <a:gd name="connsiteY9" fmla="*/ 46482 h 113061"/>
                    <a:gd name="connsiteX10" fmla="*/ 71057 w 93725"/>
                    <a:gd name="connsiteY10" fmla="*/ 46482 h 113061"/>
                    <a:gd name="connsiteX11" fmla="*/ 71057 w 93725"/>
                    <a:gd name="connsiteY11" fmla="*/ 0 h 113061"/>
                    <a:gd name="connsiteX12" fmla="*/ 93726 w 93725"/>
                    <a:gd name="connsiteY12" fmla="*/ 0 h 11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3725" h="113061">
                      <a:moveTo>
                        <a:pt x="93726" y="0"/>
                      </a:moveTo>
                      <a:lnTo>
                        <a:pt x="93726" y="113062"/>
                      </a:lnTo>
                      <a:lnTo>
                        <a:pt x="71057" y="113062"/>
                      </a:lnTo>
                      <a:lnTo>
                        <a:pt x="71057" y="64961"/>
                      </a:lnTo>
                      <a:lnTo>
                        <a:pt x="22670" y="64961"/>
                      </a:lnTo>
                      <a:lnTo>
                        <a:pt x="22670" y="113062"/>
                      </a:lnTo>
                      <a:lnTo>
                        <a:pt x="0" y="113062"/>
                      </a:lnTo>
                      <a:lnTo>
                        <a:pt x="0" y="0"/>
                      </a:lnTo>
                      <a:lnTo>
                        <a:pt x="22670" y="0"/>
                      </a:lnTo>
                      <a:lnTo>
                        <a:pt x="22670" y="46482"/>
                      </a:lnTo>
                      <a:lnTo>
                        <a:pt x="71057" y="46482"/>
                      </a:lnTo>
                      <a:lnTo>
                        <a:pt x="71057" y="0"/>
                      </a:lnTo>
                      <a:lnTo>
                        <a:pt x="93726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7" name="Freeform: Shape 66">
                  <a:extLst>
                    <a:ext uri="{FF2B5EF4-FFF2-40B4-BE49-F238E27FC236}">
                      <a16:creationId xmlns:a16="http://schemas.microsoft.com/office/drawing/2014/main" id="{2B6BDBDD-8626-F829-C9F5-F2E19CCF70F2}"/>
                    </a:ext>
                  </a:extLst>
                </p:cNvPr>
                <p:cNvSpPr/>
                <p:nvPr/>
              </p:nvSpPr>
              <p:spPr>
                <a:xfrm>
                  <a:off x="4007494" y="8246080"/>
                  <a:ext cx="51911" cy="77057"/>
                </a:xfrm>
                <a:custGeom>
                  <a:avLst/>
                  <a:gdLst>
                    <a:gd name="connsiteX0" fmla="*/ 5620 w 51911"/>
                    <a:gd name="connsiteY0" fmla="*/ 61436 h 77057"/>
                    <a:gd name="connsiteX1" fmla="*/ 21622 w 51911"/>
                    <a:gd name="connsiteY1" fmla="*/ 47434 h 77057"/>
                    <a:gd name="connsiteX2" fmla="*/ 31528 w 51911"/>
                    <a:gd name="connsiteY2" fmla="*/ 35719 h 77057"/>
                    <a:gd name="connsiteX3" fmla="*/ 35528 w 51911"/>
                    <a:gd name="connsiteY3" fmla="*/ 23813 h 77057"/>
                    <a:gd name="connsiteX4" fmla="*/ 33052 w 51911"/>
                    <a:gd name="connsiteY4" fmla="*/ 15430 h 77057"/>
                    <a:gd name="connsiteX5" fmla="*/ 25337 w 51911"/>
                    <a:gd name="connsiteY5" fmla="*/ 12382 h 77057"/>
                    <a:gd name="connsiteX6" fmla="*/ 17240 w 51911"/>
                    <a:gd name="connsiteY6" fmla="*/ 15907 h 77057"/>
                    <a:gd name="connsiteX7" fmla="*/ 14288 w 51911"/>
                    <a:gd name="connsiteY7" fmla="*/ 25527 h 77057"/>
                    <a:gd name="connsiteX8" fmla="*/ 0 w 51911"/>
                    <a:gd name="connsiteY8" fmla="*/ 25527 h 77057"/>
                    <a:gd name="connsiteX9" fmla="*/ 7525 w 51911"/>
                    <a:gd name="connsiteY9" fmla="*/ 6477 h 77057"/>
                    <a:gd name="connsiteX10" fmla="*/ 25527 w 51911"/>
                    <a:gd name="connsiteY10" fmla="*/ 0 h 77057"/>
                    <a:gd name="connsiteX11" fmla="*/ 43815 w 51911"/>
                    <a:gd name="connsiteY11" fmla="*/ 6382 h 77057"/>
                    <a:gd name="connsiteX12" fmla="*/ 50197 w 51911"/>
                    <a:gd name="connsiteY12" fmla="*/ 23050 h 77057"/>
                    <a:gd name="connsiteX13" fmla="*/ 45815 w 51911"/>
                    <a:gd name="connsiteY13" fmla="*/ 38671 h 77057"/>
                    <a:gd name="connsiteX14" fmla="*/ 35719 w 51911"/>
                    <a:gd name="connsiteY14" fmla="*/ 51625 h 77057"/>
                    <a:gd name="connsiteX15" fmla="*/ 20955 w 51911"/>
                    <a:gd name="connsiteY15" fmla="*/ 64865 h 77057"/>
                    <a:gd name="connsiteX16" fmla="*/ 51911 w 51911"/>
                    <a:gd name="connsiteY16" fmla="*/ 64865 h 77057"/>
                    <a:gd name="connsiteX17" fmla="*/ 51911 w 51911"/>
                    <a:gd name="connsiteY17" fmla="*/ 77057 h 77057"/>
                    <a:gd name="connsiteX18" fmla="*/ 191 w 51911"/>
                    <a:gd name="connsiteY18" fmla="*/ 77057 h 77057"/>
                    <a:gd name="connsiteX19" fmla="*/ 191 w 51911"/>
                    <a:gd name="connsiteY19" fmla="*/ 66199 h 77057"/>
                    <a:gd name="connsiteX20" fmla="*/ 5620 w 51911"/>
                    <a:gd name="connsiteY20" fmla="*/ 61627 h 77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51911" h="77057">
                      <a:moveTo>
                        <a:pt x="5620" y="61436"/>
                      </a:moveTo>
                      <a:cubicBezTo>
                        <a:pt x="12383" y="55816"/>
                        <a:pt x="17717" y="51149"/>
                        <a:pt x="21622" y="47434"/>
                      </a:cubicBezTo>
                      <a:cubicBezTo>
                        <a:pt x="25622" y="43720"/>
                        <a:pt x="28956" y="39815"/>
                        <a:pt x="31528" y="35719"/>
                      </a:cubicBezTo>
                      <a:cubicBezTo>
                        <a:pt x="34195" y="31623"/>
                        <a:pt x="35528" y="27718"/>
                        <a:pt x="35528" y="23813"/>
                      </a:cubicBezTo>
                      <a:cubicBezTo>
                        <a:pt x="35528" y="20193"/>
                        <a:pt x="34671" y="17431"/>
                        <a:pt x="33052" y="15430"/>
                      </a:cubicBezTo>
                      <a:cubicBezTo>
                        <a:pt x="31433" y="13430"/>
                        <a:pt x="28766" y="12382"/>
                        <a:pt x="25337" y="12382"/>
                      </a:cubicBezTo>
                      <a:cubicBezTo>
                        <a:pt x="21908" y="12382"/>
                        <a:pt x="19145" y="13525"/>
                        <a:pt x="17240" y="15907"/>
                      </a:cubicBezTo>
                      <a:cubicBezTo>
                        <a:pt x="15335" y="18288"/>
                        <a:pt x="14383" y="21431"/>
                        <a:pt x="14288" y="25527"/>
                      </a:cubicBezTo>
                      <a:lnTo>
                        <a:pt x="0" y="25527"/>
                      </a:lnTo>
                      <a:cubicBezTo>
                        <a:pt x="286" y="17145"/>
                        <a:pt x="2762" y="10763"/>
                        <a:pt x="7525" y="6477"/>
                      </a:cubicBezTo>
                      <a:cubicBezTo>
                        <a:pt x="12287" y="2095"/>
                        <a:pt x="18193" y="0"/>
                        <a:pt x="25527" y="0"/>
                      </a:cubicBezTo>
                      <a:cubicBezTo>
                        <a:pt x="33528" y="0"/>
                        <a:pt x="39624" y="2095"/>
                        <a:pt x="43815" y="6382"/>
                      </a:cubicBezTo>
                      <a:cubicBezTo>
                        <a:pt x="48006" y="10668"/>
                        <a:pt x="50197" y="16192"/>
                        <a:pt x="50197" y="23050"/>
                      </a:cubicBezTo>
                      <a:cubicBezTo>
                        <a:pt x="50197" y="28480"/>
                        <a:pt x="48768" y="33718"/>
                        <a:pt x="45815" y="38671"/>
                      </a:cubicBezTo>
                      <a:cubicBezTo>
                        <a:pt x="42863" y="43624"/>
                        <a:pt x="39529" y="47911"/>
                        <a:pt x="35719" y="51625"/>
                      </a:cubicBezTo>
                      <a:cubicBezTo>
                        <a:pt x="31909" y="55245"/>
                        <a:pt x="27051" y="59722"/>
                        <a:pt x="20955" y="64865"/>
                      </a:cubicBezTo>
                      <a:lnTo>
                        <a:pt x="51911" y="64865"/>
                      </a:lnTo>
                      <a:lnTo>
                        <a:pt x="51911" y="77057"/>
                      </a:lnTo>
                      <a:lnTo>
                        <a:pt x="191" y="77057"/>
                      </a:lnTo>
                      <a:lnTo>
                        <a:pt x="191" y="66199"/>
                      </a:lnTo>
                      <a:lnTo>
                        <a:pt x="5620" y="61627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3" name="631 fuel cell">
                <a:extLst>
                  <a:ext uri="{FF2B5EF4-FFF2-40B4-BE49-F238E27FC236}">
                    <a16:creationId xmlns:a16="http://schemas.microsoft.com/office/drawing/2014/main" id="{310CDFF1-29C7-71BD-2224-57D6DF4EAA15}"/>
                  </a:ext>
                </a:extLst>
              </p:cNvPr>
              <p:cNvGrpSpPr/>
              <p:nvPr/>
            </p:nvGrpSpPr>
            <p:grpSpPr>
              <a:xfrm>
                <a:off x="2815418" y="8180834"/>
                <a:ext cx="178022" cy="142303"/>
                <a:chOff x="4780257" y="8180834"/>
                <a:chExt cx="178022" cy="142303"/>
              </a:xfrm>
              <a:solidFill>
                <a:schemeClr val="tx1"/>
              </a:solidFill>
            </p:grpSpPr>
            <p:sp>
              <p:nvSpPr>
                <p:cNvPr id="35" name="Freeform: Shape 34">
                  <a:extLst>
                    <a:ext uri="{FF2B5EF4-FFF2-40B4-BE49-F238E27FC236}">
                      <a16:creationId xmlns:a16="http://schemas.microsoft.com/office/drawing/2014/main" id="{E2589F97-D81C-0D6E-3252-00A7674118A2}"/>
                    </a:ext>
                  </a:extLst>
                </p:cNvPr>
                <p:cNvSpPr/>
                <p:nvPr/>
              </p:nvSpPr>
              <p:spPr>
                <a:xfrm>
                  <a:off x="4780257" y="8180834"/>
                  <a:ext cx="115824" cy="115823"/>
                </a:xfrm>
                <a:custGeom>
                  <a:avLst/>
                  <a:gdLst>
                    <a:gd name="connsiteX0" fmla="*/ 28861 w 115824"/>
                    <a:gd name="connsiteY0" fmla="*/ 108395 h 115823"/>
                    <a:gd name="connsiteX1" fmla="*/ 7811 w 115824"/>
                    <a:gd name="connsiteY1" fmla="*/ 87725 h 115823"/>
                    <a:gd name="connsiteX2" fmla="*/ 0 w 115824"/>
                    <a:gd name="connsiteY2" fmla="*/ 57817 h 115823"/>
                    <a:gd name="connsiteX3" fmla="*/ 7811 w 115824"/>
                    <a:gd name="connsiteY3" fmla="*/ 28099 h 115823"/>
                    <a:gd name="connsiteX4" fmla="*/ 28861 w 115824"/>
                    <a:gd name="connsiteY4" fmla="*/ 7430 h 115823"/>
                    <a:gd name="connsiteX5" fmla="*/ 58007 w 115824"/>
                    <a:gd name="connsiteY5" fmla="*/ 0 h 115823"/>
                    <a:gd name="connsiteX6" fmla="*/ 87249 w 115824"/>
                    <a:gd name="connsiteY6" fmla="*/ 7430 h 115823"/>
                    <a:gd name="connsiteX7" fmla="*/ 108109 w 115824"/>
                    <a:gd name="connsiteY7" fmla="*/ 28099 h 115823"/>
                    <a:gd name="connsiteX8" fmla="*/ 115824 w 115824"/>
                    <a:gd name="connsiteY8" fmla="*/ 57817 h 115823"/>
                    <a:gd name="connsiteX9" fmla="*/ 108109 w 115824"/>
                    <a:gd name="connsiteY9" fmla="*/ 87725 h 115823"/>
                    <a:gd name="connsiteX10" fmla="*/ 87154 w 115824"/>
                    <a:gd name="connsiteY10" fmla="*/ 108395 h 115823"/>
                    <a:gd name="connsiteX11" fmla="*/ 58007 w 115824"/>
                    <a:gd name="connsiteY11" fmla="*/ 115824 h 115823"/>
                    <a:gd name="connsiteX12" fmla="*/ 28861 w 115824"/>
                    <a:gd name="connsiteY12" fmla="*/ 108395 h 115823"/>
                    <a:gd name="connsiteX13" fmla="*/ 76010 w 115824"/>
                    <a:gd name="connsiteY13" fmla="*/ 90964 h 115823"/>
                    <a:gd name="connsiteX14" fmla="*/ 88202 w 115824"/>
                    <a:gd name="connsiteY14" fmla="*/ 77819 h 115823"/>
                    <a:gd name="connsiteX15" fmla="*/ 92583 w 115824"/>
                    <a:gd name="connsiteY15" fmla="*/ 57912 h 115823"/>
                    <a:gd name="connsiteX16" fmla="*/ 88202 w 115824"/>
                    <a:gd name="connsiteY16" fmla="*/ 38100 h 115823"/>
                    <a:gd name="connsiteX17" fmla="*/ 76010 w 115824"/>
                    <a:gd name="connsiteY17" fmla="*/ 25051 h 115823"/>
                    <a:gd name="connsiteX18" fmla="*/ 58007 w 115824"/>
                    <a:gd name="connsiteY18" fmla="*/ 20574 h 115823"/>
                    <a:gd name="connsiteX19" fmla="*/ 39910 w 115824"/>
                    <a:gd name="connsiteY19" fmla="*/ 25051 h 115823"/>
                    <a:gd name="connsiteX20" fmla="*/ 27718 w 115824"/>
                    <a:gd name="connsiteY20" fmla="*/ 38100 h 115823"/>
                    <a:gd name="connsiteX21" fmla="*/ 23336 w 115824"/>
                    <a:gd name="connsiteY21" fmla="*/ 57912 h 115823"/>
                    <a:gd name="connsiteX22" fmla="*/ 27718 w 115824"/>
                    <a:gd name="connsiteY22" fmla="*/ 77819 h 115823"/>
                    <a:gd name="connsiteX23" fmla="*/ 39910 w 115824"/>
                    <a:gd name="connsiteY23" fmla="*/ 90964 h 115823"/>
                    <a:gd name="connsiteX24" fmla="*/ 58007 w 115824"/>
                    <a:gd name="connsiteY24" fmla="*/ 95536 h 115823"/>
                    <a:gd name="connsiteX25" fmla="*/ 76010 w 115824"/>
                    <a:gd name="connsiteY25" fmla="*/ 90964 h 115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15824" h="115823">
                      <a:moveTo>
                        <a:pt x="28861" y="108395"/>
                      </a:moveTo>
                      <a:cubicBezTo>
                        <a:pt x="20003" y="103441"/>
                        <a:pt x="12954" y="96583"/>
                        <a:pt x="7811" y="87725"/>
                      </a:cubicBezTo>
                      <a:cubicBezTo>
                        <a:pt x="2667" y="78962"/>
                        <a:pt x="0" y="68961"/>
                        <a:pt x="0" y="57817"/>
                      </a:cubicBezTo>
                      <a:cubicBezTo>
                        <a:pt x="0" y="46672"/>
                        <a:pt x="2572" y="36862"/>
                        <a:pt x="7811" y="28099"/>
                      </a:cubicBezTo>
                      <a:cubicBezTo>
                        <a:pt x="12954" y="19336"/>
                        <a:pt x="20003" y="12382"/>
                        <a:pt x="28861" y="7430"/>
                      </a:cubicBezTo>
                      <a:cubicBezTo>
                        <a:pt x="37719" y="2476"/>
                        <a:pt x="47435" y="0"/>
                        <a:pt x="58007" y="0"/>
                      </a:cubicBezTo>
                      <a:cubicBezTo>
                        <a:pt x="68580" y="0"/>
                        <a:pt x="78391" y="2476"/>
                        <a:pt x="87249" y="7430"/>
                      </a:cubicBezTo>
                      <a:cubicBezTo>
                        <a:pt x="96107" y="12382"/>
                        <a:pt x="102965" y="19241"/>
                        <a:pt x="108109" y="28099"/>
                      </a:cubicBezTo>
                      <a:cubicBezTo>
                        <a:pt x="113252" y="36862"/>
                        <a:pt x="115824" y="46768"/>
                        <a:pt x="115824" y="57817"/>
                      </a:cubicBezTo>
                      <a:cubicBezTo>
                        <a:pt x="115824" y="68866"/>
                        <a:pt x="113252" y="78867"/>
                        <a:pt x="108109" y="87725"/>
                      </a:cubicBezTo>
                      <a:cubicBezTo>
                        <a:pt x="102965" y="96488"/>
                        <a:pt x="96012" y="103441"/>
                        <a:pt x="87154" y="108395"/>
                      </a:cubicBezTo>
                      <a:cubicBezTo>
                        <a:pt x="78296" y="113347"/>
                        <a:pt x="68580" y="115824"/>
                        <a:pt x="58007" y="115824"/>
                      </a:cubicBezTo>
                      <a:cubicBezTo>
                        <a:pt x="47435" y="115824"/>
                        <a:pt x="37719" y="113347"/>
                        <a:pt x="28861" y="108395"/>
                      </a:cubicBezTo>
                      <a:close/>
                      <a:moveTo>
                        <a:pt x="76010" y="90964"/>
                      </a:moveTo>
                      <a:cubicBezTo>
                        <a:pt x="81153" y="87916"/>
                        <a:pt x="85249" y="83439"/>
                        <a:pt x="88202" y="77819"/>
                      </a:cubicBezTo>
                      <a:cubicBezTo>
                        <a:pt x="91154" y="72104"/>
                        <a:pt x="92583" y="65437"/>
                        <a:pt x="92583" y="57912"/>
                      </a:cubicBezTo>
                      <a:cubicBezTo>
                        <a:pt x="92583" y="50387"/>
                        <a:pt x="91154" y="43720"/>
                        <a:pt x="88202" y="38100"/>
                      </a:cubicBezTo>
                      <a:cubicBezTo>
                        <a:pt x="85249" y="32385"/>
                        <a:pt x="81248" y="28099"/>
                        <a:pt x="76010" y="25051"/>
                      </a:cubicBezTo>
                      <a:cubicBezTo>
                        <a:pt x="70866" y="22003"/>
                        <a:pt x="64865" y="20574"/>
                        <a:pt x="58007" y="20574"/>
                      </a:cubicBezTo>
                      <a:cubicBezTo>
                        <a:pt x="51149" y="20574"/>
                        <a:pt x="45149" y="22098"/>
                        <a:pt x="39910" y="25051"/>
                      </a:cubicBezTo>
                      <a:cubicBezTo>
                        <a:pt x="34671" y="28099"/>
                        <a:pt x="30575" y="32385"/>
                        <a:pt x="27718" y="38100"/>
                      </a:cubicBezTo>
                      <a:cubicBezTo>
                        <a:pt x="24765" y="43815"/>
                        <a:pt x="23336" y="50387"/>
                        <a:pt x="23336" y="57912"/>
                      </a:cubicBezTo>
                      <a:cubicBezTo>
                        <a:pt x="23336" y="65437"/>
                        <a:pt x="24765" y="72104"/>
                        <a:pt x="27718" y="77819"/>
                      </a:cubicBezTo>
                      <a:cubicBezTo>
                        <a:pt x="30671" y="83534"/>
                        <a:pt x="34671" y="87916"/>
                        <a:pt x="39910" y="90964"/>
                      </a:cubicBezTo>
                      <a:cubicBezTo>
                        <a:pt x="45149" y="94012"/>
                        <a:pt x="51149" y="95536"/>
                        <a:pt x="58007" y="95536"/>
                      </a:cubicBezTo>
                      <a:cubicBezTo>
                        <a:pt x="64865" y="95536"/>
                        <a:pt x="70771" y="94012"/>
                        <a:pt x="76010" y="9096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1CE13EE9-4E63-3F7E-FEB9-F166CDE3E83D}"/>
                    </a:ext>
                  </a:extLst>
                </p:cNvPr>
                <p:cNvSpPr/>
                <p:nvPr/>
              </p:nvSpPr>
              <p:spPr>
                <a:xfrm>
                  <a:off x="4906273" y="8246080"/>
                  <a:ext cx="52006" cy="77057"/>
                </a:xfrm>
                <a:custGeom>
                  <a:avLst/>
                  <a:gdLst>
                    <a:gd name="connsiteX0" fmla="*/ 5620 w 52006"/>
                    <a:gd name="connsiteY0" fmla="*/ 61436 h 77057"/>
                    <a:gd name="connsiteX1" fmla="*/ 21622 w 52006"/>
                    <a:gd name="connsiteY1" fmla="*/ 47434 h 77057"/>
                    <a:gd name="connsiteX2" fmla="*/ 31528 w 52006"/>
                    <a:gd name="connsiteY2" fmla="*/ 35719 h 77057"/>
                    <a:gd name="connsiteX3" fmla="*/ 35528 w 52006"/>
                    <a:gd name="connsiteY3" fmla="*/ 23813 h 77057"/>
                    <a:gd name="connsiteX4" fmla="*/ 33052 w 52006"/>
                    <a:gd name="connsiteY4" fmla="*/ 15430 h 77057"/>
                    <a:gd name="connsiteX5" fmla="*/ 25337 w 52006"/>
                    <a:gd name="connsiteY5" fmla="*/ 12382 h 77057"/>
                    <a:gd name="connsiteX6" fmla="*/ 17240 w 52006"/>
                    <a:gd name="connsiteY6" fmla="*/ 15907 h 77057"/>
                    <a:gd name="connsiteX7" fmla="*/ 14288 w 52006"/>
                    <a:gd name="connsiteY7" fmla="*/ 25527 h 77057"/>
                    <a:gd name="connsiteX8" fmla="*/ 0 w 52006"/>
                    <a:gd name="connsiteY8" fmla="*/ 25527 h 77057"/>
                    <a:gd name="connsiteX9" fmla="*/ 7525 w 52006"/>
                    <a:gd name="connsiteY9" fmla="*/ 6477 h 77057"/>
                    <a:gd name="connsiteX10" fmla="*/ 25527 w 52006"/>
                    <a:gd name="connsiteY10" fmla="*/ 0 h 77057"/>
                    <a:gd name="connsiteX11" fmla="*/ 43910 w 52006"/>
                    <a:gd name="connsiteY11" fmla="*/ 6382 h 77057"/>
                    <a:gd name="connsiteX12" fmla="*/ 50292 w 52006"/>
                    <a:gd name="connsiteY12" fmla="*/ 23050 h 77057"/>
                    <a:gd name="connsiteX13" fmla="*/ 45910 w 52006"/>
                    <a:gd name="connsiteY13" fmla="*/ 38671 h 77057"/>
                    <a:gd name="connsiteX14" fmla="*/ 35814 w 52006"/>
                    <a:gd name="connsiteY14" fmla="*/ 51625 h 77057"/>
                    <a:gd name="connsiteX15" fmla="*/ 21050 w 52006"/>
                    <a:gd name="connsiteY15" fmla="*/ 64865 h 77057"/>
                    <a:gd name="connsiteX16" fmla="*/ 52006 w 52006"/>
                    <a:gd name="connsiteY16" fmla="*/ 64865 h 77057"/>
                    <a:gd name="connsiteX17" fmla="*/ 52006 w 52006"/>
                    <a:gd name="connsiteY17" fmla="*/ 77057 h 77057"/>
                    <a:gd name="connsiteX18" fmla="*/ 286 w 52006"/>
                    <a:gd name="connsiteY18" fmla="*/ 77057 h 77057"/>
                    <a:gd name="connsiteX19" fmla="*/ 286 w 52006"/>
                    <a:gd name="connsiteY19" fmla="*/ 66199 h 77057"/>
                    <a:gd name="connsiteX20" fmla="*/ 5715 w 52006"/>
                    <a:gd name="connsiteY20" fmla="*/ 61627 h 77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52006" h="77057">
                      <a:moveTo>
                        <a:pt x="5620" y="61436"/>
                      </a:moveTo>
                      <a:cubicBezTo>
                        <a:pt x="12287" y="55816"/>
                        <a:pt x="17717" y="51149"/>
                        <a:pt x="21622" y="47434"/>
                      </a:cubicBezTo>
                      <a:cubicBezTo>
                        <a:pt x="25622" y="43720"/>
                        <a:pt x="28956" y="39815"/>
                        <a:pt x="31528" y="35719"/>
                      </a:cubicBezTo>
                      <a:cubicBezTo>
                        <a:pt x="34195" y="31623"/>
                        <a:pt x="35528" y="27718"/>
                        <a:pt x="35528" y="23813"/>
                      </a:cubicBezTo>
                      <a:cubicBezTo>
                        <a:pt x="35528" y="20193"/>
                        <a:pt x="34671" y="17431"/>
                        <a:pt x="33052" y="15430"/>
                      </a:cubicBezTo>
                      <a:cubicBezTo>
                        <a:pt x="31337" y="13430"/>
                        <a:pt x="28765" y="12382"/>
                        <a:pt x="25337" y="12382"/>
                      </a:cubicBezTo>
                      <a:cubicBezTo>
                        <a:pt x="21908" y="12382"/>
                        <a:pt x="19145" y="13525"/>
                        <a:pt x="17240" y="15907"/>
                      </a:cubicBezTo>
                      <a:cubicBezTo>
                        <a:pt x="15335" y="18288"/>
                        <a:pt x="14383" y="21431"/>
                        <a:pt x="14288" y="25527"/>
                      </a:cubicBezTo>
                      <a:lnTo>
                        <a:pt x="0" y="25527"/>
                      </a:lnTo>
                      <a:cubicBezTo>
                        <a:pt x="286" y="17145"/>
                        <a:pt x="2762" y="10763"/>
                        <a:pt x="7525" y="6477"/>
                      </a:cubicBezTo>
                      <a:cubicBezTo>
                        <a:pt x="12287" y="2095"/>
                        <a:pt x="18193" y="0"/>
                        <a:pt x="25527" y="0"/>
                      </a:cubicBezTo>
                      <a:cubicBezTo>
                        <a:pt x="33528" y="0"/>
                        <a:pt x="39624" y="2095"/>
                        <a:pt x="43910" y="6382"/>
                      </a:cubicBezTo>
                      <a:cubicBezTo>
                        <a:pt x="48196" y="10668"/>
                        <a:pt x="50292" y="16192"/>
                        <a:pt x="50292" y="23050"/>
                      </a:cubicBezTo>
                      <a:cubicBezTo>
                        <a:pt x="50292" y="28480"/>
                        <a:pt x="48863" y="33718"/>
                        <a:pt x="45910" y="38671"/>
                      </a:cubicBezTo>
                      <a:cubicBezTo>
                        <a:pt x="42958" y="43624"/>
                        <a:pt x="39624" y="47911"/>
                        <a:pt x="35814" y="51625"/>
                      </a:cubicBezTo>
                      <a:cubicBezTo>
                        <a:pt x="32004" y="55340"/>
                        <a:pt x="27146" y="59722"/>
                        <a:pt x="21050" y="64865"/>
                      </a:cubicBezTo>
                      <a:lnTo>
                        <a:pt x="52006" y="64865"/>
                      </a:lnTo>
                      <a:lnTo>
                        <a:pt x="52006" y="77057"/>
                      </a:lnTo>
                      <a:lnTo>
                        <a:pt x="286" y="77057"/>
                      </a:lnTo>
                      <a:lnTo>
                        <a:pt x="286" y="66199"/>
                      </a:lnTo>
                      <a:lnTo>
                        <a:pt x="5715" y="61627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pic>
          <p:nvPicPr>
            <p:cNvPr id="23" name="137 battery full (red)">
              <a:extLst>
                <a:ext uri="{FF2B5EF4-FFF2-40B4-BE49-F238E27FC236}">
                  <a16:creationId xmlns:a16="http://schemas.microsoft.com/office/drawing/2014/main" id="{049B94A5-BF00-7DBB-2DDB-666D4AE176D9}"/>
                </a:ext>
              </a:extLst>
            </p:cNvPr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793396" y="2211116"/>
              <a:ext cx="1341380" cy="1341380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9E4A059-44CE-55AB-F37D-00B1EE904184}"/>
                </a:ext>
              </a:extLst>
            </p:cNvPr>
            <p:cNvSpPr txBox="1"/>
            <p:nvPr/>
          </p:nvSpPr>
          <p:spPr>
            <a:xfrm>
              <a:off x="1957720" y="2694074"/>
              <a:ext cx="680246" cy="413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US" sz="3200" b="1">
                  <a:solidFill>
                    <a:schemeClr val="bg1"/>
                  </a:solidFill>
                  <a:latin typeface="+mn-lt"/>
                </a:rPr>
                <a:t>+</a:t>
              </a:r>
            </a:p>
          </p:txBody>
        </p:sp>
      </p:grpSp>
      <p:pic>
        <p:nvPicPr>
          <p:cNvPr id="8" name="Arrow_16">
            <a:extLst>
              <a:ext uri="{FF2B5EF4-FFF2-40B4-BE49-F238E27FC236}">
                <a16:creationId xmlns:a16="http://schemas.microsoft.com/office/drawing/2014/main" id="{CDCFF487-13A9-0DDE-767C-F159072F342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rcRect l="54964" b="62390"/>
          <a:stretch/>
        </p:blipFill>
        <p:spPr>
          <a:xfrm rot="7926209">
            <a:off x="1188549" y="3446665"/>
            <a:ext cx="840769" cy="576765"/>
          </a:xfrm>
          <a:prstGeom prst="rect">
            <a:avLst/>
          </a:prstGeom>
        </p:spPr>
      </p:pic>
      <p:pic>
        <p:nvPicPr>
          <p:cNvPr id="11" name="Arrow_16">
            <a:extLst>
              <a:ext uri="{FF2B5EF4-FFF2-40B4-BE49-F238E27FC236}">
                <a16:creationId xmlns:a16="http://schemas.microsoft.com/office/drawing/2014/main" id="{46C78696-48E3-C2B5-9D2F-024DD48B889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rcRect l="51986" b="58911"/>
          <a:stretch/>
        </p:blipFill>
        <p:spPr>
          <a:xfrm rot="7926209">
            <a:off x="2630711" y="3381478"/>
            <a:ext cx="896363" cy="630120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BEF781F4-F986-5735-FB4C-3C58B7C71A53}"/>
              </a:ext>
            </a:extLst>
          </p:cNvPr>
          <p:cNvSpPr txBox="1"/>
          <p:nvPr/>
        </p:nvSpPr>
        <p:spPr>
          <a:xfrm>
            <a:off x="1098316" y="4003675"/>
            <a:ext cx="1021233" cy="8451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n-lt"/>
              </a:rPr>
              <a:t>Primary source of power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45DDDA38-A971-DE54-E7E7-84124F225AC4}"/>
              </a:ext>
            </a:extLst>
          </p:cNvPr>
          <p:cNvSpPr txBox="1"/>
          <p:nvPr/>
        </p:nvSpPr>
        <p:spPr>
          <a:xfrm>
            <a:off x="2542740" y="4003675"/>
            <a:ext cx="1021233" cy="8451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n-lt"/>
              </a:rPr>
              <a:t>Range extender</a:t>
            </a:r>
          </a:p>
        </p:txBody>
      </p:sp>
      <p:sp>
        <p:nvSpPr>
          <p:cNvPr id="71" name="TextBox70435278">
            <a:extLst>
              <a:ext uri="{FF2B5EF4-FFF2-40B4-BE49-F238E27FC236}">
                <a16:creationId xmlns:a16="http://schemas.microsoft.com/office/drawing/2014/main" id="{B646A2F9-3E0F-E88C-DC5D-6930E4CC2921}"/>
              </a:ext>
            </a:extLst>
          </p:cNvPr>
          <p:cNvSpPr txBox="1"/>
          <p:nvPr/>
        </p:nvSpPr>
        <p:spPr>
          <a:xfrm>
            <a:off x="884270" y="4903685"/>
            <a:ext cx="2827146" cy="1158272"/>
          </a:xfrm>
          <a:prstGeom prst="roundRect">
            <a:avLst>
              <a:gd name="adj" fmla="val 4386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dirty="0" err="1"/>
          </a:p>
        </p:txBody>
      </p:sp>
      <p:pic>
        <p:nvPicPr>
          <p:cNvPr id="72" name="524 van">
            <a:extLst>
              <a:ext uri="{FF2B5EF4-FFF2-40B4-BE49-F238E27FC236}">
                <a16:creationId xmlns:a16="http://schemas.microsoft.com/office/drawing/2014/main" id="{1017FF24-331B-DF39-CA87-B6710A0893D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07592" y="4972205"/>
            <a:ext cx="1021233" cy="1021233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7A927238-1725-5D72-E196-6D937B68FF7F}"/>
              </a:ext>
            </a:extLst>
          </p:cNvPr>
          <p:cNvSpPr txBox="1"/>
          <p:nvPr/>
        </p:nvSpPr>
        <p:spPr>
          <a:xfrm>
            <a:off x="2234833" y="5163671"/>
            <a:ext cx="1261674" cy="70821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1400" dirty="0">
                <a:latin typeface="+mn-lt"/>
              </a:rPr>
              <a:t>More common on </a:t>
            </a:r>
            <a:r>
              <a:rPr lang="en-US" sz="1400" b="1" dirty="0">
                <a:latin typeface="+mn-lt"/>
              </a:rPr>
              <a:t>LCV </a:t>
            </a:r>
            <a:r>
              <a:rPr lang="en-US" sz="1400" dirty="0">
                <a:latin typeface="+mn-lt"/>
              </a:rPr>
              <a:t>segment</a:t>
            </a:r>
          </a:p>
        </p:txBody>
      </p:sp>
      <p:pic>
        <p:nvPicPr>
          <p:cNvPr id="74" name="Arrow_16">
            <a:extLst>
              <a:ext uri="{FF2B5EF4-FFF2-40B4-BE49-F238E27FC236}">
                <a16:creationId xmlns:a16="http://schemas.microsoft.com/office/drawing/2014/main" id="{C871BADD-B1FD-DFA1-9164-177FE95F17E1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rcRect l="54964" b="62390"/>
          <a:stretch/>
        </p:blipFill>
        <p:spPr>
          <a:xfrm rot="7926209">
            <a:off x="4918009" y="3446665"/>
            <a:ext cx="840769" cy="576765"/>
          </a:xfrm>
          <a:prstGeom prst="rect">
            <a:avLst/>
          </a:prstGeom>
        </p:spPr>
      </p:pic>
      <p:pic>
        <p:nvPicPr>
          <p:cNvPr id="76" name="Arrow_16">
            <a:extLst>
              <a:ext uri="{FF2B5EF4-FFF2-40B4-BE49-F238E27FC236}">
                <a16:creationId xmlns:a16="http://schemas.microsoft.com/office/drawing/2014/main" id="{0A599146-EA7D-66D6-3E9D-CB401DDA512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rcRect l="54964" b="62390"/>
          <a:stretch/>
        </p:blipFill>
        <p:spPr>
          <a:xfrm rot="7926209">
            <a:off x="6348839" y="3446665"/>
            <a:ext cx="840769" cy="576765"/>
          </a:xfrm>
          <a:prstGeom prst="rect">
            <a:avLst/>
          </a:prstGeom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D82FF714-C2FF-CFA8-DF66-CD6EE570B0D4}"/>
              </a:ext>
            </a:extLst>
          </p:cNvPr>
          <p:cNvSpPr txBox="1"/>
          <p:nvPr/>
        </p:nvSpPr>
        <p:spPr>
          <a:xfrm>
            <a:off x="4870055" y="4006850"/>
            <a:ext cx="2450158" cy="8451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400" dirty="0">
                <a:latin typeface="+mn-lt"/>
              </a:rPr>
              <a:t>Balanced power between fuel cell and battery</a:t>
            </a:r>
          </a:p>
        </p:txBody>
      </p:sp>
      <p:sp>
        <p:nvSpPr>
          <p:cNvPr id="78" name="TextBox70435278">
            <a:extLst>
              <a:ext uri="{FF2B5EF4-FFF2-40B4-BE49-F238E27FC236}">
                <a16:creationId xmlns:a16="http://schemas.microsoft.com/office/drawing/2014/main" id="{25CDCBE7-EE53-D727-DD23-F3ECE9483291}"/>
              </a:ext>
            </a:extLst>
          </p:cNvPr>
          <p:cNvSpPr txBox="1"/>
          <p:nvPr/>
        </p:nvSpPr>
        <p:spPr>
          <a:xfrm>
            <a:off x="4681561" y="4903685"/>
            <a:ext cx="2827146" cy="1158272"/>
          </a:xfrm>
          <a:prstGeom prst="roundRect">
            <a:avLst>
              <a:gd name="adj" fmla="val 4386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dirty="0" err="1"/>
          </a:p>
        </p:txBody>
      </p:sp>
      <p:pic>
        <p:nvPicPr>
          <p:cNvPr id="79" name="518 truck">
            <a:extLst>
              <a:ext uri="{FF2B5EF4-FFF2-40B4-BE49-F238E27FC236}">
                <a16:creationId xmlns:a16="http://schemas.microsoft.com/office/drawing/2014/main" id="{05B1BAFD-7BBE-3494-2AC2-3140F8583E9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4880300" y="5347231"/>
            <a:ext cx="982335" cy="693988"/>
          </a:xfrm>
          <a:prstGeom prst="rect">
            <a:avLst/>
          </a:prstGeom>
        </p:spPr>
      </p:pic>
      <p:pic>
        <p:nvPicPr>
          <p:cNvPr id="80" name="519 small truck">
            <a:extLst>
              <a:ext uri="{FF2B5EF4-FFF2-40B4-BE49-F238E27FC236}">
                <a16:creationId xmlns:a16="http://schemas.microsoft.com/office/drawing/2014/main" id="{E6FC7F12-BC8D-9F59-7466-26CE163FEBA0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5055063" y="4873751"/>
            <a:ext cx="632808" cy="632808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A30CDBDC-3C03-5A24-A6A6-CFED9EC1C57E}"/>
              </a:ext>
            </a:extLst>
          </p:cNvPr>
          <p:cNvSpPr txBox="1"/>
          <p:nvPr/>
        </p:nvSpPr>
        <p:spPr>
          <a:xfrm>
            <a:off x="6077801" y="5163671"/>
            <a:ext cx="1261674" cy="70821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1400" dirty="0"/>
              <a:t>Past &amp; c</a:t>
            </a:r>
            <a:r>
              <a:rPr lang="en-US" sz="1400" dirty="0">
                <a:latin typeface="+mn-lt"/>
              </a:rPr>
              <a:t>urrent state-of-the-art on </a:t>
            </a:r>
            <a:r>
              <a:rPr lang="en-US" sz="1400" b="1" dirty="0">
                <a:latin typeface="+mn-lt"/>
              </a:rPr>
              <a:t>M&amp;HD</a:t>
            </a:r>
          </a:p>
        </p:txBody>
      </p:sp>
      <p:pic>
        <p:nvPicPr>
          <p:cNvPr id="82" name="Arrow_16">
            <a:extLst>
              <a:ext uri="{FF2B5EF4-FFF2-40B4-BE49-F238E27FC236}">
                <a16:creationId xmlns:a16="http://schemas.microsoft.com/office/drawing/2014/main" id="{5C5E04DE-B725-F2E0-3B35-884B5EF7BD65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rcRect l="60501" b="67102"/>
          <a:stretch/>
        </p:blipFill>
        <p:spPr>
          <a:xfrm rot="7926209">
            <a:off x="10143998" y="3506861"/>
            <a:ext cx="737401" cy="504499"/>
          </a:xfrm>
          <a:prstGeom prst="rect">
            <a:avLst/>
          </a:prstGeom>
        </p:spPr>
      </p:pic>
      <p:pic>
        <p:nvPicPr>
          <p:cNvPr id="83" name="Arrow_16">
            <a:extLst>
              <a:ext uri="{FF2B5EF4-FFF2-40B4-BE49-F238E27FC236}">
                <a16:creationId xmlns:a16="http://schemas.microsoft.com/office/drawing/2014/main" id="{F4BD9DB5-7E44-0B07-FC18-0B19FE1EDBD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rcRect l="51986" b="58911"/>
          <a:stretch/>
        </p:blipFill>
        <p:spPr>
          <a:xfrm rot="7926209">
            <a:off x="8602404" y="3419987"/>
            <a:ext cx="896363" cy="630120"/>
          </a:xfrm>
          <a:prstGeom prst="rect">
            <a:avLst/>
          </a:prstGeom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24120B40-AD75-1B6B-337D-03D4A45DF82A}"/>
              </a:ext>
            </a:extLst>
          </p:cNvPr>
          <p:cNvSpPr txBox="1"/>
          <p:nvPr/>
        </p:nvSpPr>
        <p:spPr>
          <a:xfrm>
            <a:off x="10031310" y="4003675"/>
            <a:ext cx="1021233" cy="8451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n-lt"/>
              </a:rPr>
              <a:t>Primary source of power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507716E-43E3-13A2-4129-5AF9431BB483}"/>
              </a:ext>
            </a:extLst>
          </p:cNvPr>
          <p:cNvSpPr txBox="1"/>
          <p:nvPr/>
        </p:nvSpPr>
        <p:spPr>
          <a:xfrm>
            <a:off x="8385763" y="4003675"/>
            <a:ext cx="1329645" cy="8451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n-lt"/>
              </a:rPr>
              <a:t>Additional power and regen. braking</a:t>
            </a:r>
          </a:p>
        </p:txBody>
      </p:sp>
      <p:sp>
        <p:nvSpPr>
          <p:cNvPr id="86" name="TextBox70435278">
            <a:extLst>
              <a:ext uri="{FF2B5EF4-FFF2-40B4-BE49-F238E27FC236}">
                <a16:creationId xmlns:a16="http://schemas.microsoft.com/office/drawing/2014/main" id="{205EC6F2-1486-D4B1-14FF-74ECE4EDE112}"/>
              </a:ext>
            </a:extLst>
          </p:cNvPr>
          <p:cNvSpPr txBox="1"/>
          <p:nvPr/>
        </p:nvSpPr>
        <p:spPr>
          <a:xfrm>
            <a:off x="8480584" y="4903685"/>
            <a:ext cx="2827146" cy="1158272"/>
          </a:xfrm>
          <a:prstGeom prst="roundRect">
            <a:avLst>
              <a:gd name="adj" fmla="val 4386"/>
            </a:avLst>
          </a:prstGeom>
          <a:solidFill>
            <a:srgbClr val="FFFFFF"/>
          </a:solidFill>
          <a:ln w="317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5400000" rotWithShape="0">
              <a:srgbClr val="000000">
                <a:alpha val="20000"/>
              </a:srgbClr>
            </a:outerShdw>
          </a:effectLst>
        </p:spPr>
        <p:txBody>
          <a:bodyPr vert="horz" wrap="square" lIns="108000" tIns="108000" rIns="108000" bIns="108000" rtlCol="0">
            <a:noAutofit/>
          </a:bodyPr>
          <a:lstStyle>
            <a:lvl1pPr lvl="0" indent="0" defTabSz="1083747">
              <a:spcBef>
                <a:spcPts val="1200"/>
              </a:spcBef>
              <a:buFont typeface="Arial" panose="020B0604020202020204" pitchFamily="34" charset="0"/>
              <a:buNone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1pPr>
            <a:lvl2pPr marL="216000" lvl="1" indent="-216000" defTabSz="1083747">
              <a:spcBef>
                <a:spcPts val="1200"/>
              </a:spcBef>
              <a:buClr>
                <a:schemeClr val="accent2"/>
              </a:buClr>
              <a:buSzPct val="100000"/>
              <a:buFont typeface="FEV" panose="02000509000000000000" pitchFamily="49" charset="0"/>
              <a:buChar char="•"/>
              <a:defRPr lang="en-US" sz="1400" dirty="0">
                <a:cs typeface="Poppins" panose="00000500000000000000" pitchFamily="2" charset="0"/>
                <a:sym typeface="Segoe UI" panose="020B0502040204020203" pitchFamily="34" charset="0"/>
              </a:defRPr>
            </a:lvl2pPr>
            <a:lvl3pPr marL="432000" lvl="2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3pPr>
            <a:lvl4pPr marL="648000" lvl="3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4pPr>
            <a:lvl5pPr marL="864000" lvl="4" indent="-216000" defTabSz="1083747">
              <a:spcBef>
                <a:spcPts val="600"/>
              </a:spcBef>
              <a:buClrTx/>
              <a:buFont typeface="Symbol" panose="05050102010706020507" pitchFamily="18" charset="2"/>
              <a:buChar char="-"/>
              <a:defRPr lang="en-US" sz="1200" dirty="0">
                <a:cs typeface="Poppins" panose="00000500000000000000" pitchFamily="2" charset="0"/>
                <a:sym typeface="Segoe UI" panose="020B0502040204020203" pitchFamily="34" charset="0"/>
              </a:defRPr>
            </a:lvl5pPr>
            <a:lvl6pPr marL="2683196" indent="0" defTabSz="1083747">
              <a:spcBef>
                <a:spcPts val="711"/>
              </a:spcBef>
              <a:buClrTx/>
              <a:buFont typeface="Wingdings" panose="05000000000000000000" pitchFamily="2" charset="2"/>
              <a:buNone/>
              <a:defRPr lang="en-US" sz="16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6pPr>
            <a:lvl7pPr marL="3522177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7pPr>
            <a:lvl8pPr marL="4064051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8pPr>
            <a:lvl9pPr marL="4605924" indent="-270937" defTabSz="1083747">
              <a:spcBef>
                <a:spcPct val="20000"/>
              </a:spcBef>
              <a:buFont typeface="Arial" panose="020B0604020202020204" pitchFamily="34" charset="0"/>
              <a:buChar char="•"/>
              <a:defRPr sz="2370"/>
            </a:lvl9pPr>
          </a:lstStyle>
          <a:p>
            <a:endParaRPr lang="en-US" dirty="0" err="1"/>
          </a:p>
        </p:txBody>
      </p:sp>
      <p:pic>
        <p:nvPicPr>
          <p:cNvPr id="87" name="518 truck">
            <a:extLst>
              <a:ext uri="{FF2B5EF4-FFF2-40B4-BE49-F238E27FC236}">
                <a16:creationId xmlns:a16="http://schemas.microsoft.com/office/drawing/2014/main" id="{FB3A2F11-0AB9-7FD6-A7B5-D4ADB393492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8679323" y="5347231"/>
            <a:ext cx="982335" cy="693988"/>
          </a:xfrm>
          <a:prstGeom prst="rect">
            <a:avLst/>
          </a:prstGeom>
        </p:spPr>
      </p:pic>
      <p:pic>
        <p:nvPicPr>
          <p:cNvPr id="88" name="519 small truck">
            <a:extLst>
              <a:ext uri="{FF2B5EF4-FFF2-40B4-BE49-F238E27FC236}">
                <a16:creationId xmlns:a16="http://schemas.microsoft.com/office/drawing/2014/main" id="{A7C66906-1F26-20BA-557E-B49C74978282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8854086" y="4873751"/>
            <a:ext cx="632808" cy="632808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6AE398B8-9932-A055-608F-7E1C0CE43CA4}"/>
              </a:ext>
            </a:extLst>
          </p:cNvPr>
          <p:cNvSpPr txBox="1"/>
          <p:nvPr/>
        </p:nvSpPr>
        <p:spPr>
          <a:xfrm>
            <a:off x="9876824" y="5163671"/>
            <a:ext cx="1020032" cy="70821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r>
              <a:rPr lang="en-US" sz="1400" dirty="0">
                <a:latin typeface="+mn-lt"/>
              </a:rPr>
              <a:t>Current &amp; future </a:t>
            </a:r>
            <a:r>
              <a:rPr lang="en-US" sz="1400" b="1" dirty="0">
                <a:latin typeface="+mn-lt"/>
              </a:rPr>
              <a:t>M&amp;HD</a:t>
            </a:r>
          </a:p>
        </p:txBody>
      </p:sp>
    </p:spTree>
    <p:extLst>
      <p:ext uri="{BB962C8B-B14F-4D97-AF65-F5344CB8AC3E}">
        <p14:creationId xmlns:p14="http://schemas.microsoft.com/office/powerpoint/2010/main" val="2272965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  <p:tag name="MIO_CHANGETRACKING" val="true"/>
  <p:tag name="MIO_PRESENTATION_LANGUAGE" val="1033"/>
  <p:tag name="THINKCELLPRESENTATIONDONOTDELETE" val="&lt;?xml version=&quot;1.0&quot; encoding=&quot;UTF-16&quot; standalone=&quot;yes&quot;?&gt;&lt;root reqver=&quot;27037&quot;&gt;&lt;version val=&quot;3297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2.07044100000000019790E+00&quot;&gt;&lt;m_msothmcolidx val=&quot;0&quot;/&gt;&lt;m_rgb r=&quot;7A&quot; g=&quot;B5&quot; b=&quot;1D&quot;/&gt;&lt;/elem&gt;&lt;elem m_fUsage=&quot;1.89999999999999991118E+00&quot;&gt;&lt;m_msothmcolidx val=&quot;0&quot;/&gt;&lt;m_rgb r=&quot;DA&quot; g=&quot;1F&quot; b=&quot;3D&quot;/&gt;&lt;/elem&gt;&lt;elem m_fUsage=&quot;1.72488690000000000069E+00&quot;&gt;&lt;m_msothmcolidx val=&quot;0&quot;/&gt;&lt;m_rgb r=&quot;30&quot; g=&quot;66&quot; b=&quot;6D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Mj6L7_9SF4eroOq0Anq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5b78068-5589-4d49-8267-c6734c0a7d84"/>
  <p:tag name="MIO_GUID" val="68c14b1c-258d-4ae8-95dc-244bea7dbfe9"/>
  <p:tag name="MIO_UPDATE" val="True"/>
  <p:tag name="MIO_VERSION" val="01.08.2023 10:35:27"/>
  <p:tag name="MIO_DBID" val="E5544BCF-E01D-4DD2-A696-EE75B52B87F5"/>
  <p:tag name="MIO_LASTDOWNLOADED" val="04.10.2024 17:39:45.044"/>
  <p:tag name="MIO_OBJECTNAME" val="717 snowflake"/>
  <p:tag name="MIO_CONTENTTAG" val="jQvDFGpbN0GN3OJxfI24NHPJRr/5Ky9OhLh7Z3rPagI="/>
  <p:tag name="MIO_LASTEDITORNAME" val="Rafi Yalenezia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2364ed-41e0-43a9-926f-469d466a634c"/>
  <p:tag name="MIO_GUID" val="a65b9d76-0194-4832-b75d-c8061812a7e6"/>
  <p:tag name="MIO_UPDATE" val="True"/>
  <p:tag name="MIO_VERSION" val="01.08.2023 14:50:26"/>
  <p:tag name="MIO_DBID" val="E5544BCF-E01D-4DD2-A696-EE75B52B87F5"/>
  <p:tag name="MIO_LASTDOWNLOADED" val="04.10.2024 17:39:51.080"/>
  <p:tag name="MIO_OBJECTNAME" val="718 thermometer"/>
  <p:tag name="MIO_CONTENTTAG" val="+tOhyV740ESWLDqYFSzDYDbe9wXbor5KjVGGdSQdHlE="/>
  <p:tag name="MIO_LASTEDITORNAME" val="Rafi Yalenezia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5b78068-5589-4d49-8267-c6734c0a7d84"/>
  <p:tag name="MIO_GUID" val="68c14b1c-258d-4ae8-95dc-244bea7dbfe9"/>
  <p:tag name="MIO_UPDATE" val="True"/>
  <p:tag name="MIO_VERSION" val="01.08.2023 10:35:27"/>
  <p:tag name="MIO_DBID" val="E5544BCF-E01D-4DD2-A696-EE75B52B87F5"/>
  <p:tag name="MIO_LASTDOWNLOADED" val="04.10.2024 17:39:45.044"/>
  <p:tag name="MIO_OBJECTNAME" val="717 snowflake"/>
  <p:tag name="MIO_CONTENTTAG" val="jQvDFGpbN0GN3OJxfI24NHPJRr/5Ky9OhLh7Z3rPagI="/>
  <p:tag name="MIO_LASTEDITORNAME" val="Rafi Yalenezia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2364ed-41e0-43a9-926f-469d466a634c"/>
  <p:tag name="MIO_GUID" val="a65b9d76-0194-4832-b75d-c8061812a7e6"/>
  <p:tag name="MIO_UPDATE" val="True"/>
  <p:tag name="MIO_VERSION" val="01.08.2023 14:50:26"/>
  <p:tag name="MIO_DBID" val="E5544BCF-E01D-4DD2-A696-EE75B52B87F5"/>
  <p:tag name="MIO_LASTDOWNLOADED" val="04.10.2024 17:39:51.080"/>
  <p:tag name="MIO_OBJECTNAME" val="718 thermometer"/>
  <p:tag name="MIO_CONTENTTAG" val="+tOhyV740ESWLDqYFSzDYDbe9wXbor5KjVGGdSQdHlE="/>
  <p:tag name="MIO_LASTEDITORNAME" val="Rafi Yalenezia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5b78068-5589-4d49-8267-c6734c0a7d84"/>
  <p:tag name="MIO_GUID" val="68c14b1c-258d-4ae8-95dc-244bea7dbfe9"/>
  <p:tag name="MIO_UPDATE" val="True"/>
  <p:tag name="MIO_VERSION" val="01.08.2023 10:35:27"/>
  <p:tag name="MIO_DBID" val="E5544BCF-E01D-4DD2-A696-EE75B52B87F5"/>
  <p:tag name="MIO_LASTDOWNLOADED" val="04.10.2024 17:39:45.044"/>
  <p:tag name="MIO_OBJECTNAME" val="717 snowflake"/>
  <p:tag name="MIO_CONTENTTAG" val="jQvDFGpbN0GN3OJxfI24NHPJRr/5Ky9OhLh7Z3rPagI="/>
  <p:tag name="MIO_LASTEDITORNAME" val="Rafi Yalenezia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2364ed-41e0-43a9-926f-469d466a634c"/>
  <p:tag name="MIO_GUID" val="a65b9d76-0194-4832-b75d-c8061812a7e6"/>
  <p:tag name="MIO_UPDATE" val="True"/>
  <p:tag name="MIO_VERSION" val="01.08.2023 14:50:26"/>
  <p:tag name="MIO_DBID" val="E5544BCF-E01D-4DD2-A696-EE75B52B87F5"/>
  <p:tag name="MIO_LASTDOWNLOADED" val="04.10.2024 17:39:51.080"/>
  <p:tag name="MIO_OBJECTNAME" val="718 thermometer"/>
  <p:tag name="MIO_CONTENTTAG" val="+tOhyV740ESWLDqYFSzDYDbe9wXbor5KjVGGdSQdHlE="/>
  <p:tag name="MIO_LASTEDITORNAME" val="Rafi Yalenezia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989a50a-91cc-4a80-97d2-eff490e8523b"/>
  <p:tag name="MIO_GUID" val="0378ffc1-5085-4087-b135-6fbe972d7572"/>
  <p:tag name="MIO_UPDATE" val="True"/>
  <p:tag name="MIO_VERSION" val="01.08.2023 09:41:49"/>
  <p:tag name="MIO_DBID" val="E5544BCF-E01D-4DD2-A696-EE75B52B87F5"/>
  <p:tag name="MIO_LASTDOWNLOADED" val="04.10.2024 17:38:40.667"/>
  <p:tag name="MIO_OBJECTNAME" val="136 battery full (black)"/>
  <p:tag name="MIO_CONTENTTAG" val="FHuirPKUjk6jqfNK6WkfXUQmkqzt369KtIkCOh4RHIc="/>
  <p:tag name="MIO_LASTEDITORNAME" val="Rafi Yalenezia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5b78068-5589-4d49-8267-c6734c0a7d84"/>
  <p:tag name="MIO_GUID" val="68c14b1c-258d-4ae8-95dc-244bea7dbfe9"/>
  <p:tag name="MIO_UPDATE" val="True"/>
  <p:tag name="MIO_VERSION" val="01.08.2023 10:35:27"/>
  <p:tag name="MIO_DBID" val="E5544BCF-E01D-4DD2-A696-EE75B52B87F5"/>
  <p:tag name="MIO_LASTDOWNLOADED" val="04.10.2024 17:39:45.044"/>
  <p:tag name="MIO_OBJECTNAME" val="717 snowflake"/>
  <p:tag name="MIO_CONTENTTAG" val="jQvDFGpbN0GN3OJxfI24NHPJRr/5Ky9OhLh7Z3rPagI="/>
  <p:tag name="MIO_LASTEDITORNAME" val="Rafi Yalenezia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2364ed-41e0-43a9-926f-469d466a634c"/>
  <p:tag name="MIO_GUID" val="a65b9d76-0194-4832-b75d-c8061812a7e6"/>
  <p:tag name="MIO_UPDATE" val="True"/>
  <p:tag name="MIO_VERSION" val="01.08.2023 14:50:26"/>
  <p:tag name="MIO_DBID" val="E5544BCF-E01D-4DD2-A696-EE75B52B87F5"/>
  <p:tag name="MIO_LASTDOWNLOADED" val="04.10.2024 17:39:51.080"/>
  <p:tag name="MIO_OBJECTNAME" val="718 thermometer"/>
  <p:tag name="MIO_CONTENTTAG" val="+tOhyV740ESWLDqYFSzDYDbe9wXbor5KjVGGdSQdHlE="/>
  <p:tag name="MIO_LASTEDITORNAME" val="Rafi Yalenezia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0b8e072-57df-41a0-addd-0e908730caba"/>
  <p:tag name="MIO_GUID" val="aa3fb1d3-bbb4-4737-9e75-12ba35e429cd"/>
  <p:tag name="MIO_UPDATE" val="True"/>
  <p:tag name="MIO_VERSION" val="01.08.2023 08:29:00"/>
  <p:tag name="MIO_DBID" val="E5544BCF-E01D-4DD2-A696-EE75B52B87F5"/>
  <p:tag name="MIO_LASTDOWNLOADED" val="21.05.2025 17:03:03.315"/>
  <p:tag name="MIO_OBJECTNAME" val="124 Exclamation Mark (red)"/>
  <p:tag name="MIO_CONTENTTAG" val="f9bM6hh7VEiJryAbduVP3kld6Ca/dvhPuH6rdKu0tdc="/>
  <p:tag name="MIO_LASTEDITORNAME" val="Rafi Yalenezia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0b8e072-57df-41a0-addd-0e908730caba"/>
  <p:tag name="MIO_GUID" val="aa3fb1d3-bbb4-4737-9e75-12ba35e429cd"/>
  <p:tag name="MIO_UPDATE" val="True"/>
  <p:tag name="MIO_VERSION" val="01.08.2023 08:29:00"/>
  <p:tag name="MIO_DBID" val="E5544BCF-E01D-4DD2-A696-EE75B52B87F5"/>
  <p:tag name="MIO_LASTDOWNLOADED" val="21.05.2025 17:03:03.315"/>
  <p:tag name="MIO_OBJECTNAME" val="124 Exclamation Mark (red)"/>
  <p:tag name="MIO_CONTENTTAG" val="f9bM6hh7VEiJryAbduVP3kld6Ca/dvhPuH6rdKu0tdc="/>
  <p:tag name="MIO_LASTEDITORNAME" val="Rafi Yalenezia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0b8e072-57df-41a0-addd-0e908730caba"/>
  <p:tag name="MIO_GUID" val="aa3fb1d3-bbb4-4737-9e75-12ba35e429cd"/>
  <p:tag name="MIO_UPDATE" val="True"/>
  <p:tag name="MIO_VERSION" val="01.08.2023 08:29:00"/>
  <p:tag name="MIO_DBID" val="E5544BCF-E01D-4DD2-A696-EE75B52B87F5"/>
  <p:tag name="MIO_LASTDOWNLOADED" val="21.05.2025 17:03:03.315"/>
  <p:tag name="MIO_OBJECTNAME" val="124 Exclamation Mark (red)"/>
  <p:tag name="MIO_CONTENTTAG" val="f9bM6hh7VEiJryAbduVP3kld6Ca/dvhPuH6rdKu0tdc="/>
  <p:tag name="MIO_LASTEDITORNAME" val="Rafi Yalenezia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0b8e072-57df-41a0-addd-0e908730caba"/>
  <p:tag name="MIO_GUID" val="aa3fb1d3-bbb4-4737-9e75-12ba35e429cd"/>
  <p:tag name="MIO_UPDATE" val="True"/>
  <p:tag name="MIO_VERSION" val="01.08.2023 08:29:00"/>
  <p:tag name="MIO_DBID" val="E5544BCF-E01D-4DD2-A696-EE75B52B87F5"/>
  <p:tag name="MIO_LASTDOWNLOADED" val="21.05.2025 17:03:03.315"/>
  <p:tag name="MIO_OBJECTNAME" val="124 Exclamation Mark (red)"/>
  <p:tag name="MIO_CONTENTTAG" val="f9bM6hh7VEiJryAbduVP3kld6Ca/dvhPuH6rdKu0tdc="/>
  <p:tag name="MIO_LASTEDITORNAME" val="Rafi Yalenezia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9541d35-4ffa-4e15-976a-ebde98affdb5"/>
  <p:tag name="MIO_GUID" val="a2465d03-a9e7-4c07-8c8f-fdf2342be05c"/>
  <p:tag name="MIO_UPDATE" val="True"/>
  <p:tag name="MIO_VERSION" val="01.08.2023 09:41:23"/>
  <p:tag name="MIO_DBID" val="E5544BCF-E01D-4DD2-A696-EE75B52B87F5"/>
  <p:tag name="MIO_LASTDOWNLOADED" val="30.09.2024 15:33:05.329"/>
  <p:tag name="MIO_OBJECTNAME" val="137 battery full (red)"/>
  <p:tag name="MIO_CONTENTTAG" val="ySfrC5mWrUKXRrkOT1A8KNEZnh2lwERAmex/lT4rbSI="/>
  <p:tag name="MIO_LASTEDITORNAME" val="Rafi Yalenezia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8200e33-085c-47b0-93e9-616fde6634e2"/>
  <p:tag name="MIO_GUID" val="d5dc6cac-2c3b-4feb-a98e-235c468905e3"/>
  <p:tag name="MIO_UPDATE" val="True"/>
  <p:tag name="MIO_VERSION" val="30.04.2024 09:25:36"/>
  <p:tag name="MIO_DBID" val="E5544BCF-E01D-4DD2-A696-EE75B52B87F5"/>
  <p:tag name="MIO_LASTDOWNLOADED" val="06.05.2024 08:44:01.089"/>
  <p:tag name="MIO_OBJECTNAME" val="FEV Consulting Logo white"/>
  <p:tag name="MIO_LASTEDITORNAME" val="Hannah Pena Gomez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e10dc37-8498-4eb1-a148-bb1b8e37dd49"/>
  <p:tag name="MIO_GUID" val="42a3504c-dc0b-4f87-9dc0-4176602ea771"/>
  <p:tag name="MIO_UPDATE" val="True"/>
  <p:tag name="MIO_VERSION" val="03.07.2024 10:24:18"/>
  <p:tag name="MIO_DBID" val="E5544BCF-E01D-4DD2-A696-EE75B52B87F5"/>
  <p:tag name="MIO_LASTDOWNLOADED" val="21.05.2025 17:16:08.919"/>
  <p:tag name="MIO_OBJECTNAME" val="Arrow_16"/>
  <p:tag name="MIO_CONTENTTAG" val="Seu1FHpLmkGcJlLnVBh9Xg=="/>
  <p:tag name="MIO_LASTEDITORNAME" val="Hannah Pena Gomez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e10dc37-8498-4eb1-a148-bb1b8e37dd49"/>
  <p:tag name="MIO_GUID" val="42a3504c-dc0b-4f87-9dc0-4176602ea771"/>
  <p:tag name="MIO_UPDATE" val="True"/>
  <p:tag name="MIO_VERSION" val="03.07.2024 10:24:18"/>
  <p:tag name="MIO_DBID" val="E5544BCF-E01D-4DD2-A696-EE75B52B87F5"/>
  <p:tag name="MIO_LASTDOWNLOADED" val="21.05.2025 17:16:08.919"/>
  <p:tag name="MIO_OBJECTNAME" val="Arrow_16"/>
  <p:tag name="MIO_CONTENTTAG" val="Seu1FHpLmkGcJlLnVBh9Xg=="/>
  <p:tag name="MIO_LASTEDITORNAME" val="Hannah Pena Gomez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bdc49ad-daab-4b20-87d1-d77d1447fe92"/>
  <p:tag name="MIO_GUID" val="91ab94bc-f96e-4547-b443-809b7bf0591b"/>
  <p:tag name="MIO_UPDATE" val="True"/>
  <p:tag name="MIO_VERSION" val="01.08.2023 07:48:25"/>
  <p:tag name="MIO_DBID" val="E5544BCF-E01D-4DD2-A696-EE75B52B87F5"/>
  <p:tag name="MIO_LASTDOWNLOADED" val="21.05.2025 17:42:00.267"/>
  <p:tag name="MIO_OBJECTNAME" val="524 van"/>
  <p:tag name="MIO_CONTENTTAG" val="6DY3WXMRp0+YQCvPm9PdTYjdFNN4eUhGuIV6Clno/2A="/>
  <p:tag name="MIO_LASTEDITORNAME" val="Rafi Yalenezia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e10dc37-8498-4eb1-a148-bb1b8e37dd49"/>
  <p:tag name="MIO_GUID" val="42a3504c-dc0b-4f87-9dc0-4176602ea771"/>
  <p:tag name="MIO_UPDATE" val="True"/>
  <p:tag name="MIO_VERSION" val="03.07.2024 10:24:18"/>
  <p:tag name="MIO_DBID" val="E5544BCF-E01D-4DD2-A696-EE75B52B87F5"/>
  <p:tag name="MIO_LASTDOWNLOADED" val="21.05.2025 17:16:08.919"/>
  <p:tag name="MIO_OBJECTNAME" val="Arrow_16"/>
  <p:tag name="MIO_CONTENTTAG" val="Seu1FHpLmkGcJlLnVBh9Xg=="/>
  <p:tag name="MIO_LASTEDITORNAME" val="Hannah Pena Gomez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e10dc37-8498-4eb1-a148-bb1b8e37dd49"/>
  <p:tag name="MIO_GUID" val="42a3504c-dc0b-4f87-9dc0-4176602ea771"/>
  <p:tag name="MIO_UPDATE" val="True"/>
  <p:tag name="MIO_VERSION" val="03.07.2024 10:24:18"/>
  <p:tag name="MIO_DBID" val="E5544BCF-E01D-4DD2-A696-EE75B52B87F5"/>
  <p:tag name="MIO_LASTDOWNLOADED" val="21.05.2025 17:16:08.919"/>
  <p:tag name="MIO_OBJECTNAME" val="Arrow_16"/>
  <p:tag name="MIO_CONTENTTAG" val="Seu1FHpLmkGcJlLnVBh9Xg=="/>
  <p:tag name="MIO_LASTEDITORNAME" val="Hannah Pena Gomez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e24f73f-d898-43b4-b772-f8e14df98f1d"/>
  <p:tag name="MIO_GUID" val="6f4aa236-dc99-4d06-9768-1d7828b46ec2"/>
  <p:tag name="MIO_UPDATE" val="True"/>
  <p:tag name="MIO_VERSION" val="01.08.2023 07:47:02"/>
  <p:tag name="MIO_DBID" val="E5544BCF-E01D-4DD2-A696-EE75B52B87F5"/>
  <p:tag name="MIO_LASTDOWNLOADED" val="21.05.2025 17:43:55.922"/>
  <p:tag name="MIO_OBJECTNAME" val="518 truck"/>
  <p:tag name="MIO_CONTENTTAG" val="Yz4tGV9NmkqU+vGhzhAVa+7Lej65RABPuPEvfT7Dc8o="/>
  <p:tag name="MIO_LASTEDITORNAME" val="Rafi Yalenezia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6229e91-a2b8-4ff9-b64b-d3005374a739"/>
  <p:tag name="MIO_GUID" val="b8e9b171-3083-45fb-bdcd-b9319469d90a"/>
  <p:tag name="MIO_UPDATE" val="True"/>
  <p:tag name="MIO_VERSION" val="01.08.2023 07:45:16"/>
  <p:tag name="MIO_DBID" val="E5544BCF-E01D-4DD2-A696-EE75B52B87F5"/>
  <p:tag name="MIO_LASTDOWNLOADED" val="21.05.2025 17:44:06.712"/>
  <p:tag name="MIO_OBJECTNAME" val="519 small truck"/>
  <p:tag name="MIO_CONTENTTAG" val="Pq909g6iR0SVCezOR7OhC0lqx6VL6slHqQyao+CEZYg="/>
  <p:tag name="MIO_LASTEDITORNAME" val="Rafi Yalenezia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e10dc37-8498-4eb1-a148-bb1b8e37dd49"/>
  <p:tag name="MIO_GUID" val="42a3504c-dc0b-4f87-9dc0-4176602ea771"/>
  <p:tag name="MIO_UPDATE" val="True"/>
  <p:tag name="MIO_VERSION" val="03.07.2024 10:24:18"/>
  <p:tag name="MIO_DBID" val="E5544BCF-E01D-4DD2-A696-EE75B52B87F5"/>
  <p:tag name="MIO_LASTDOWNLOADED" val="21.05.2025 17:16:08.919"/>
  <p:tag name="MIO_OBJECTNAME" val="Arrow_16"/>
  <p:tag name="MIO_CONTENTTAG" val="Seu1FHpLmkGcJlLnVBh9Xg=="/>
  <p:tag name="MIO_LASTEDITORNAME" val="Hannah Pena Gomez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e10dc37-8498-4eb1-a148-bb1b8e37dd49"/>
  <p:tag name="MIO_GUID" val="42a3504c-dc0b-4f87-9dc0-4176602ea771"/>
  <p:tag name="MIO_UPDATE" val="True"/>
  <p:tag name="MIO_VERSION" val="03.07.2024 10:24:18"/>
  <p:tag name="MIO_DBID" val="E5544BCF-E01D-4DD2-A696-EE75B52B87F5"/>
  <p:tag name="MIO_LASTDOWNLOADED" val="21.05.2025 17:16:08.919"/>
  <p:tag name="MIO_OBJECTNAME" val="Arrow_16"/>
  <p:tag name="MIO_CONTENTTAG" val="Seu1FHpLmkGcJlLnVBh9Xg=="/>
  <p:tag name="MIO_LASTEDITORNAME" val="Hannah Pena Gomez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e24f73f-d898-43b4-b772-f8e14df98f1d"/>
  <p:tag name="MIO_GUID" val="6f4aa236-dc99-4d06-9768-1d7828b46ec2"/>
  <p:tag name="MIO_UPDATE" val="True"/>
  <p:tag name="MIO_VERSION" val="01.08.2023 07:47:02"/>
  <p:tag name="MIO_DBID" val="E5544BCF-E01D-4DD2-A696-EE75B52B87F5"/>
  <p:tag name="MIO_LASTDOWNLOADED" val="21.05.2025 17:43:55.922"/>
  <p:tag name="MIO_OBJECTNAME" val="518 truck"/>
  <p:tag name="MIO_CONTENTTAG" val="Yz4tGV9NmkqU+vGhzhAVa+7Lej65RABPuPEvfT7Dc8o="/>
  <p:tag name="MIO_LASTEDITORNAME" val="Rafi Yalenezia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6229e91-a2b8-4ff9-b64b-d3005374a739"/>
  <p:tag name="MIO_GUID" val="b8e9b171-3083-45fb-bdcd-b9319469d90a"/>
  <p:tag name="MIO_UPDATE" val="True"/>
  <p:tag name="MIO_VERSION" val="01.08.2023 07:45:16"/>
  <p:tag name="MIO_DBID" val="E5544BCF-E01D-4DD2-A696-EE75B52B87F5"/>
  <p:tag name="MIO_LASTDOWNLOADED" val="21.05.2025 17:44:06.712"/>
  <p:tag name="MIO_OBJECTNAME" val="519 small truck"/>
  <p:tag name="MIO_CONTENTTAG" val="Pq909g6iR0SVCezOR7OhC0lqx6VL6slHqQyao+CEZYg="/>
  <p:tag name="MIO_LASTEDITORNAME" val="Rafi Yalenezia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9541d35-4ffa-4e15-976a-ebde98affdb5"/>
  <p:tag name="MIO_GUID" val="46014811-b486-41e4-b600-0615a081dbd7"/>
  <p:tag name="MIO_UPDATE" val="True"/>
  <p:tag name="MIO_VERSION" val="01.08.2023 08:41:23"/>
  <p:tag name="MIO_DBID" val="E5544BCF-E01D-4DD2-A696-EE75B52B87F5"/>
  <p:tag name="MIO_LASTDOWNLOADED" val="18.09.2024 13:24:47.902"/>
  <p:tag name="MIO_OBJECTNAME" val="137 battery full (red)"/>
  <p:tag name="MIO_LASTEDITORNAME" val="Rafi Yalenezia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9541d35-4ffa-4e15-976a-ebde98affdb5"/>
  <p:tag name="MIO_GUID" val="46014811-b486-41e4-b600-0615a081dbd7"/>
  <p:tag name="MIO_UPDATE" val="True"/>
  <p:tag name="MIO_VERSION" val="01.08.2023 08:41:23"/>
  <p:tag name="MIO_DBID" val="E5544BCF-E01D-4DD2-A696-EE75B52B87F5"/>
  <p:tag name="MIO_LASTDOWNLOADED" val="18.09.2024 13:24:47.902"/>
  <p:tag name="MIO_OBJECTNAME" val="137 battery full (red)"/>
  <p:tag name="MIO_LASTEDITORNAME" val="Rafi Yalenezia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9541d35-4ffa-4e15-976a-ebde98affdb5"/>
  <p:tag name="MIO_GUID" val="46014811-b486-41e4-b600-0615a081dbd7"/>
  <p:tag name="MIO_UPDATE" val="True"/>
  <p:tag name="MIO_VERSION" val="01.08.2023 08:41:23"/>
  <p:tag name="MIO_DBID" val="E5544BCF-E01D-4DD2-A696-EE75B52B87F5"/>
  <p:tag name="MIO_LASTDOWNLOADED" val="18.09.2024 13:24:47.902"/>
  <p:tag name="MIO_OBJECTNAME" val="137 battery full (red)"/>
  <p:tag name="MIO_LASTEDITORNAME" val="Rafi Yalenezia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6aca1ae-c145-4e3a-87a0-bfa2fa049764"/>
  <p:tag name="MIO_GUID" val="fe1e76cf-0353-4f0d-ac5e-cb47deceb97b"/>
  <p:tag name="MIO_UPDATE" val="True"/>
  <p:tag name="MIO_VERSION" val="31.01.2023 07:03:06"/>
  <p:tag name="MIO_DBID" val="E5544BCF-E01D-4DD2-A696-EE75B52B87F5"/>
  <p:tag name="MIO_LASTDOWNLOADED" val="17.10.2024 20:40:56.815"/>
  <p:tag name="MIO_OBJECTNAME" val="Bullet_Teal"/>
  <p:tag name="MIO_CONTENTTAG" val="Y99DxITv8EO1SnOZdi/YcKhkyI6HEE9DtvYuHlIO4IA="/>
  <p:tag name="MIO_LASTEDITORNAME" val="Lucas Schwab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ef890cf-7f12-4597-bac5-797459222d3a"/>
  <p:tag name="MIO_GUID" val="24192b06-c44e-4d28-9360-a37940d77f69"/>
  <p:tag name="MIO_UPDATE" val="True"/>
  <p:tag name="MIO_VERSION" val="01.08.2023 13:01:07"/>
  <p:tag name="MIO_DBID" val="E5544BCF-E01D-4DD2-A696-EE75B52B87F5"/>
  <p:tag name="MIO_LASTDOWNLOADED" val="18.10.2024 19:57:36.381"/>
  <p:tag name="MIO_OBJECTNAME" val="631 fuel cell"/>
  <p:tag name="MIO_CONTENTTAG" val="VqxJron920aeX7PmE7thHFZbEVqFlT5LhcMnT1gkISg="/>
  <p:tag name="MIO_LASTEDITORNAME" val="Rafi Yalenezia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v450MajvtQyMKYEJVzG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pyBEAPXrxjowbPmbg4l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Hphfk6fP5eCD8EqYykD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3UqEl3LsH3yUHtj_ZAz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HjkuzucuP80kQ27p8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T2aAcivHSKZlpcn03UZ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aRFoan2Gp_EphTKo6MA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LssJPiVte9IJc.IUmX2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m0f4jSt3rIN7B.gFjWr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XCZA89YUeKq3Gh.lPJ1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TGxzxpxEJWdjt2WSRtG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VxfL7W1zZDMDNphaXl8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iABJSmju6nED74B94H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kdHmIOGwgfn165it9_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8amNvw.IxIhbIzyTW8R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h7l8nL1U3nwNn5OCYX7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admBDX6wVsCtlMKPuNr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Q7EmSiPEt5IkUxbFkMQ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pgR4S9eTgXwi8tQGIyg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989a50a-91cc-4a80-97d2-eff490e8523b"/>
  <p:tag name="MIO_GUID" val="0953c5b5-8f23-4758-b426-b135b8b6a5e0"/>
  <p:tag name="MIO_UPDATE" val="True"/>
  <p:tag name="MIO_VERSION" val="01.08.2023 09:41:49"/>
  <p:tag name="MIO_DBID" val="E5544BCF-E01D-4DD2-A696-EE75B52B87F5"/>
  <p:tag name="MIO_LASTDOWNLOADED" val="21.10.2024 10:57:27.558"/>
  <p:tag name="MIO_OBJECTNAME" val="136 battery full (black)"/>
  <p:tag name="MIO_CONTENTTAG" val="FHuirPKUjk6jqfNK6WkfXUQmkqzt369KtIkCOh4RHIc="/>
  <p:tag name="MIO_LASTEDITORNAME" val="Rafi Yalenezia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798d34f-75cc-4c4a-b09f-07056fbba55b"/>
  <p:tag name="MIO_GUID" val="6fdc57c4-0f4e-4362-89b6-9a0ffad68078"/>
  <p:tag name="MIO_UPDATE" val="True"/>
  <p:tag name="MIO_VERSION" val="05.03.2024 14:54:04"/>
  <p:tag name="MIO_DBID" val="E5544BCF-E01D-4DD2-A696-EE75B52B87F5"/>
  <p:tag name="MIO_LASTDOWNLOADED" val="21.10.2024 10:59:35.777"/>
  <p:tag name="MIO_OBJECTNAME" val="337 pyramid segmented"/>
  <p:tag name="MIO_CONTENTTAG" val="Y9hQ5F3vo0mAgixPAD5oTw=="/>
  <p:tag name="MIO_LASTEDITORNAME" val="Elisabeth Seidel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eb81d8b-1d23-451e-8f66-194369a5b567"/>
  <p:tag name="MIO_GUID" val="5e1b470f-105c-40da-a223-ac374712801b"/>
  <p:tag name="MIO_UPDATE" val="True"/>
  <p:tag name="MIO_VERSION" val="01.08.2023 14:47:02"/>
  <p:tag name="MIO_DBID" val="E5544BCF-E01D-4DD2-A696-EE75B52B87F5"/>
  <p:tag name="MIO_LASTDOWNLOADED" val="21.10.2024 11:00:25.152"/>
  <p:tag name="MIO_OBJECTNAME" val="219 working head"/>
  <p:tag name="MIO_CONTENTTAG" val="Zm5YHy9QW0ykgsUO82tu3dvDsIKfOBZJig/3UN+aHmA="/>
  <p:tag name="MIO_LASTEDITORNAME" val="Rafi Yalenezia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62c14a2-a1a2-47f9-836f-2824b0902c4c"/>
  <p:tag name="MIO_GUID" val="546f5f97-70f0-4bb7-b7ad-4351f483ae56"/>
  <p:tag name="MIO_UPDATE" val="True"/>
  <p:tag name="MIO_VERSION" val="08.08.2023 10:51:12"/>
  <p:tag name="MIO_DBID" val="E5544BCF-E01D-4DD2-A696-EE75B52B87F5"/>
  <p:tag name="MIO_LASTDOWNLOADED" val="21.10.2024 11:01:02.115"/>
  <p:tag name="MIO_OBJECTNAME" val="418 smart steering wheel"/>
  <p:tag name="MIO_CONTENTTAG" val="6W7X/jGDQUmuznSBmTIc+NVUJDF7Wq9MjDidxYmyjLE="/>
  <p:tag name="MIO_LASTEDITORNAME" val="Elisabeth Seidel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5bccdbd-7987-4440-9c8e-153a135bc685"/>
  <p:tag name="MIO_GUID" val="491d6a1c-4d26-45c4-a55f-aa6bb702fa4e"/>
  <p:tag name="MIO_UPDATE" val="True"/>
  <p:tag name="MIO_VERSION" val="01.08.2023 15:04:54"/>
  <p:tag name="MIO_DBID" val="E5544BCF-E01D-4DD2-A696-EE75B52B87F5"/>
  <p:tag name="MIO_LASTDOWNLOADED" val="21.10.2024 11:01:34.730"/>
  <p:tag name="MIO_OBJECTNAME" val="624 electric motor"/>
  <p:tag name="MIO_CONTENTTAG" val="oO5P7n4du0W+9ePtyozSq0RWM7QDhhZOqXlypRup4t4="/>
  <p:tag name="MIO_LASTEDITORNAME" val="Rafi Yalenezia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40c2bba2-014d-4353-9016-1837e3e3f0d1"/>
  <p:tag name="MIO_GUID" val="f51e06e0-684c-4511-9c9d-9050b98b1838"/>
  <p:tag name="MIO_UPDATE" val="True"/>
  <p:tag name="MIO_VERSION" val="01.08.2023 15:06:35"/>
  <p:tag name="MIO_DBID" val="E5544BCF-E01D-4DD2-A696-EE75B52B87F5"/>
  <p:tag name="MIO_LASTDOWNLOADED" val="21.10.2024 11:01:55.738"/>
  <p:tag name="MIO_OBJECTNAME" val="626 DCAC inverter"/>
  <p:tag name="MIO_CONTENTTAG" val="Pb5nyjfrV0qQuKH+DXwg6I7sj6jFtrVJuigpwEupmzo="/>
  <p:tag name="MIO_LASTEDITORNAME" val="Rafi Yalenezia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2eafd84-c368-47de-b4f7-d280977fae03"/>
  <p:tag name="MIO_GUID" val="8fd8b031-4763-49b5-a9b0-042d380a7bd9"/>
  <p:tag name="MIO_UPDATE" val="True"/>
  <p:tag name="MIO_VERSION" val="01.08.2023 13:11:42"/>
  <p:tag name="MIO_DBID" val="E5544BCF-E01D-4DD2-A696-EE75B52B87F5"/>
  <p:tag name="MIO_LASTDOWNLOADED" val="21.10.2024 11:02:34.220"/>
  <p:tag name="MIO_OBJECTNAME" val="716 water drop"/>
  <p:tag name="MIO_CONTENTTAG" val="l2MyTDRQU0WWKRuBaO3fdqrJa/+80dZPn46bLh7RGa8="/>
  <p:tag name="MIO_LASTEDITORNAME" val="Rafi Yalenezia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47b1e4b8-3365-4ba0-aebb-11e627690c2c"/>
  <p:tag name="MIO_GUID" val="66f087dc-a394-4231-be41-ba5144d8a0ab"/>
  <p:tag name="MIO_UPDATE" val="True"/>
  <p:tag name="MIO_VERSION" val="16.02.2021 08:19:29"/>
  <p:tag name="MIO_DBID" val="E5544BCF-E01D-4DD2-A696-EE75B52B87F5"/>
  <p:tag name="MIO_LASTDOWNLOADED" val="13.04.2021 10:14:25.056"/>
  <p:tag name="MIO_OBJECTNAME" val="Picture 495"/>
  <p:tag name="MIO_LASTEDITORNAME" val="Hannah Pena Gomez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ca2cbd9-2515-4f5e-911f-63a406660875"/>
  <p:tag name="MIO_GUID" val="d8b6c19e-cc25-4c37-a1f6-de6e214117ec"/>
  <p:tag name="MIO_UPDATE" val="True"/>
  <p:tag name="MIO_VERSION" val="01.08.2023 08:24:23"/>
  <p:tag name="MIO_DBID" val="E5544BCF-E01D-4DD2-A696-EE75B52B87F5"/>
  <p:tag name="MIO_LASTDOWNLOADED" val="22.05.2025 16:09:14.532"/>
  <p:tag name="MIO_OBJECTNAME" val="114 minus (red)"/>
  <p:tag name="MIO_CONTENTTAG" val="eOeWTNxvL0G651IVbLGr/K0Yjh4HaBJLtwE/PtTWTZ0="/>
  <p:tag name="MIO_LASTEDITORNAME" val="Rafi Yalenezia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ca2cbd9-2515-4f5e-911f-63a406660875"/>
  <p:tag name="MIO_GUID" val="d8b6c19e-cc25-4c37-a1f6-de6e214117ec"/>
  <p:tag name="MIO_UPDATE" val="True"/>
  <p:tag name="MIO_VERSION" val="01.08.2023 08:24:23"/>
  <p:tag name="MIO_DBID" val="E5544BCF-E01D-4DD2-A696-EE75B52B87F5"/>
  <p:tag name="MIO_LASTDOWNLOADED" val="22.05.2025 16:09:14.532"/>
  <p:tag name="MIO_OBJECTNAME" val="114 minus (red)"/>
  <p:tag name="MIO_CONTENTTAG" val="eOeWTNxvL0G651IVbLGr/K0Yjh4HaBJLtwE/PtTWTZ0="/>
  <p:tag name="MIO_LASTEDITORNAME" val="Rafi Yalenezia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ca2cbd9-2515-4f5e-911f-63a406660875"/>
  <p:tag name="MIO_GUID" val="d8b6c19e-cc25-4c37-a1f6-de6e214117ec"/>
  <p:tag name="MIO_UPDATE" val="True"/>
  <p:tag name="MIO_VERSION" val="01.08.2023 08:24:23"/>
  <p:tag name="MIO_DBID" val="E5544BCF-E01D-4DD2-A696-EE75B52B87F5"/>
  <p:tag name="MIO_LASTDOWNLOADED" val="22.05.2025 16:09:14.532"/>
  <p:tag name="MIO_OBJECTNAME" val="114 minus (red)"/>
  <p:tag name="MIO_CONTENTTAG" val="eOeWTNxvL0G651IVbLGr/K0Yjh4HaBJLtwE/PtTWTZ0="/>
  <p:tag name="MIO_LASTEDITORNAME" val="Rafi Yalenezia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ca2cbd9-2515-4f5e-911f-63a406660875"/>
  <p:tag name="MIO_GUID" val="d8b6c19e-cc25-4c37-a1f6-de6e214117ec"/>
  <p:tag name="MIO_UPDATE" val="True"/>
  <p:tag name="MIO_VERSION" val="01.08.2023 08:24:23"/>
  <p:tag name="MIO_DBID" val="E5544BCF-E01D-4DD2-A696-EE75B52B87F5"/>
  <p:tag name="MIO_LASTDOWNLOADED" val="22.05.2025 16:09:14.532"/>
  <p:tag name="MIO_OBJECTNAME" val="114 minus (red)"/>
  <p:tag name="MIO_CONTENTTAG" val="eOeWTNxvL0G651IVbLGr/K0Yjh4HaBJLtwE/PtTWTZ0="/>
  <p:tag name="MIO_LASTEDITORNAME" val="Rafi Yalenezian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ca2cbd9-2515-4f5e-911f-63a406660875"/>
  <p:tag name="MIO_GUID" val="d8b6c19e-cc25-4c37-a1f6-de6e214117ec"/>
  <p:tag name="MIO_UPDATE" val="True"/>
  <p:tag name="MIO_VERSION" val="01.08.2023 08:24:23"/>
  <p:tag name="MIO_DBID" val="E5544BCF-E01D-4DD2-A696-EE75B52B87F5"/>
  <p:tag name="MIO_LASTDOWNLOADED" val="22.05.2025 16:09:14.532"/>
  <p:tag name="MIO_OBJECTNAME" val="114 minus (red)"/>
  <p:tag name="MIO_CONTENTTAG" val="eOeWTNxvL0G651IVbLGr/K0Yjh4HaBJLtwE/PtTWTZ0="/>
  <p:tag name="MIO_LASTEDITORNAME" val="Rafi Yalenezia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ca2cbd9-2515-4f5e-911f-63a406660875"/>
  <p:tag name="MIO_GUID" val="d8b6c19e-cc25-4c37-a1f6-de6e214117ec"/>
  <p:tag name="MIO_UPDATE" val="True"/>
  <p:tag name="MIO_VERSION" val="01.08.2023 08:24:23"/>
  <p:tag name="MIO_DBID" val="E5544BCF-E01D-4DD2-A696-EE75B52B87F5"/>
  <p:tag name="MIO_LASTDOWNLOADED" val="22.05.2025 16:09:14.532"/>
  <p:tag name="MIO_OBJECTNAME" val="114 minus (red)"/>
  <p:tag name="MIO_CONTENTTAG" val="eOeWTNxvL0G651IVbLGr/K0Yjh4HaBJLtwE/PtTWTZ0="/>
  <p:tag name="MIO_LASTEDITORNAME" val="Rafi Yalenezian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aca2cbd9-2515-4f5e-911f-63a406660875"/>
  <p:tag name="MIO_GUID" val="d8b6c19e-cc25-4c37-a1f6-de6e214117ec"/>
  <p:tag name="MIO_UPDATE" val="True"/>
  <p:tag name="MIO_VERSION" val="01.08.2023 08:24:23"/>
  <p:tag name="MIO_DBID" val="E5544BCF-E01D-4DD2-A696-EE75B52B87F5"/>
  <p:tag name="MIO_LASTDOWNLOADED" val="22.05.2025 16:09:14.532"/>
  <p:tag name="MIO_OBJECTNAME" val="114 minus (red)"/>
  <p:tag name="MIO_CONTENTTAG" val="eOeWTNxvL0G651IVbLGr/K0Yjh4HaBJLtwE/PtTWTZ0="/>
  <p:tag name="MIO_LASTEDITORNAME" val="Rafi Yalenezia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.mY_oeFpIgaRWa31h1U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382c747-b9d9-4d57-8e8e-776b62dd42fd"/>
  <p:tag name="MIO_GUID" val="accededb-8125-4b0c-a457-cddb3c73149c"/>
  <p:tag name="MIO_UPDATE" val="True"/>
  <p:tag name="MIO_VERSION" val="03.07.2024 10:17:23"/>
  <p:tag name="MIO_DBID" val="E5544BCF-E01D-4DD2-A696-EE75B52B87F5"/>
  <p:tag name="MIO_LASTDOWNLOADED" val="22.05.2025 09:50:38.155"/>
  <p:tag name="MIO_OBJECTNAME" val="Arrow_01"/>
  <p:tag name="MIO_CONTENTTAG" val="L2rRl0Akzk6gy2J+Xtwoaw=="/>
  <p:tag name="MIO_LASTEDITORNAME" val="Hannah Pena Gomez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382c747-b9d9-4d57-8e8e-776b62dd42fd"/>
  <p:tag name="MIO_GUID" val="accededb-8125-4b0c-a457-cddb3c73149c"/>
  <p:tag name="MIO_UPDATE" val="True"/>
  <p:tag name="MIO_VERSION" val="03.07.2024 10:17:23"/>
  <p:tag name="MIO_DBID" val="E5544BCF-E01D-4DD2-A696-EE75B52B87F5"/>
  <p:tag name="MIO_LASTDOWNLOADED" val="22.05.2025 09:50:38.155"/>
  <p:tag name="MIO_OBJECTNAME" val="Arrow_01"/>
  <p:tag name="MIO_CONTENTTAG" val="L2rRl0Akzk6gy2J+Xtwoaw=="/>
  <p:tag name="MIO_LASTEDITORNAME" val="Hannah Pena Gomez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d24b9aa-ef06-4b26-aa66-2106bcf64fe0"/>
  <p:tag name="MIO_GUID" val="9482668a-9b70-49e4-b522-eea1fca70fa8"/>
  <p:tag name="MIO_UPDATE" val="True"/>
  <p:tag name="MIO_VERSION" val="03.07.2024 10:20:51"/>
  <p:tag name="MIO_DBID" val="E5544BCF-E01D-4DD2-A696-EE75B52B87F5"/>
  <p:tag name="MIO_LASTDOWNLOADED" val="30.10.2024 16:51:49.346"/>
  <p:tag name="MIO_OBJECTNAME" val="Arrow_09"/>
  <p:tag name="MIO_CONTENTTAG" val="8xBSJAFaHUuhvhMTp44UeA=="/>
  <p:tag name="MIO_LASTEDITORNAME" val="Hannah Pena Gomez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d24b9aa-ef06-4b26-aa66-2106bcf64fe0"/>
  <p:tag name="MIO_GUID" val="9482668a-9b70-49e4-b522-eea1fca70fa8"/>
  <p:tag name="MIO_UPDATE" val="True"/>
  <p:tag name="MIO_VERSION" val="03.07.2024 10:20:51"/>
  <p:tag name="MIO_DBID" val="E5544BCF-E01D-4DD2-A696-EE75B52B87F5"/>
  <p:tag name="MIO_LASTDOWNLOADED" val="30.10.2024 16:51:49.346"/>
  <p:tag name="MIO_OBJECTNAME" val="Arrow_09"/>
  <p:tag name="MIO_CONTENTTAG" val="8xBSJAFaHUuhvhMTp44UeA=="/>
  <p:tag name="MIO_LASTEDITORNAME" val="Hannah Pena Gomez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7f1210c-467b-4675-9532-bb03fc2c3b7c"/>
  <p:tag name="MIO_GUID" val="02fbe069-4f70-464e-bd36-39597bde4658"/>
  <p:tag name="MIO_UPDATE" val="True"/>
  <p:tag name="MIO_VERSION" val="08.08.2023 10:58:36"/>
  <p:tag name="MIO_DBID" val="E5544BCF-E01D-4DD2-A696-EE75B52B87F5"/>
  <p:tag name="MIO_LASTDOWNLOADED" val="30.10.2024 16:55:23.921"/>
  <p:tag name="MIO_OBJECTNAME" val="1395 Battery vehicle assembly"/>
  <p:tag name="MIO_CONTENTTAG" val="TQ6a9Qu2U0KunHUZ+gMUa4YkPRzFrEtBvybG/+qfiaM="/>
  <p:tag name="MIO_LASTEDITORNAME" val="Elisabeth Seidel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2364ed-41e0-43a9-926f-469d466a634c"/>
  <p:tag name="MIO_GUID" val="baeea870-0e40-4bd6-b342-6b7754f0f398"/>
  <p:tag name="MIO_UPDATE" val="True"/>
  <p:tag name="MIO_VERSION" val="01.08.2023 14:50:26"/>
  <p:tag name="MIO_DBID" val="E5544BCF-E01D-4DD2-A696-EE75B52B87F5"/>
  <p:tag name="MIO_LASTDOWNLOADED" val="16.10.2024 09:33:43.346"/>
  <p:tag name="MIO_OBJECTNAME" val="718 thermometer"/>
  <p:tag name="MIO_CONTENTTAG" val="+tOhyV740ESWLDqYFSzDYDbe9wXbor5KjVGGdSQdHlE="/>
  <p:tag name="MIO_LASTEDITORNAME" val="Rafi Yalenezia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388f375-d250-4c65-b302-1cf7fbd58083"/>
  <p:tag name="MIO_GUID" val="c2d0e4f4-f41e-40e9-bcca-954950e70c41"/>
  <p:tag name="MIO_UPDATE" val="True"/>
  <p:tag name="MIO_VERSION" val="01.08.2023 12:38:37"/>
  <p:tag name="MIO_DBID" val="E5544BCF-E01D-4DD2-A696-EE75B52B87F5"/>
  <p:tag name="MIO_LASTDOWNLOADED" val="16.10.2024 11:06:09.766"/>
  <p:tag name="MIO_OBJECTNAME" val="612 pedal"/>
  <p:tag name="MIO_CONTENTTAG" val="ZsqlmhBAH0qFOlNRIZ7Luuig+mTvmZZKlArTB2IJwvs="/>
  <p:tag name="MIO_LASTEDITORNAME" val="Rafi Yalenezia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5b78068-5589-4d49-8267-c6734c0a7d84"/>
  <p:tag name="MIO_GUID" val="454caa42-870c-42cb-b8f4-ea0ee716766e"/>
  <p:tag name="MIO_UPDATE" val="True"/>
  <p:tag name="MIO_VERSION" val="01.08.2023 10:35:27"/>
  <p:tag name="MIO_DBID" val="E5544BCF-E01D-4DD2-A696-EE75B52B87F5"/>
  <p:tag name="MIO_LASTDOWNLOADED" val="16.10.2024 11:06:36.955"/>
  <p:tag name="MIO_OBJECTNAME" val="717 snowflake"/>
  <p:tag name="MIO_CONTENTTAG" val="jQvDFGpbN0GN3OJxfI24NHPJRr/5Ky9OhLh7Z3rPagI="/>
  <p:tag name="MIO_LASTEDITORNAME" val="Rafi Yalenezia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5bccdbd-7987-4440-9c8e-153a135bc685"/>
  <p:tag name="MIO_GUID" val="3a514086-80b8-4f83-96c1-f66071d49359"/>
  <p:tag name="MIO_UPDATE" val="True"/>
  <p:tag name="MIO_VERSION" val="01.08.2023 15:04:54"/>
  <p:tag name="MIO_DBID" val="E5544BCF-E01D-4DD2-A696-EE75B52B87F5"/>
  <p:tag name="MIO_LASTDOWNLOADED" val="16.10.2024 09:33:59.155"/>
  <p:tag name="MIO_OBJECTNAME" val="624 electric motor"/>
  <p:tag name="MIO_CONTENTTAG" val="oO5P7n4du0W+9ePtyozSq0RWM7QDhhZOqXlypRup4t4="/>
  <p:tag name="MIO_LASTEDITORNAME" val="Rafi Yalenezia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40c2bba2-014d-4353-9016-1837e3e3f0d1"/>
  <p:tag name="MIO_GUID" val="b15d3e80-8fd3-4b76-9100-bdd05dc03770"/>
  <p:tag name="MIO_UPDATE" val="True"/>
  <p:tag name="MIO_VERSION" val="01.08.2023 15:06:35"/>
  <p:tag name="MIO_DBID" val="E5544BCF-E01D-4DD2-A696-EE75B52B87F5"/>
  <p:tag name="MIO_LASTDOWNLOADED" val="16.10.2024 09:38:25.355"/>
  <p:tag name="MIO_OBJECTNAME" val="626 DCAC inverter"/>
  <p:tag name="MIO_CONTENTTAG" val="Pb5nyjfrV0qQuKH+DXwg6I7sj6jFtrVJuigpwEupmzo="/>
  <p:tag name="MIO_LASTEDITORNAME" val="Rafi Yalenezia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2364ed-41e0-43a9-926f-469d466a634c"/>
  <p:tag name="MIO_GUID" val="baeea870-0e40-4bd6-b342-6b7754f0f398"/>
  <p:tag name="MIO_UPDATE" val="True"/>
  <p:tag name="MIO_VERSION" val="01.08.2023 14:50:26"/>
  <p:tag name="MIO_DBID" val="E5544BCF-E01D-4DD2-A696-EE75B52B87F5"/>
  <p:tag name="MIO_LASTDOWNLOADED" val="16.10.2024 09:33:43.346"/>
  <p:tag name="MIO_OBJECTNAME" val="718 thermometer"/>
  <p:tag name="MIO_CONTENTTAG" val="+tOhyV740ESWLDqYFSzDYDbe9wXbor5KjVGGdSQdHlE="/>
  <p:tag name="MIO_LASTEDITORNAME" val="Rafi Yalenezia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5bccdbd-7987-4440-9c8e-153a135bc685"/>
  <p:tag name="MIO_GUID" val="3a514086-80b8-4f83-96c1-f66071d49359"/>
  <p:tag name="MIO_UPDATE" val="True"/>
  <p:tag name="MIO_VERSION" val="01.08.2023 15:04:54"/>
  <p:tag name="MIO_DBID" val="E5544BCF-E01D-4DD2-A696-EE75B52B87F5"/>
  <p:tag name="MIO_LASTDOWNLOADED" val="16.10.2024 09:33:59.155"/>
  <p:tag name="MIO_OBJECTNAME" val="624 electric motor"/>
  <p:tag name="MIO_CONTENTTAG" val="oO5P7n4du0W+9ePtyozSq0RWM7QDhhZOqXlypRup4t4="/>
  <p:tag name="MIO_LASTEDITORNAME" val="Rafi Yalenezian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5bccdbd-7987-4440-9c8e-153a135bc685"/>
  <p:tag name="MIO_GUID" val="3a514086-80b8-4f83-96c1-f66071d49359"/>
  <p:tag name="MIO_UPDATE" val="True"/>
  <p:tag name="MIO_VERSION" val="01.08.2023 15:04:54"/>
  <p:tag name="MIO_DBID" val="E5544BCF-E01D-4DD2-A696-EE75B52B87F5"/>
  <p:tag name="MIO_LASTDOWNLOADED" val="16.10.2024 09:33:59.155"/>
  <p:tag name="MIO_OBJECTNAME" val="624 electric motor"/>
  <p:tag name="MIO_CONTENTTAG" val="oO5P7n4du0W+9ePtyozSq0RWM7QDhhZOqXlypRup4t4="/>
  <p:tag name="MIO_LASTEDITORNAME" val="Rafi Yalenezian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e24f73f-d898-43b4-b772-f8e14df98f1d"/>
  <p:tag name="MIO_GUID" val="4fca6f9d-a275-4f1a-8e0a-b76225ba016e"/>
  <p:tag name="MIO_UPDATE" val="True"/>
  <p:tag name="MIO_VERSION" val="01.08.2023 08:47:02"/>
  <p:tag name="MIO_DBID" val="E5544BCF-E01D-4DD2-A696-EE75B52B87F5"/>
  <p:tag name="MIO_LASTDOWNLOADED" val="08.11.2024 12:22:06.065"/>
  <p:tag name="MIO_OBJECTNAME" val="518 truck"/>
  <p:tag name="MIO_CONTENTTAG" val="Yz4tGV9NmkqU+vGhzhAVa+7Lej65RABPuPEvfT7Dc8o="/>
  <p:tag name="MIO_LASTEDITORNAME" val="Rafi Yalenezian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6986fa1-ad93-4eff-8a6f-82d4a992d912"/>
  <p:tag name="MIO_GUID" val="fe25b3a2-250f-4abb-956e-9a24a951219e"/>
  <p:tag name="MIO_UPDATE" val="True"/>
  <p:tag name="MIO_VERSION" val="03.07.2024 10:18:33"/>
  <p:tag name="MIO_DBID" val="E5544BCF-E01D-4DD2-A696-EE75B52B87F5"/>
  <p:tag name="MIO_LASTDOWNLOADED" val="06.11.2024 19:06:34.843"/>
  <p:tag name="MIO_OBJECTNAME" val="Arrow_04"/>
  <p:tag name="MIO_CONTENTTAG" val="dRhbFuIPZUC8bkkgisp31Q=="/>
  <p:tag name="MIO_LASTEDITORNAME" val="Hannah Pena Gomez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e24f73f-d898-43b4-b772-f8e14df98f1d"/>
  <p:tag name="MIO_GUID" val="4fca6f9d-a275-4f1a-8e0a-b76225ba016e"/>
  <p:tag name="MIO_UPDATE" val="True"/>
  <p:tag name="MIO_VERSION" val="01.08.2023 08:47:02"/>
  <p:tag name="MIO_DBID" val="E5544BCF-E01D-4DD2-A696-EE75B52B87F5"/>
  <p:tag name="MIO_LASTDOWNLOADED" val="08.11.2024 12:22:06.065"/>
  <p:tag name="MIO_OBJECTNAME" val="518 truck"/>
  <p:tag name="MIO_CONTENTTAG" val="Yz4tGV9NmkqU+vGhzhAVa+7Lej65RABPuPEvfT7Dc8o="/>
  <p:tag name="MIO_LASTEDITORNAME" val="Rafi Yalenezian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6986fa1-ad93-4eff-8a6f-82d4a992d912"/>
  <p:tag name="MIO_GUID" val="fe25b3a2-250f-4abb-956e-9a24a951219e"/>
  <p:tag name="MIO_UPDATE" val="True"/>
  <p:tag name="MIO_VERSION" val="03.07.2024 10:18:33"/>
  <p:tag name="MIO_DBID" val="E5544BCF-E01D-4DD2-A696-EE75B52B87F5"/>
  <p:tag name="MIO_LASTDOWNLOADED" val="06.11.2024 19:06:34.843"/>
  <p:tag name="MIO_OBJECTNAME" val="Arrow_04"/>
  <p:tag name="MIO_CONTENTTAG" val="dRhbFuIPZUC8bkkgisp31Q=="/>
  <p:tag name="MIO_LASTEDITORNAME" val="Hannah Pena Gomez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e24f73f-d898-43b4-b772-f8e14df98f1d"/>
  <p:tag name="MIO_GUID" val="4fca6f9d-a275-4f1a-8e0a-b76225ba016e"/>
  <p:tag name="MIO_UPDATE" val="True"/>
  <p:tag name="MIO_VERSION" val="01.08.2023 08:47:02"/>
  <p:tag name="MIO_DBID" val="E5544BCF-E01D-4DD2-A696-EE75B52B87F5"/>
  <p:tag name="MIO_LASTDOWNLOADED" val="08.11.2024 12:22:06.065"/>
  <p:tag name="MIO_OBJECTNAME" val="518 truck"/>
  <p:tag name="MIO_CONTENTTAG" val="Yz4tGV9NmkqU+vGhzhAVa+7Lej65RABPuPEvfT7Dc8o="/>
  <p:tag name="MIO_LASTEDITORNAME" val="Rafi Yalenezian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6986fa1-ad93-4eff-8a6f-82d4a992d912"/>
  <p:tag name="MIO_GUID" val="fe25b3a2-250f-4abb-956e-9a24a951219e"/>
  <p:tag name="MIO_UPDATE" val="True"/>
  <p:tag name="MIO_VERSION" val="03.07.2024 10:18:33"/>
  <p:tag name="MIO_DBID" val="E5544BCF-E01D-4DD2-A696-EE75B52B87F5"/>
  <p:tag name="MIO_LASTDOWNLOADED" val="06.11.2024 19:06:34.843"/>
  <p:tag name="MIO_OBJECTNAME" val="Arrow_04"/>
  <p:tag name="MIO_CONTENTTAG" val="dRhbFuIPZUC8bkkgisp31Q=="/>
  <p:tag name="MIO_LASTEDITORNAME" val="Hannah Pena Gomez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d401d9a-eb69-4d6d-8422-d6d1a9b94f6b"/>
  <p:tag name="MIO_EKGUID" val="b6d2dca0-5451-4635-afe4-7560055df13b"/>
  <p:tag name="MIO_UPDATE" val="True"/>
  <p:tag name="MIO_VERSION" val="20.03.2024 18:07:02"/>
  <p:tag name="MIO_OBJECTNAME" val="Contact Details"/>
  <p:tag name="MIO_LASTEDITORNAME" val="Mirko Engelhard"/>
  <p:tag name="MIO_DBID" val="E5544BCF-E01D-4DD2-A696-EE75B52B87F5"/>
  <p:tag name="MIO_LASTDOWNLOADED" val="29.05.2025 15:19:48.855"/>
  <p:tag name="MIO_CONTENTTAG" val="fAorJWPISUqJ73Fv4vsVKg==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6aca1ae-c145-4e3a-87a0-bfa2fa049764"/>
  <p:tag name="MIO_GUID" val="12ea193a-d89f-404f-b183-1ada2dcbe716"/>
  <p:tag name="MIO_UPDATE" val="True"/>
  <p:tag name="MIO_VERSION" val="31.01.2023 08:03:06"/>
  <p:tag name="MIO_DBID" val="E5544BCF-E01D-4DD2-A696-EE75B52B87F5"/>
  <p:tag name="MIO_LASTDOWNLOADED" val="05.09.2023 12:39:45.595"/>
  <p:tag name="MIO_OBJECTNAME" val="Bullet_Teal"/>
  <p:tag name="MIO_LASTEDITORNAME" val="Lucas Schwab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653a4ab-1e22-439c-bf5b-78af94a21aec"/>
  <p:tag name="MIO_GUID" val="331f3670-f89b-4aa3-8e90-ae91ec4b6090"/>
  <p:tag name="MIO_UPDATE" val="True"/>
  <p:tag name="MIO_VERSION" val="05.02.2024 15:21:57"/>
  <p:tag name="MIO_DBID" val="E5544BCF-E01D-4DD2-A696-EE75B52B87F5"/>
  <p:tag name="MIO_LASTDOWNLOADED" val="03.06.2025 12:11:40.443"/>
  <p:tag name="MIO_OBJECTNAME" val="Tanguy Cabaret"/>
  <p:tag name="MIO_CONTENTTAG" val="g1uDjB9K0k6Di2BWcB6ajg=="/>
  <p:tag name="MIO_LASTEDITORNAME" val="Elisabeth Seide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.o6Cw1t7K4Ne_YerdO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g.DfRqQjyywGIenSNk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g.DfRqQjyywGIenSNk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r1hpuQIbKD7HZa4TYhm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394ac32-b34b-4d9c-a1f6-10a8c0904b99"/>
  <p:tag name="MIO_GUID" val="5c30a287-313d-4d0d-bef9-fa457a38af98"/>
  <p:tag name="MIO_UPDATE" val="True"/>
  <p:tag name="MIO_VERSION" val="06.04.2022 16:15:38"/>
  <p:tag name="MIO_DBID" val="E5544BCF-E01D-4DD2-A696-EE75B52B87F5"/>
  <p:tag name="MIO_LASTDOWNLOADED" val="23.11.2022 22:48:35.827"/>
  <p:tag name="MIO_OBJECTNAME" val="Graphic 400"/>
  <p:tag name="MIO_LASTEDITORNAME" val="Sebastian Aberfe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9002204-5c4c-4adb-a0f7-1cd8680fb83e"/>
  <p:tag name="MIO_GUID" val="d2a37e72-8258-48e9-8018-e174a66a3ef3"/>
  <p:tag name="MIO_UPDATE" val="True"/>
  <p:tag name="MIO_VERSION" val="06.04.2022 16:19:28"/>
  <p:tag name="MIO_DBID" val="E5544BCF-E01D-4DD2-A696-EE75B52B87F5"/>
  <p:tag name="MIO_LASTDOWNLOADED" val="23.11.2022 22:53:25.346"/>
  <p:tag name="MIO_OBJECTNAME" val="Graphic 494"/>
  <p:tag name="MIO_LASTEDITORNAME" val="Sebastian Aberfe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02bKChZ0xHBwz_zyrPM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394ac32-b34b-4d9c-a1f6-10a8c0904b99"/>
  <p:tag name="MIO_GUID" val="5c30a287-313d-4d0d-bef9-fa457a38af98"/>
  <p:tag name="MIO_UPDATE" val="True"/>
  <p:tag name="MIO_VERSION" val="06.04.2022 16:15:38"/>
  <p:tag name="MIO_DBID" val="E5544BCF-E01D-4DD2-A696-EE75B52B87F5"/>
  <p:tag name="MIO_LASTDOWNLOADED" val="23.11.2022 22:48:35.827"/>
  <p:tag name="MIO_OBJECTNAME" val="Graphic 400"/>
  <p:tag name="MIO_LASTEDITORNAME" val="Sebastian Aberfe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9002204-5c4c-4adb-a0f7-1cd8680fb83e"/>
  <p:tag name="MIO_GUID" val="d2a37e72-8258-48e9-8018-e174a66a3ef3"/>
  <p:tag name="MIO_UPDATE" val="True"/>
  <p:tag name="MIO_VERSION" val="06.04.2022 16:19:28"/>
  <p:tag name="MIO_DBID" val="E5544BCF-E01D-4DD2-A696-EE75B52B87F5"/>
  <p:tag name="MIO_LASTDOWNLOADED" val="23.11.2022 22:53:25.346"/>
  <p:tag name="MIO_OBJECTNAME" val="Graphic 494"/>
  <p:tag name="MIO_LASTEDITORNAME" val="Sebastian Aberfe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394ac32-b34b-4d9c-a1f6-10a8c0904b99"/>
  <p:tag name="MIO_GUID" val="5c30a287-313d-4d0d-bef9-fa457a38af98"/>
  <p:tag name="MIO_UPDATE" val="True"/>
  <p:tag name="MIO_VERSION" val="06.04.2022 16:15:38"/>
  <p:tag name="MIO_DBID" val="E5544BCF-E01D-4DD2-A696-EE75B52B87F5"/>
  <p:tag name="MIO_LASTDOWNLOADED" val="23.11.2022 22:48:35.827"/>
  <p:tag name="MIO_OBJECTNAME" val="Graphic 400"/>
  <p:tag name="MIO_LASTEDITORNAME" val="Sebastian Aberfe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9002204-5c4c-4adb-a0f7-1cd8680fb83e"/>
  <p:tag name="MIO_GUID" val="d2a37e72-8258-48e9-8018-e174a66a3ef3"/>
  <p:tag name="MIO_UPDATE" val="True"/>
  <p:tag name="MIO_VERSION" val="06.04.2022 16:19:28"/>
  <p:tag name="MIO_DBID" val="E5544BCF-E01D-4DD2-A696-EE75B52B87F5"/>
  <p:tag name="MIO_LASTDOWNLOADED" val="23.11.2022 22:53:25.346"/>
  <p:tag name="MIO_OBJECTNAME" val="Graphic 494"/>
  <p:tag name="MIO_LASTEDITORNAME" val="Sebastian Aberfe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QSDY7i9kviDOXOSNXIL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QSDY7i9kviDOXOSNXI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8fd675b2-947b-44bc-bb72-aa0660cd1b28"/>
  <p:tag name="MIO_UPDATE" val="True"/>
  <p:tag name="MIO_VERSION" val="17.09.2020 12:16:15"/>
  <p:tag name="MIO_DBID" val="E5544BCF-E01D-4DD2-A696-EE75B52B87F5"/>
  <p:tag name="MIO_LASTDOWNLOADED" val="31.01.2022 14:44:36.759"/>
  <p:tag name="MIO_OBJECTNAME" val="FEV-Consulting_Template_2.02_Basic_v04"/>
  <p:tag name="MIO_CDID" val="1bbd8a8f-bae5-46fc-9f07-2e6f9d21bdd8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2"/>
  <p:tag name="MIO_SHOW_DATE" val="False"/>
  <p:tag name="MIO_SHOW_FOOTER" val="False"/>
  <p:tag name="MIO_AVOID_BLANK_LAYOUT" val="True"/>
  <p:tag name="MIO_CD_LAYOUT_VALID_AREA" val="False"/>
  <p:tag name="MIO_MATCH_COLOR_SCHEME" val="False"/>
  <p:tag name="MIO_DBID" val="E5544BCF-E01D-4DD2-A696-EE75B52B87F5"/>
  <p:tag name="MIO_SHOW_PAGENUMBER" val="True"/>
  <p:tag name="MIO_NUMBER_OF_VALID_LAYOUTS" val="32"/>
  <p:tag name="MIO_EMBED_FONT" val="False"/>
  <p:tag name="MIO_EKGUID" val="39982d58-7a76-4272-a189-583f17a02f9c"/>
  <p:tag name="MIO_VERSION" val="06.06.2024 13:15:41"/>
  <p:tag name="MIO_OBJECTNAME" val="FEV-Consulting_Template_3.6"/>
  <p:tag name="MIO_LASTDOWNLOADED" val="04.11.2024 09:04:02.692"/>
  <p:tag name="MIO_CONTENTTAG" val="rjW9GTT9ikqgNKjR86b/mw=="/>
  <p:tag name="MIO_CDID" val="864164d8-856a-4210-ad28-62e8198d8b5b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FEV highlight;"/>
  <p:tag name="MIO_USER_INPUT_OPTIONAL" val=" "/>
  <p:tag name="MIO_USER_INPUT_TEXT" val=" 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FEV highlight;"/>
  <p:tag name="MIO_USER_INPUT_OPTIONAL" val=" "/>
  <p:tag name="MIO_USER_INPUT_TEXT" val=" 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ceDnPkbYykPb5ZtNKqb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6Iehs_fDTI2Gtfan3wo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6Iehs_fDTI2Gtfan3wo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IZq0pGkln6q96xlYSwk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8200e33-085c-47b0-93e9-616fde6634e2"/>
  <p:tag name="MIO_GUID" val="d5dc6cac-2c3b-4feb-a98e-235c468905e3"/>
  <p:tag name="MIO_UPDATE" val="True"/>
  <p:tag name="MIO_VERSION" val="30.04.2024 09:25:36"/>
  <p:tag name="MIO_DBID" val="E5544BCF-E01D-4DD2-A696-EE75B52B87F5"/>
  <p:tag name="MIO_LASTDOWNLOADED" val="06.05.2024 08:44:01.089"/>
  <p:tag name="MIO_OBJECTNAME" val="FEV Consulting Logo white"/>
  <p:tag name="MIO_LASTEDITORNAME" val="Hannah Pena Gomez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9541d35-4ffa-4e15-976a-ebde98affdb5"/>
  <p:tag name="MIO_GUID" val="a2465d03-a9e7-4c07-8c8f-fdf2342be05c"/>
  <p:tag name="MIO_UPDATE" val="True"/>
  <p:tag name="MIO_VERSION" val="01.08.2023 09:41:23"/>
  <p:tag name="MIO_DBID" val="E5544BCF-E01D-4DD2-A696-EE75B52B87F5"/>
  <p:tag name="MIO_LASTDOWNLOADED" val="30.09.2024 15:33:05.329"/>
  <p:tag name="MIO_OBJECTNAME" val="137 battery full (red)"/>
  <p:tag name="MIO_CONTENTTAG" val="ySfrC5mWrUKXRrkOT1A8KNEZnh2lwERAmex/lT4rbSI="/>
  <p:tag name="MIO_LASTEDITORNAME" val="Rafi Yalenezia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9541d35-4ffa-4e15-976a-ebde98affdb5"/>
  <p:tag name="MIO_GUID" val="a2465d03-a9e7-4c07-8c8f-fdf2342be05c"/>
  <p:tag name="MIO_UPDATE" val="True"/>
  <p:tag name="MIO_VERSION" val="01.08.2023 09:41:23"/>
  <p:tag name="MIO_DBID" val="E5544BCF-E01D-4DD2-A696-EE75B52B87F5"/>
  <p:tag name="MIO_LASTDOWNLOADED" val="30.09.2024 15:33:05.329"/>
  <p:tag name="MIO_OBJECTNAME" val="137 battery full (red)"/>
  <p:tag name="MIO_CONTENTTAG" val="ySfrC5mWrUKXRrkOT1A8KNEZnh2lwERAmex/lT4rbSI="/>
  <p:tag name="MIO_LASTEDITORNAME" val="Rafi Yalenezia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8200e33-085c-47b0-93e9-616fde6634e2"/>
  <p:tag name="MIO_GUID" val="d5dc6cac-2c3b-4feb-a98e-235c468905e3"/>
  <p:tag name="MIO_UPDATE" val="True"/>
  <p:tag name="MIO_VERSION" val="30.04.2024 09:25:36"/>
  <p:tag name="MIO_DBID" val="E5544BCF-E01D-4DD2-A696-EE75B52B87F5"/>
  <p:tag name="MIO_LASTDOWNLOADED" val="06.05.2024 08:44:01.089"/>
  <p:tag name="MIO_OBJECTNAME" val="FEV Consulting Logo white"/>
  <p:tag name="MIO_LASTEDITORNAME" val="Hannah Pena Gomez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62c14a2-a1a2-47f9-836f-2824b0902c4c"/>
  <p:tag name="MIO_GUID" val="6ebf44a8-949f-4108-9863-a78e7ea84b9f"/>
  <p:tag name="MIO_UPDATE" val="True"/>
  <p:tag name="MIO_VERSION" val="08.08.2023 10:51:12"/>
  <p:tag name="MIO_DBID" val="E5544BCF-E01D-4DD2-A696-EE75B52B87F5"/>
  <p:tag name="MIO_LASTDOWNLOADED" val="04.10.2024 17:43:08.205"/>
  <p:tag name="MIO_OBJECTNAME" val="418 smart steering wheel"/>
  <p:tag name="MIO_CONTENTTAG" val="6W7X/jGDQUmuznSBmTIc+NVUJDF7Wq9MjDidxYmyjLE="/>
  <p:tag name="MIO_LASTEDITORNAME" val="Elisabeth Seidel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388f375-d250-4c65-b302-1cf7fbd58083"/>
  <p:tag name="MIO_GUID" val="86a8cc61-6ff9-46c7-8a8a-6d3b0b063dba"/>
  <p:tag name="MIO_UPDATE" val="True"/>
  <p:tag name="MIO_VERSION" val="01.08.2023 12:38:37"/>
  <p:tag name="MIO_DBID" val="E5544BCF-E01D-4DD2-A696-EE75B52B87F5"/>
  <p:tag name="MIO_LASTDOWNLOADED" val="04.10.2024 17:44:08.073"/>
  <p:tag name="MIO_OBJECTNAME" val="612 pedal"/>
  <p:tag name="MIO_CONTENTTAG" val="ZsqlmhBAH0qFOlNRIZ7Luuig+mTvmZZKlArTB2IJwvs="/>
  <p:tag name="MIO_LASTEDITORNAME" val="Rafi Yalenezia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5bccdbd-7987-4440-9c8e-153a135bc685"/>
  <p:tag name="MIO_GUID" val="55468da8-9797-4b8f-93d7-929e2172ff54"/>
  <p:tag name="MIO_UPDATE" val="True"/>
  <p:tag name="MIO_VERSION" val="01.08.2023 15:04:54"/>
  <p:tag name="MIO_DBID" val="E5544BCF-E01D-4DD2-A696-EE75B52B87F5"/>
  <p:tag name="MIO_LASTDOWNLOADED" val="04.10.2024 17:45:18.047"/>
  <p:tag name="MIO_OBJECTNAME" val="624 electric motor"/>
  <p:tag name="MIO_CONTENTTAG" val="oO5P7n4du0W+9ePtyozSq0RWM7QDhhZOqXlypRup4t4="/>
  <p:tag name="MIO_LASTEDITORNAME" val="Rafi Yalenezia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5b78068-5589-4d49-8267-c6734c0a7d84"/>
  <p:tag name="MIO_GUID" val="68c14b1c-258d-4ae8-95dc-244bea7dbfe9"/>
  <p:tag name="MIO_UPDATE" val="True"/>
  <p:tag name="MIO_VERSION" val="01.08.2023 10:35:27"/>
  <p:tag name="MIO_DBID" val="E5544BCF-E01D-4DD2-A696-EE75B52B87F5"/>
  <p:tag name="MIO_LASTDOWNLOADED" val="04.10.2024 17:39:45.044"/>
  <p:tag name="MIO_OBJECTNAME" val="717 snowflake"/>
  <p:tag name="MIO_CONTENTTAG" val="jQvDFGpbN0GN3OJxfI24NHPJRr/5Ky9OhLh7Z3rPagI="/>
  <p:tag name="MIO_LASTEDITORNAME" val="Rafi Yalenezia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2364ed-41e0-43a9-926f-469d466a634c"/>
  <p:tag name="MIO_GUID" val="a65b9d76-0194-4832-b75d-c8061812a7e6"/>
  <p:tag name="MIO_UPDATE" val="True"/>
  <p:tag name="MIO_VERSION" val="01.08.2023 14:50:26"/>
  <p:tag name="MIO_DBID" val="E5544BCF-E01D-4DD2-A696-EE75B52B87F5"/>
  <p:tag name="MIO_LASTDOWNLOADED" val="04.10.2024 17:39:51.080"/>
  <p:tag name="MIO_OBJECTNAME" val="718 thermometer"/>
  <p:tag name="MIO_CONTENTTAG" val="+tOhyV740ESWLDqYFSzDYDbe9wXbor5KjVGGdSQdHlE="/>
  <p:tag name="MIO_LASTEDITORNAME" val="Rafi Yalenezia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5b78068-5589-4d49-8267-c6734c0a7d84"/>
  <p:tag name="MIO_GUID" val="68c14b1c-258d-4ae8-95dc-244bea7dbfe9"/>
  <p:tag name="MIO_UPDATE" val="True"/>
  <p:tag name="MIO_VERSION" val="01.08.2023 10:35:27"/>
  <p:tag name="MIO_DBID" val="E5544BCF-E01D-4DD2-A696-EE75B52B87F5"/>
  <p:tag name="MIO_LASTDOWNLOADED" val="04.10.2024 17:39:45.044"/>
  <p:tag name="MIO_OBJECTNAME" val="717 snowflake"/>
  <p:tag name="MIO_CONTENTTAG" val="jQvDFGpbN0GN3OJxfI24NHPJRr/5Ky9OhLh7Z3rPagI="/>
  <p:tag name="MIO_LASTEDITORNAME" val="Rafi Yalenezia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2364ed-41e0-43a9-926f-469d466a634c"/>
  <p:tag name="MIO_GUID" val="a65b9d76-0194-4832-b75d-c8061812a7e6"/>
  <p:tag name="MIO_UPDATE" val="True"/>
  <p:tag name="MIO_VERSION" val="01.08.2023 14:50:26"/>
  <p:tag name="MIO_DBID" val="E5544BCF-E01D-4DD2-A696-EE75B52B87F5"/>
  <p:tag name="MIO_LASTDOWNLOADED" val="04.10.2024 17:39:51.080"/>
  <p:tag name="MIO_OBJECTNAME" val="718 thermometer"/>
  <p:tag name="MIO_CONTENTTAG" val="+tOhyV740ESWLDqYFSzDYDbe9wXbor5KjVGGdSQdHlE="/>
  <p:tag name="MIO_LASTEDITORNAME" val="Rafi Yalenezia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5b78068-5589-4d49-8267-c6734c0a7d84"/>
  <p:tag name="MIO_GUID" val="68c14b1c-258d-4ae8-95dc-244bea7dbfe9"/>
  <p:tag name="MIO_UPDATE" val="True"/>
  <p:tag name="MIO_VERSION" val="01.08.2023 10:35:27"/>
  <p:tag name="MIO_DBID" val="E5544BCF-E01D-4DD2-A696-EE75B52B87F5"/>
  <p:tag name="MIO_LASTDOWNLOADED" val="04.10.2024 17:39:45.044"/>
  <p:tag name="MIO_OBJECTNAME" val="717 snowflake"/>
  <p:tag name="MIO_CONTENTTAG" val="jQvDFGpbN0GN3OJxfI24NHPJRr/5Ky9OhLh7Z3rPagI="/>
  <p:tag name="MIO_LASTEDITORNAME" val="Rafi Yalenezia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2364ed-41e0-43a9-926f-469d466a634c"/>
  <p:tag name="MIO_GUID" val="a65b9d76-0194-4832-b75d-c8061812a7e6"/>
  <p:tag name="MIO_UPDATE" val="True"/>
  <p:tag name="MIO_VERSION" val="01.08.2023 14:50:26"/>
  <p:tag name="MIO_DBID" val="E5544BCF-E01D-4DD2-A696-EE75B52B87F5"/>
  <p:tag name="MIO_LASTDOWNLOADED" val="04.10.2024 17:39:51.080"/>
  <p:tag name="MIO_OBJECTNAME" val="718 thermometer"/>
  <p:tag name="MIO_CONTENTTAG" val="+tOhyV740ESWLDqYFSzDYDbe9wXbor5KjVGGdSQdHlE="/>
  <p:tag name="MIO_LASTEDITORNAME" val="Rafi Yalenezia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989a50a-91cc-4a80-97d2-eff490e8523b"/>
  <p:tag name="MIO_GUID" val="0378ffc1-5085-4087-b135-6fbe972d7572"/>
  <p:tag name="MIO_UPDATE" val="True"/>
  <p:tag name="MIO_VERSION" val="01.08.2023 09:41:49"/>
  <p:tag name="MIO_DBID" val="E5544BCF-E01D-4DD2-A696-EE75B52B87F5"/>
  <p:tag name="MIO_LASTDOWNLOADED" val="04.10.2024 17:38:40.667"/>
  <p:tag name="MIO_OBJECTNAME" val="136 battery full (black)"/>
  <p:tag name="MIO_CONTENTTAG" val="FHuirPKUjk6jqfNK6WkfXUQmkqzt369KtIkCOh4RHIc="/>
  <p:tag name="MIO_LASTEDITORNAME" val="Rafi Yalenezia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5b78068-5589-4d49-8267-c6734c0a7d84"/>
  <p:tag name="MIO_GUID" val="68c14b1c-258d-4ae8-95dc-244bea7dbfe9"/>
  <p:tag name="MIO_UPDATE" val="True"/>
  <p:tag name="MIO_VERSION" val="01.08.2023 10:35:27"/>
  <p:tag name="MIO_DBID" val="E5544BCF-E01D-4DD2-A696-EE75B52B87F5"/>
  <p:tag name="MIO_LASTDOWNLOADED" val="04.10.2024 17:39:45.044"/>
  <p:tag name="MIO_OBJECTNAME" val="717 snowflake"/>
  <p:tag name="MIO_CONTENTTAG" val="jQvDFGpbN0GN3OJxfI24NHPJRr/5Ky9OhLh7Z3rPagI="/>
  <p:tag name="MIO_LASTEDITORNAME" val="Rafi Yalenezia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2364ed-41e0-43a9-926f-469d466a634c"/>
  <p:tag name="MIO_GUID" val="a65b9d76-0194-4832-b75d-c8061812a7e6"/>
  <p:tag name="MIO_UPDATE" val="True"/>
  <p:tag name="MIO_VERSION" val="01.08.2023 14:50:26"/>
  <p:tag name="MIO_DBID" val="E5544BCF-E01D-4DD2-A696-EE75B52B87F5"/>
  <p:tag name="MIO_LASTDOWNLOADED" val="04.10.2024 17:39:51.080"/>
  <p:tag name="MIO_OBJECTNAME" val="718 thermometer"/>
  <p:tag name="MIO_CONTENTTAG" val="+tOhyV740ESWLDqYFSzDYDbe9wXbor5KjVGGdSQdHlE="/>
  <p:tag name="MIO_LASTEDITORNAME" val="Rafi Yalenezia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6Iehs_fDTI2Gtfan3w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62c14a2-a1a2-47f9-836f-2824b0902c4c"/>
  <p:tag name="MIO_GUID" val="6ebf44a8-949f-4108-9863-a78e7ea84b9f"/>
  <p:tag name="MIO_UPDATE" val="True"/>
  <p:tag name="MIO_VERSION" val="08.08.2023 10:51:12"/>
  <p:tag name="MIO_DBID" val="E5544BCF-E01D-4DD2-A696-EE75B52B87F5"/>
  <p:tag name="MIO_LASTDOWNLOADED" val="04.10.2024 17:43:08.205"/>
  <p:tag name="MIO_OBJECTNAME" val="418 smart steering wheel"/>
  <p:tag name="MIO_CONTENTTAG" val="6W7X/jGDQUmuznSBmTIc+NVUJDF7Wq9MjDidxYmyjLE="/>
  <p:tag name="MIO_LASTEDITORNAME" val="Elisabeth Seidel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388f375-d250-4c65-b302-1cf7fbd58083"/>
  <p:tag name="MIO_GUID" val="86a8cc61-6ff9-46c7-8a8a-6d3b0b063dba"/>
  <p:tag name="MIO_UPDATE" val="True"/>
  <p:tag name="MIO_VERSION" val="01.08.2023 12:38:37"/>
  <p:tag name="MIO_DBID" val="E5544BCF-E01D-4DD2-A696-EE75B52B87F5"/>
  <p:tag name="MIO_LASTDOWNLOADED" val="04.10.2024 17:44:08.073"/>
  <p:tag name="MIO_OBJECTNAME" val="612 pedal"/>
  <p:tag name="MIO_CONTENTTAG" val="ZsqlmhBAH0qFOlNRIZ7Luuig+mTvmZZKlArTB2IJwvs="/>
  <p:tag name="MIO_LASTEDITORNAME" val="Rafi Yalenezia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5bccdbd-7987-4440-9c8e-153a135bc685"/>
  <p:tag name="MIO_GUID" val="55468da8-9797-4b8f-93d7-929e2172ff54"/>
  <p:tag name="MIO_UPDATE" val="True"/>
  <p:tag name="MIO_VERSION" val="01.08.2023 15:04:54"/>
  <p:tag name="MIO_DBID" val="E5544BCF-E01D-4DD2-A696-EE75B52B87F5"/>
  <p:tag name="MIO_LASTDOWNLOADED" val="04.10.2024 17:45:18.047"/>
  <p:tag name="MIO_OBJECTNAME" val="624 electric motor"/>
  <p:tag name="MIO_CONTENTTAG" val="oO5P7n4du0W+9ePtyozSq0RWM7QDhhZOqXlypRup4t4="/>
  <p:tag name="MIO_LASTEDITORNAME" val="Rafi Yalenezia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5b78068-5589-4d49-8267-c6734c0a7d84"/>
  <p:tag name="MIO_GUID" val="68c14b1c-258d-4ae8-95dc-244bea7dbfe9"/>
  <p:tag name="MIO_UPDATE" val="True"/>
  <p:tag name="MIO_VERSION" val="01.08.2023 10:35:27"/>
  <p:tag name="MIO_DBID" val="E5544BCF-E01D-4DD2-A696-EE75B52B87F5"/>
  <p:tag name="MIO_LASTDOWNLOADED" val="04.10.2024 17:39:45.044"/>
  <p:tag name="MIO_OBJECTNAME" val="717 snowflake"/>
  <p:tag name="MIO_CONTENTTAG" val="jQvDFGpbN0GN3OJxfI24NHPJRr/5Ky9OhLh7Z3rPagI="/>
  <p:tag name="MIO_LASTEDITORNAME" val="Rafi Yalenezia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2364ed-41e0-43a9-926f-469d466a634c"/>
  <p:tag name="MIO_GUID" val="a65b9d76-0194-4832-b75d-c8061812a7e6"/>
  <p:tag name="MIO_UPDATE" val="True"/>
  <p:tag name="MIO_VERSION" val="01.08.2023 14:50:26"/>
  <p:tag name="MIO_DBID" val="E5544BCF-E01D-4DD2-A696-EE75B52B87F5"/>
  <p:tag name="MIO_LASTDOWNLOADED" val="04.10.2024 17:39:51.080"/>
  <p:tag name="MIO_OBJECTNAME" val="718 thermometer"/>
  <p:tag name="MIO_CONTENTTAG" val="+tOhyV740ESWLDqYFSzDYDbe9wXbor5KjVGGdSQdHlE="/>
  <p:tag name="MIO_LASTEDITORNAME" val="Rafi Yalenezia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5b78068-5589-4d49-8267-c6734c0a7d84"/>
  <p:tag name="MIO_GUID" val="68c14b1c-258d-4ae8-95dc-244bea7dbfe9"/>
  <p:tag name="MIO_UPDATE" val="True"/>
  <p:tag name="MIO_VERSION" val="01.08.2023 10:35:27"/>
  <p:tag name="MIO_DBID" val="E5544BCF-E01D-4DD2-A696-EE75B52B87F5"/>
  <p:tag name="MIO_LASTDOWNLOADED" val="04.10.2024 17:39:45.044"/>
  <p:tag name="MIO_OBJECTNAME" val="717 snowflake"/>
  <p:tag name="MIO_CONTENTTAG" val="jQvDFGpbN0GN3OJxfI24NHPJRr/5Ky9OhLh7Z3rPagI="/>
  <p:tag name="MIO_LASTEDITORNAME" val="Rafi Yalenezia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2364ed-41e0-43a9-926f-469d466a634c"/>
  <p:tag name="MIO_GUID" val="a65b9d76-0194-4832-b75d-c8061812a7e6"/>
  <p:tag name="MIO_UPDATE" val="True"/>
  <p:tag name="MIO_VERSION" val="01.08.2023 14:50:26"/>
  <p:tag name="MIO_DBID" val="E5544BCF-E01D-4DD2-A696-EE75B52B87F5"/>
  <p:tag name="MIO_LASTDOWNLOADED" val="04.10.2024 17:39:51.080"/>
  <p:tag name="MIO_OBJECTNAME" val="718 thermometer"/>
  <p:tag name="MIO_CONTENTTAG" val="+tOhyV740ESWLDqYFSzDYDbe9wXbor5KjVGGdSQdHlE="/>
  <p:tag name="MIO_LASTEDITORNAME" val="Rafi Yalenezia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5b78068-5589-4d49-8267-c6734c0a7d84"/>
  <p:tag name="MIO_GUID" val="68c14b1c-258d-4ae8-95dc-244bea7dbfe9"/>
  <p:tag name="MIO_UPDATE" val="True"/>
  <p:tag name="MIO_VERSION" val="01.08.2023 10:35:27"/>
  <p:tag name="MIO_DBID" val="E5544BCF-E01D-4DD2-A696-EE75B52B87F5"/>
  <p:tag name="MIO_LASTDOWNLOADED" val="04.10.2024 17:39:45.044"/>
  <p:tag name="MIO_OBJECTNAME" val="717 snowflake"/>
  <p:tag name="MIO_CONTENTTAG" val="jQvDFGpbN0GN3OJxfI24NHPJRr/5Ky9OhLh7Z3rPagI="/>
  <p:tag name="MIO_LASTEDITORNAME" val="Rafi Yalenezia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2364ed-41e0-43a9-926f-469d466a634c"/>
  <p:tag name="MIO_GUID" val="a65b9d76-0194-4832-b75d-c8061812a7e6"/>
  <p:tag name="MIO_UPDATE" val="True"/>
  <p:tag name="MIO_VERSION" val="01.08.2023 14:50:26"/>
  <p:tag name="MIO_DBID" val="E5544BCF-E01D-4DD2-A696-EE75B52B87F5"/>
  <p:tag name="MIO_LASTDOWNLOADED" val="04.10.2024 17:39:51.080"/>
  <p:tag name="MIO_OBJECTNAME" val="718 thermometer"/>
  <p:tag name="MIO_CONTENTTAG" val="+tOhyV740ESWLDqYFSzDYDbe9wXbor5KjVGGdSQdHlE="/>
  <p:tag name="MIO_LASTEDITORNAME" val="Rafi Yalenezia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989a50a-91cc-4a80-97d2-eff490e8523b"/>
  <p:tag name="MIO_GUID" val="0378ffc1-5085-4087-b135-6fbe972d7572"/>
  <p:tag name="MIO_UPDATE" val="True"/>
  <p:tag name="MIO_VERSION" val="01.08.2023 09:41:49"/>
  <p:tag name="MIO_DBID" val="E5544BCF-E01D-4DD2-A696-EE75B52B87F5"/>
  <p:tag name="MIO_LASTDOWNLOADED" val="04.10.2024 17:38:40.667"/>
  <p:tag name="MIO_OBJECTNAME" val="136 battery full (black)"/>
  <p:tag name="MIO_CONTENTTAG" val="FHuirPKUjk6jqfNK6WkfXUQmkqzt369KtIkCOh4RHIc="/>
  <p:tag name="MIO_LASTEDITORNAME" val="Rafi Yalenezia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5b78068-5589-4d49-8267-c6734c0a7d84"/>
  <p:tag name="MIO_GUID" val="68c14b1c-258d-4ae8-95dc-244bea7dbfe9"/>
  <p:tag name="MIO_UPDATE" val="True"/>
  <p:tag name="MIO_VERSION" val="01.08.2023 10:35:27"/>
  <p:tag name="MIO_DBID" val="E5544BCF-E01D-4DD2-A696-EE75B52B87F5"/>
  <p:tag name="MIO_LASTDOWNLOADED" val="04.10.2024 17:39:45.044"/>
  <p:tag name="MIO_OBJECTNAME" val="717 snowflake"/>
  <p:tag name="MIO_CONTENTTAG" val="jQvDFGpbN0GN3OJxfI24NHPJRr/5Ky9OhLh7Z3rPagI="/>
  <p:tag name="MIO_LASTEDITORNAME" val="Rafi Yalenezia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2364ed-41e0-43a9-926f-469d466a634c"/>
  <p:tag name="MIO_GUID" val="a65b9d76-0194-4832-b75d-c8061812a7e6"/>
  <p:tag name="MIO_UPDATE" val="True"/>
  <p:tag name="MIO_VERSION" val="01.08.2023 14:50:26"/>
  <p:tag name="MIO_DBID" val="E5544BCF-E01D-4DD2-A696-EE75B52B87F5"/>
  <p:tag name="MIO_LASTDOWNLOADED" val="04.10.2024 17:39:51.080"/>
  <p:tag name="MIO_OBJECTNAME" val="718 thermometer"/>
  <p:tag name="MIO_CONTENTTAG" val="+tOhyV740ESWLDqYFSzDYDbe9wXbor5KjVGGdSQdHlE="/>
  <p:tag name="MIO_LASTEDITORNAME" val="Rafi Yalenezia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62c14a2-a1a2-47f9-836f-2824b0902c4c"/>
  <p:tag name="MIO_GUID" val="6ebf44a8-949f-4108-9863-a78e7ea84b9f"/>
  <p:tag name="MIO_UPDATE" val="True"/>
  <p:tag name="MIO_VERSION" val="08.08.2023 10:51:12"/>
  <p:tag name="MIO_DBID" val="E5544BCF-E01D-4DD2-A696-EE75B52B87F5"/>
  <p:tag name="MIO_LASTDOWNLOADED" val="04.10.2024 17:43:08.205"/>
  <p:tag name="MIO_OBJECTNAME" val="418 smart steering wheel"/>
  <p:tag name="MIO_CONTENTTAG" val="6W7X/jGDQUmuznSBmTIc+NVUJDF7Wq9MjDidxYmyjLE="/>
  <p:tag name="MIO_LASTEDITORNAME" val="Elisabeth Seidel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388f375-d250-4c65-b302-1cf7fbd58083"/>
  <p:tag name="MIO_GUID" val="86a8cc61-6ff9-46c7-8a8a-6d3b0b063dba"/>
  <p:tag name="MIO_UPDATE" val="True"/>
  <p:tag name="MIO_VERSION" val="01.08.2023 12:38:37"/>
  <p:tag name="MIO_DBID" val="E5544BCF-E01D-4DD2-A696-EE75B52B87F5"/>
  <p:tag name="MIO_LASTDOWNLOADED" val="04.10.2024 17:44:08.073"/>
  <p:tag name="MIO_OBJECTNAME" val="612 pedal"/>
  <p:tag name="MIO_CONTENTTAG" val="ZsqlmhBAH0qFOlNRIZ7Luuig+mTvmZZKlArTB2IJwvs="/>
  <p:tag name="MIO_LASTEDITORNAME" val="Rafi Yalenezia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5bccdbd-7987-4440-9c8e-153a135bc685"/>
  <p:tag name="MIO_GUID" val="55468da8-9797-4b8f-93d7-929e2172ff54"/>
  <p:tag name="MIO_UPDATE" val="True"/>
  <p:tag name="MIO_VERSION" val="01.08.2023 15:04:54"/>
  <p:tag name="MIO_DBID" val="E5544BCF-E01D-4DD2-A696-EE75B52B87F5"/>
  <p:tag name="MIO_LASTDOWNLOADED" val="04.10.2024 17:45:18.047"/>
  <p:tag name="MIO_OBJECTNAME" val="624 electric motor"/>
  <p:tag name="MIO_CONTENTTAG" val="oO5P7n4du0W+9ePtyozSq0RWM7QDhhZOqXlypRup4t4="/>
  <p:tag name="MIO_LASTEDITORNAME" val="Rafi Yalenezia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9afd8d60-57cf-4742-801e-ef09fe75214a"/>
  <p:tag name="MIO_GUID" val="68cc2fac-9350-4afb-92ec-1cac5b76f0d8"/>
  <p:tag name="MIO_UPDATE" val="True"/>
  <p:tag name="MIO_VERSION" val="03.07.2024 10:22:50"/>
  <p:tag name="MIO_DBID" val="E5544BCF-E01D-4DD2-A696-EE75B52B87F5"/>
  <p:tag name="MIO_LASTDOWNLOADED" val="14.10.2024 15:02:15.962"/>
  <p:tag name="MIO_OBJECTNAME" val="Arrow_13"/>
  <p:tag name="MIO_CONTENTTAG" val="pQnlGBGBGkGjjXoathtfrA=="/>
  <p:tag name="MIO_LASTEDITORNAME" val="Hannah Pena Gomez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9afd8d60-57cf-4742-801e-ef09fe75214a"/>
  <p:tag name="MIO_GUID" val="68cc2fac-9350-4afb-92ec-1cac5b76f0d8"/>
  <p:tag name="MIO_UPDATE" val="True"/>
  <p:tag name="MIO_VERSION" val="03.07.2024 10:22:50"/>
  <p:tag name="MIO_DBID" val="E5544BCF-E01D-4DD2-A696-EE75B52B87F5"/>
  <p:tag name="MIO_LASTDOWNLOADED" val="14.10.2024 15:02:15.962"/>
  <p:tag name="MIO_OBJECTNAME" val="Arrow_13"/>
  <p:tag name="MIO_CONTENTTAG" val="pQnlGBGBGkGjjXoathtfrA=="/>
  <p:tag name="MIO_LASTEDITORNAME" val="Hannah Pena Gomez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9afd8d60-57cf-4742-801e-ef09fe75214a"/>
  <p:tag name="MIO_GUID" val="68cc2fac-9350-4afb-92ec-1cac5b76f0d8"/>
  <p:tag name="MIO_UPDATE" val="True"/>
  <p:tag name="MIO_VERSION" val="03.07.2024 10:22:50"/>
  <p:tag name="MIO_DBID" val="E5544BCF-E01D-4DD2-A696-EE75B52B87F5"/>
  <p:tag name="MIO_LASTDOWNLOADED" val="14.10.2024 15:02:15.962"/>
  <p:tag name="MIO_OBJECTNAME" val="Arrow_13"/>
  <p:tag name="MIO_CONTENTTAG" val="pQnlGBGBGkGjjXoathtfrA=="/>
  <p:tag name="MIO_LASTEDITORNAME" val="Hannah Pena Gomez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9afd8d60-57cf-4742-801e-ef09fe75214a"/>
  <p:tag name="MIO_GUID" val="68cc2fac-9350-4afb-92ec-1cac5b76f0d8"/>
  <p:tag name="MIO_UPDATE" val="True"/>
  <p:tag name="MIO_VERSION" val="03.07.2024 10:22:50"/>
  <p:tag name="MIO_DBID" val="E5544BCF-E01D-4DD2-A696-EE75B52B87F5"/>
  <p:tag name="MIO_LASTDOWNLOADED" val="14.10.2024 15:02:15.962"/>
  <p:tag name="MIO_OBJECTNAME" val="Arrow_13"/>
  <p:tag name="MIO_CONTENTTAG" val="pQnlGBGBGkGjjXoathtfrA=="/>
  <p:tag name="MIO_LASTEDITORNAME" val="Hannah Pena Gomez"/>
</p:tagLst>
</file>

<file path=ppt/theme/theme1.xml><?xml version="1.0" encoding="utf-8"?>
<a:theme xmlns:a="http://schemas.openxmlformats.org/drawingml/2006/main" name="blank">
  <a:themeElements>
    <a:clrScheme name="FEV Consulting">
      <a:dk1>
        <a:srgbClr val="000000"/>
      </a:dk1>
      <a:lt1>
        <a:srgbClr val="FFFFFF"/>
      </a:lt1>
      <a:dk2>
        <a:srgbClr val="B9052D"/>
      </a:dk2>
      <a:lt2>
        <a:srgbClr val="797979"/>
      </a:lt2>
      <a:accent1>
        <a:srgbClr val="DBDBDB"/>
      </a:accent1>
      <a:accent2>
        <a:srgbClr val="3F3F3F"/>
      </a:accent2>
      <a:accent3>
        <a:srgbClr val="ADC646"/>
      </a:accent3>
      <a:accent4>
        <a:srgbClr val="0087A0"/>
      </a:accent4>
      <a:accent5>
        <a:srgbClr val="99CFD9"/>
      </a:accent5>
      <a:accent6>
        <a:srgbClr val="E67319"/>
      </a:accent6>
      <a:hlink>
        <a:srgbClr val="B9052D"/>
      </a:hlink>
      <a:folHlink>
        <a:srgbClr val="8A0321"/>
      </a:folHlink>
    </a:clrScheme>
    <a:fontScheme name="Poppins">
      <a:majorFont>
        <a:latin typeface="Poppins SemiBold"/>
        <a:ea typeface=""/>
        <a:cs typeface=""/>
      </a:majorFont>
      <a:minorFont>
        <a:latin typeface="Poppi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6350">
          <a:noFill/>
        </a:ln>
      </a:spPr>
      <a:bodyPr rtlCol="0" anchor="ctr"/>
      <a:lstStyle>
        <a:defPPr algn="ctr">
          <a:defRPr/>
        </a:defPPr>
      </a:lstStyle>
    </a:spDef>
    <a:lnDef>
      <a:spPr>
        <a:ln w="6350">
          <a:solidFill>
            <a:schemeClr val="accent2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defRPr sz="1400" dirty="0" err="1">
            <a:latin typeface="+mn-lt"/>
          </a:defRPr>
        </a:defPPr>
      </a:lstStyle>
    </a:txDef>
  </a:objectDefaults>
  <a:extraClrSchemeLst/>
  <a:custClrLst>
    <a:custClr name="Darkest Red 1">
      <a:srgbClr val="6E031B"/>
    </a:custClr>
    <a:custClr name="Red 2">
      <a:srgbClr val="870421"/>
    </a:custClr>
    <a:custClr name="Red 3">
      <a:srgbClr val="A10427"/>
    </a:custClr>
    <a:custClr name="FEV Red">
      <a:srgbClr val="B9052D"/>
    </a:custClr>
    <a:custClr name="Red 5">
      <a:srgbClr val="CE506C"/>
    </a:custClr>
    <a:custClr name="Red 6">
      <a:srgbClr val="E39BAB"/>
    </a:custClr>
    <a:custClr name="Lightest Red 7">
      <a:srgbClr val="F1CDD5"/>
    </a:custClr>
    <a:custClr name="Opt Light Gray">
      <a:srgbClr val="CCCCCC"/>
    </a:custClr>
    <a:custClr name="Opt Gray">
      <a:srgbClr val="A6A6A6"/>
    </a:custClr>
    <a:custClr name="Opt Dark Gray">
      <a:srgbClr val="666666"/>
    </a:custClr>
    <a:custClr name="Brand 1 Darkest">
      <a:srgbClr val="004754"/>
    </a:custClr>
    <a:custClr name="Brand 2">
      <a:srgbClr val="005D6E"/>
    </a:custClr>
    <a:custClr name="Brand 3">
      <a:srgbClr val="007287"/>
    </a:custClr>
    <a:custClr name="Brand Main">
      <a:srgbClr val="0087A0"/>
    </a:custClr>
    <a:custClr name="Brand 5">
      <a:srgbClr val="4DABBC"/>
    </a:custClr>
    <a:custClr name="Brand 6">
      <a:srgbClr val="99CFD9"/>
    </a:custClr>
    <a:custClr name="Brand 7 Lightest">
      <a:srgbClr val="CCE7EC"/>
    </a:custClr>
    <a:custClr name="Opt Light Gray">
      <a:srgbClr val="CCCCCC"/>
    </a:custClr>
    <a:custClr name="Opt Gray">
      <a:srgbClr val="A6A6A6"/>
    </a:custClr>
    <a:custClr name="Opt Dark Gray">
      <a:srgbClr val="666666"/>
    </a:custClr>
  </a:custClrLst>
  <a:extLst>
    <a:ext uri="{05A4C25C-085E-4340-85A3-A5531E510DB2}">
      <thm15:themeFamily xmlns:thm15="http://schemas.microsoft.com/office/thememl/2012/main" name="Präsentation6.pptx" id="{6CBF06AA-8A08-48F9-AE8D-9F9F10114150}" vid="{6DEDA58E-EE9C-49D0-AC75-7C904712D29A}"/>
    </a:ext>
  </a:extLst>
</a:theme>
</file>

<file path=ppt/theme/theme2.xml><?xml version="1.0" encoding="utf-8"?>
<a:theme xmlns:a="http://schemas.openxmlformats.org/drawingml/2006/main" name="Larissa">
  <a:themeElements>
    <a:clrScheme name="FEV_Farben">
      <a:dk1>
        <a:srgbClr val="000000"/>
      </a:dk1>
      <a:lt1>
        <a:srgbClr val="FFFFFF"/>
      </a:lt1>
      <a:dk2>
        <a:srgbClr val="DA1F3D"/>
      </a:dk2>
      <a:lt2>
        <a:srgbClr val="A9A9A9"/>
      </a:lt2>
      <a:accent1>
        <a:srgbClr val="D9D9D9"/>
      </a:accent1>
      <a:accent2>
        <a:srgbClr val="797979"/>
      </a:accent2>
      <a:accent3>
        <a:srgbClr val="7AB51D"/>
      </a:accent3>
      <a:accent4>
        <a:srgbClr val="30666D"/>
      </a:accent4>
      <a:accent5>
        <a:srgbClr val="AEC5D2"/>
      </a:accent5>
      <a:accent6>
        <a:srgbClr val="F29400"/>
      </a:accent6>
      <a:hlink>
        <a:srgbClr val="000000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D960560F6EFC042B19269A8685374A2" ma:contentTypeVersion="10" ma:contentTypeDescription="Ein neues Dokument erstellen." ma:contentTypeScope="" ma:versionID="6ddbc1ef7a033bd84e1ee7f373dd4be6">
  <xsd:schema xmlns:xsd="http://www.w3.org/2001/XMLSchema" xmlns:xs="http://www.w3.org/2001/XMLSchema" xmlns:p="http://schemas.microsoft.com/office/2006/metadata/properties" xmlns:ns2="ae81b151-9d0e-42f0-b61c-a36d9d6d42dc" xmlns:ns3="1d8f530d-57ba-4d3f-88e6-dd21bc688b52" xmlns:ns4="17a8cc1d-80bb-4d48-be60-bf2122251304" targetNamespace="http://schemas.microsoft.com/office/2006/metadata/properties" ma:root="true" ma:fieldsID="627947fe0f9f80474e1394859b777c55" ns2:_="" ns3:_="" ns4:_="">
    <xsd:import namespace="ae81b151-9d0e-42f0-b61c-a36d9d6d42dc"/>
    <xsd:import namespace="1d8f530d-57ba-4d3f-88e6-dd21bc688b52"/>
    <xsd:import namespace="17a8cc1d-80bb-4d48-be60-bf212225130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4:MediaLengthInSeconds" minOccurs="0"/>
                <xsd:element ref="ns4:lcf76f155ced4ddcb4097134ff3c332f" minOccurs="0"/>
                <xsd:element ref="ns3:TaxCatchAll" minOccurs="0"/>
                <xsd:element ref="ns4:Thumbnail" minOccurs="0"/>
                <xsd:element ref="ns4:MediaServiceObjectDetectorVersion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81b151-9d0e-42f0-b61c-a36d9d6d42d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8f530d-57ba-4d3f-88e6-dd21bc688b52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8b7c376f-5d62-4840-88d2-4f5170463ae1}" ma:internalName="TaxCatchAll" ma:showField="CatchAllData" ma:web="1d8f530d-57ba-4d3f-88e6-dd21bc688b5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a8cc1d-80bb-4d48-be60-bf2122251304" elementFormDefault="qualified">
    <xsd:import namespace="http://schemas.microsoft.com/office/2006/documentManagement/types"/>
    <xsd:import namespace="http://schemas.microsoft.com/office/infopath/2007/PartnerControls"/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376f9c2e-507d-4bd0-80ef-8b8c2c80cd5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Thumbnail" ma:index="24" nillable="true" ma:displayName="Thumbnail" ma:format="Thumbnail" ma:internalName="Thumbnail">
      <xsd:simpleType>
        <xsd:restriction base="dms:Unknown"/>
      </xsd:simple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FEVSettings>
  <Agenda>
    <Paths>
      <Node>
        <Text>Approach and deliverables</Text>
        <NodeID/>
        <SlideID>0</SlideID>
      </Node>
      <Node>
        <Text>Organization, team and schedule</Text>
        <NodeID/>
        <SlideID>0</SlideID>
      </Node>
      <Node>
        <Text>Commercials</Text>
        <NodeID/>
        <SlideID>0</SlideID>
      </Node>
      <Node>
        <Text>Relevant experience</Text>
        <NodeID/>
        <SlideID>0</SlideID>
      </Node>
      <Node>
        <Text>Contact</Text>
        <NodeID/>
        <SlideID>0</SlideID>
      </Node>
      <Node>
        <Text>Appendix</Text>
        <NodeID/>
        <SlideID>0</SlideID>
      </Node>
    </Paths>
    <title>Agenda</title>
    <emptyfirst>false</emptyfirst>
    <slidesnumber>false</slidesnumber>
    <twofocus>false</twofocus>
    <Autocollaps>false</Autocollaps>
    <insert>true</insert>
    <method1>false</method1>
    <method2>true</method2>
    <includesection>false</includesection>
    <includesublevel>false</includesublevel>
    <Title>AGENDA</Title>
    <Slidenumbers>false</Slidenumbers>
    <Hyperlinks>false</Hyperlinks>
    <Includesection>false</Includesection>
    <Includesublevel>false</Includesublevel>
    <SeperateSubchapters>true</SeperateSubchapters>
  </Agenda>
  <MyChecker>
    <SlideNumber>True</SlideNumber>
    <SlideSource>True</SlideSource>
    <CommentStickerLeft>True</CommentStickerLeft>
    <LargeImage>True</LargeImage>
    <FooterNote>True</FooterNote>
    <ConformHeadline>True</ConformHeadline>
    <SpellChecked>True</SpellChecked>
    <SlideAnimation>True</SlideAnimation>
    <NoAsdf>True</NoAsdf>
  </MyChecker>
  <Version>
    5.5.4.11
    <Version/>
  </Version>
  <QualityChecker/>
</FEVSetting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d8f530d-57ba-4d3f-88e6-dd21bc688b52">
      <UserInfo>
        <DisplayName>Mitglieder von FEV-EU_CM_internal-orga</DisplayName>
        <AccountId>8</AccountId>
        <AccountType/>
      </UserInfo>
      <UserInfo>
        <DisplayName>Volkening, Markus</DisplayName>
        <AccountId>103</AccountId>
        <AccountType/>
      </UserInfo>
    </SharedWithUsers>
    <TaxCatchAll xmlns="1d8f530d-57ba-4d3f-88e6-dd21bc688b52" xsi:nil="true"/>
    <lcf76f155ced4ddcb4097134ff3c332f xmlns="17a8cc1d-80bb-4d48-be60-bf2122251304">
      <Terms xmlns="http://schemas.microsoft.com/office/infopath/2007/PartnerControls"/>
    </lcf76f155ced4ddcb4097134ff3c332f>
    <Thumbnail xmlns="17a8cc1d-80bb-4d48-be60-bf2122251304" xsi:nil="true"/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199CEF7-8FB4-458B-A286-27E80379A4D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e81b151-9d0e-42f0-b61c-a36d9d6d42dc"/>
    <ds:schemaRef ds:uri="1d8f530d-57ba-4d3f-88e6-dd21bc688b52"/>
    <ds:schemaRef ds:uri="17a8cc1d-80bb-4d48-be60-bf212225130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4D619C1-C9BB-4D06-97C9-8E2710FE2968}">
  <ds:schemaRefs/>
</ds:datastoreItem>
</file>

<file path=customXml/itemProps3.xml><?xml version="1.0" encoding="utf-8"?>
<ds:datastoreItem xmlns:ds="http://schemas.openxmlformats.org/officeDocument/2006/customXml" ds:itemID="{B4176BF4-53AC-4AA5-AB68-02E2AA16845C}">
  <ds:schemaRefs>
    <ds:schemaRef ds:uri="http://schemas.microsoft.com/office/2006/documentManagement/types"/>
    <ds:schemaRef ds:uri="http://purl.org/dc/dcmitype/"/>
    <ds:schemaRef ds:uri="http://www.w3.org/XML/1998/namespace"/>
    <ds:schemaRef ds:uri="http://purl.org/dc/elements/1.1/"/>
    <ds:schemaRef ds:uri="http://purl.org/dc/terms/"/>
    <ds:schemaRef ds:uri="http://schemas.microsoft.com/office/infopath/2007/PartnerControls"/>
    <ds:schemaRef ds:uri="1d8f530d-57ba-4d3f-88e6-dd21bc688b52"/>
    <ds:schemaRef ds:uri="http://schemas.microsoft.com/office/2006/metadata/properties"/>
    <ds:schemaRef ds:uri="http://schemas.openxmlformats.org/package/2006/metadata/core-properties"/>
    <ds:schemaRef ds:uri="17a8cc1d-80bb-4d48-be60-bf2122251304"/>
    <ds:schemaRef ds:uri="ae81b151-9d0e-42f0-b61c-a36d9d6d42dc"/>
  </ds:schemaRefs>
</ds:datastoreItem>
</file>

<file path=customXml/itemProps4.xml><?xml version="1.0" encoding="utf-8"?>
<ds:datastoreItem xmlns:ds="http://schemas.openxmlformats.org/officeDocument/2006/customXml" ds:itemID="{85EBF373-83DD-44D7-AD1E-8F19779397B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533</Words>
  <Application>Microsoft Office PowerPoint</Application>
  <PresentationFormat>Widescreen</PresentationFormat>
  <Paragraphs>299</Paragraphs>
  <Slides>1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Arial</vt:lpstr>
      <vt:lpstr>FEV</vt:lpstr>
      <vt:lpstr>Poppins</vt:lpstr>
      <vt:lpstr>Poppins Light</vt:lpstr>
      <vt:lpstr>Poppins SemiBold</vt:lpstr>
      <vt:lpstr>Segoe UI</vt:lpstr>
      <vt:lpstr>Symbol</vt:lpstr>
      <vt:lpstr>Wingdings</vt:lpstr>
      <vt:lpstr>blank</vt:lpstr>
      <vt:lpstr>think-cell Slide</vt:lpstr>
      <vt:lpstr>PowerPoint Presentation</vt:lpstr>
      <vt:lpstr>PowerPoint Presentation</vt:lpstr>
      <vt:lpstr>PowerPoint Presentation</vt:lpstr>
      <vt:lpstr>Commercial vehicles’ TMS is divided in 4 main sub-systems with specific requirements: battery, EDU &amp; PE, cabin and brake resistors</vt:lpstr>
      <vt:lpstr>Lower level of integration between the different thermal management systems is currently observed in the CV segment compared to PVs</vt:lpstr>
      <vt:lpstr>The current low level of TMS integration for CVs can be explained by factors linked both to market conditions and technological challenges</vt:lpstr>
      <vt:lpstr>Commercial vehicle TMS layouts are differentiated by 4 main factors that are impacting the design and the efficiency of the system </vt:lpstr>
      <vt:lpstr>PowerPoint Presentation</vt:lpstr>
      <vt:lpstr>Fuel cell vehicles can be clustered in range-extender, mid-power and full-hybrid depending on the relevance ratio between fuel cell and battery </vt:lpstr>
      <vt:lpstr>Lower level of integration between the different thermal management systems is currently observed in the CV segment compared to PVs</vt:lpstr>
      <vt:lpstr>Integration of several BoP components with TMS system enables to ensure optimal temperature and water management in the fuel cell system</vt:lpstr>
      <vt:lpstr>Fuel cell thermal management system complexity increases compared to BEV one, due to additional components and cooling efforts</vt:lpstr>
      <vt:lpstr>TMS development trends are divided into performance, integration and sustainability considerations; multiple factors to take into account</vt:lpstr>
      <vt:lpstr>Efficiency level is mainly determined through heat exchanges and re-use possibilities, while integration is defined by the level of TMS centralization</vt:lpstr>
      <vt:lpstr>Current PV thermal management systems are both more integrated and more efficient than M&amp;HD ones, especially through adoption of ITMS </vt:lpstr>
      <vt:lpstr>M&amp;HDs are expected to reach an intermediate to advanced TMS performance by 2030, and partial to high level of integration by 2035</vt:lpstr>
      <vt:lpstr>M&amp;HDs are expected to reach an intermediate to advanced TMS performance by 2030, and partial to high level of integration by 2035</vt:lpstr>
      <vt:lpstr>M&amp;HDs are expected to reach an intermediate to advanced TMS performance by 2030, and partial to high level of integration by 2035</vt:lpstr>
      <vt:lpstr>PowerPoint Presentation</vt:lpstr>
    </vt:vector>
  </TitlesOfParts>
  <Company>FEV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abaret, Tanguy</dc:creator>
  <cp:lastModifiedBy>Cabaret, Tanguy</cp:lastModifiedBy>
  <cp:revision>3</cp:revision>
  <cp:lastPrinted>2019-05-13T17:16:14Z</cp:lastPrinted>
  <dcterms:created xsi:type="dcterms:W3CDTF">2025-05-21T18:56:21Z</dcterms:created>
  <dcterms:modified xsi:type="dcterms:W3CDTF">2025-06-03T18:42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EVSettings">
    <vt:lpwstr>{34D619C1-C9BB-4D06-97C9-8E2710FE2968}</vt:lpwstr>
  </property>
  <property fmtid="{D5CDD505-2E9C-101B-9397-08002B2CF9AE}" pid="3" name="ContentTypeId">
    <vt:lpwstr>0x010100DD960560F6EFC042B19269A8685374A2</vt:lpwstr>
  </property>
  <property fmtid="{D5CDD505-2E9C-101B-9397-08002B2CF9AE}" pid="4" name="ObjPtr">
    <vt:lpwstr>2558412837376</vt:lpwstr>
  </property>
  <property fmtid="{D5CDD505-2E9C-101B-9397-08002B2CF9AE}" pid="5" name="MediaServiceImageTags">
    <vt:lpwstr/>
  </property>
  <property fmtid="{D5CDD505-2E9C-101B-9397-08002B2CF9AE}" pid="6" name="MSIP_Label_f55276b3-bc38-4f4e-afa9-4fa35f15d247_Enabled">
    <vt:lpwstr>true</vt:lpwstr>
  </property>
  <property fmtid="{D5CDD505-2E9C-101B-9397-08002B2CF9AE}" pid="7" name="MSIP_Label_f55276b3-bc38-4f4e-afa9-4fa35f15d247_SetDate">
    <vt:lpwstr>2023-04-21T09:11:14Z</vt:lpwstr>
  </property>
  <property fmtid="{D5CDD505-2E9C-101B-9397-08002B2CF9AE}" pid="8" name="MSIP_Label_f55276b3-bc38-4f4e-afa9-4fa35f15d247_Method">
    <vt:lpwstr>Standard</vt:lpwstr>
  </property>
  <property fmtid="{D5CDD505-2E9C-101B-9397-08002B2CF9AE}" pid="9" name="MSIP_Label_f55276b3-bc38-4f4e-afa9-4fa35f15d247_Name">
    <vt:lpwstr>defa4170-0d19-0005-0004-bc88714345d2</vt:lpwstr>
  </property>
  <property fmtid="{D5CDD505-2E9C-101B-9397-08002B2CF9AE}" pid="10" name="MSIP_Label_f55276b3-bc38-4f4e-afa9-4fa35f15d247_SiteId">
    <vt:lpwstr>280a0ded-8550-42ed-94d9-2d1ec26d70f0</vt:lpwstr>
  </property>
  <property fmtid="{D5CDD505-2E9C-101B-9397-08002B2CF9AE}" pid="11" name="MSIP_Label_f55276b3-bc38-4f4e-afa9-4fa35f15d247_ActionId">
    <vt:lpwstr>d31a0ccc-2075-4d36-9bf9-5b92110fb2a9</vt:lpwstr>
  </property>
  <property fmtid="{D5CDD505-2E9C-101B-9397-08002B2CF9AE}" pid="12" name="MSIP_Label_f55276b3-bc38-4f4e-afa9-4fa35f15d247_ContentBits">
    <vt:lpwstr>0</vt:lpwstr>
  </property>
</Properties>
</file>